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heme/theme7.xml" ContentType="application/vnd.openxmlformats-officedocument.theme+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notesSlides/notesSlide1.xml" ContentType="application/vnd.openxmlformats-officedocument.presentationml.notesSlide+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notesSlides/notesSlide2.xml" ContentType="application/vnd.openxmlformats-officedocument.presentationml.notesSlide+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notesSlides/notesSlide3.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notesSlides/notesSlide9.xml" ContentType="application/vnd.openxmlformats-officedocument.presentationml.notesSlide+xml"/>
  <Override PartName="/ppt/tags/tag627.xml" ContentType="application/vnd.openxmlformats-officedocument.presentationml.tags+xml"/>
  <Override PartName="/ppt/tags/tag628.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6" r:id="rId4"/>
    <p:sldMasterId id="2147483698" r:id="rId5"/>
    <p:sldMasterId id="2147483718" r:id="rId6"/>
    <p:sldMasterId id="2147483733" r:id="rId7"/>
    <p:sldMasterId id="2147483754" r:id="rId8"/>
    <p:sldMasterId id="2147483768" r:id="rId9"/>
  </p:sldMasterIdLst>
  <p:notesMasterIdLst>
    <p:notesMasterId r:id="rId30"/>
  </p:notesMasterIdLst>
  <p:sldIdLst>
    <p:sldId id="5748" r:id="rId10"/>
    <p:sldId id="4899" r:id="rId11"/>
    <p:sldId id="5185" r:id="rId12"/>
    <p:sldId id="5743" r:id="rId13"/>
    <p:sldId id="4237" r:id="rId14"/>
    <p:sldId id="5177" r:id="rId15"/>
    <p:sldId id="5149" r:id="rId16"/>
    <p:sldId id="5161" r:id="rId17"/>
    <p:sldId id="5186" r:id="rId18"/>
    <p:sldId id="5179" r:id="rId19"/>
    <p:sldId id="5745" r:id="rId20"/>
    <p:sldId id="4958" r:id="rId21"/>
    <p:sldId id="5183" r:id="rId22"/>
    <p:sldId id="5187" r:id="rId23"/>
    <p:sldId id="5747" r:id="rId24"/>
    <p:sldId id="5746" r:id="rId25"/>
    <p:sldId id="289" r:id="rId26"/>
    <p:sldId id="5651" r:id="rId27"/>
    <p:sldId id="5650" r:id="rId28"/>
    <p:sldId id="5146" r:id="rId29"/>
  </p:sldIdLst>
  <p:sldSz cx="12192000" cy="6858000"/>
  <p:notesSz cx="6858000" cy="9144000"/>
  <p:custDataLst>
    <p:tags r:id="rId31"/>
  </p:custDataLst>
  <p:defaultText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vian Verberne" initials="VV" lastIdx="1" clrIdx="0"/>
  <p:cmAuthor id="2" name="Ligthart, CSM (Catharine)" initials="LC(" lastIdx="6" clrIdx="1"/>
  <p:cmAuthor id="3" name="Wouter" initials="W" lastIdx="5" clrIdx="2">
    <p:extLst>
      <p:ext uri="{19B8F6BF-5375-455C-9EA6-DF929625EA0E}">
        <p15:presenceInfo xmlns:p15="http://schemas.microsoft.com/office/powerpoint/2012/main" userId="Wouter" providerId="None"/>
      </p:ext>
    </p:extLst>
  </p:cmAuthor>
  <p:cmAuthor id="4" name="Drost, LA (Lile)" initials="DL(" lastIdx="25" clrIdx="3">
    <p:extLst>
      <p:ext uri="{19B8F6BF-5375-455C-9EA6-DF929625EA0E}">
        <p15:presenceInfo xmlns:p15="http://schemas.microsoft.com/office/powerpoint/2012/main" userId="S::lile.drost@zilverenkruis.nl::7cc8770a-488f-49ea-adc3-02571a1322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C5F3"/>
    <a:srgbClr val="F5E6FA"/>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0FC4C0-00C8-407F-B728-CCB9823BEA62}" v="14" dt="2020-11-12T10:07:46.28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12"/>
    <p:restoredTop sz="94640"/>
  </p:normalViewPr>
  <p:slideViewPr>
    <p:cSldViewPr snapToGrid="0">
      <p:cViewPr varScale="1">
        <p:scale>
          <a:sx n="78" d="100"/>
          <a:sy n="78" d="100"/>
        </p:scale>
        <p:origin x="200" y="68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E6AF09-45C4-4BC4-8A1E-B6988D130B30}" type="datetimeFigureOut">
              <a:rPr lang="en-GB" smtClean="0"/>
              <a:t>09/0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6C64E-7AAD-4A31-8666-BA1E51D8AFC0}" type="slidenum">
              <a:rPr lang="en-GB" smtClean="0"/>
              <a:t>‹nr.›</a:t>
            </a:fld>
            <a:endParaRPr lang="en-GB"/>
          </a:p>
        </p:txBody>
      </p:sp>
    </p:spTree>
    <p:extLst>
      <p:ext uri="{BB962C8B-B14F-4D97-AF65-F5344CB8AC3E}">
        <p14:creationId xmlns:p14="http://schemas.microsoft.com/office/powerpoint/2010/main" val="929771549"/>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4233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rtl="0" fontAlgn="base"/>
            <a:endParaRPr lang="en-US">
              <a:cs typeface="Calibri"/>
            </a:endParaRPr>
          </a:p>
          <a:p>
            <a:pPr>
              <a:defRPr/>
            </a:pPr>
            <a:r>
              <a:rPr lang="nl-NL" dirty="0">
                <a:cs typeface="Calibri"/>
              </a:rPr>
              <a:t>Wij gaan punt 1 uitwerken. Als het goed getest is gaan we kijken hoe we dit structureel kunnen maken. Dit komt later</a:t>
            </a:r>
            <a:endParaRPr lang="nl-NL" dirty="0"/>
          </a:p>
        </p:txBody>
      </p:sp>
      <p:sp>
        <p:nvSpPr>
          <p:cNvPr id="4" name="Tijdelijke aanduiding voor dianummer 3"/>
          <p:cNvSpPr>
            <a:spLocks noGrp="1"/>
          </p:cNvSpPr>
          <p:nvPr>
            <p:ph type="sldNum" sz="quarter" idx="5"/>
          </p:nvPr>
        </p:nvSpPr>
        <p:spPr/>
        <p:txBody>
          <a:bodyPr/>
          <a:lstStyle/>
          <a:p>
            <a:fld id="{DD66C64E-7AAD-4A31-8666-BA1E51D8AFC0}" type="slidenum">
              <a:rPr lang="en-GB" smtClean="0"/>
              <a:t>20</a:t>
            </a:fld>
            <a:endParaRPr lang="en-GB"/>
          </a:p>
        </p:txBody>
      </p:sp>
    </p:spTree>
    <p:extLst>
      <p:ext uri="{BB962C8B-B14F-4D97-AF65-F5344CB8AC3E}">
        <p14:creationId xmlns:p14="http://schemas.microsoft.com/office/powerpoint/2010/main" val="868814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831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nl-NL"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5998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We </a:t>
            </a:r>
            <a:r>
              <a:rPr lang="en-US" err="1">
                <a:cs typeface="Calibri"/>
              </a:rPr>
              <a:t>hoeven</a:t>
            </a:r>
            <a:r>
              <a:rPr lang="en-US">
                <a:cs typeface="Calibri"/>
              </a:rPr>
              <a:t> </a:t>
            </a:r>
            <a:r>
              <a:rPr lang="en-US" err="1">
                <a:cs typeface="Calibri"/>
              </a:rPr>
              <a:t>bij</a:t>
            </a:r>
            <a:r>
              <a:rPr lang="en-US">
                <a:cs typeface="Calibri"/>
              </a:rPr>
              <a:t> </a:t>
            </a:r>
            <a:r>
              <a:rPr lang="en-US" err="1">
                <a:cs typeface="Calibri"/>
              </a:rPr>
              <a:t>jullie</a:t>
            </a:r>
            <a:r>
              <a:rPr lang="en-US">
                <a:cs typeface="Calibri"/>
              </a:rPr>
              <a:t> </a:t>
            </a:r>
            <a:r>
              <a:rPr lang="en-US" err="1">
                <a:cs typeface="Calibri"/>
              </a:rPr>
              <a:t>niet</a:t>
            </a:r>
            <a:r>
              <a:rPr lang="en-US">
                <a:cs typeface="Calibri"/>
              </a:rPr>
              <a:t> </a:t>
            </a:r>
            <a:r>
              <a:rPr lang="en-US" err="1">
                <a:cs typeface="Calibri"/>
              </a:rPr>
              <a:t>vanaf</a:t>
            </a:r>
            <a:r>
              <a:rPr lang="en-US">
                <a:cs typeface="Calibri"/>
              </a:rPr>
              <a:t> </a:t>
            </a:r>
            <a:r>
              <a:rPr lang="en-US" err="1">
                <a:cs typeface="Calibri"/>
              </a:rPr>
              <a:t>nul</a:t>
            </a:r>
            <a:r>
              <a:rPr lang="en-US">
                <a:cs typeface="Calibri"/>
              </a:rPr>
              <a:t> </a:t>
            </a:r>
            <a:r>
              <a:rPr lang="en-US" err="1">
                <a:cs typeface="Calibri"/>
              </a:rPr>
              <a:t>te</a:t>
            </a:r>
            <a:r>
              <a:rPr lang="en-US">
                <a:cs typeface="Calibri"/>
              </a:rPr>
              <a:t> </a:t>
            </a:r>
            <a:r>
              <a:rPr lang="en-US" err="1">
                <a:cs typeface="Calibri"/>
              </a:rPr>
              <a:t>beginnen</a:t>
            </a:r>
          </a:p>
        </p:txBody>
      </p:sp>
      <p:sp>
        <p:nvSpPr>
          <p:cNvPr id="4" name="Tijdelijke aanduiding voor dianummer 3"/>
          <p:cNvSpPr>
            <a:spLocks noGrp="1"/>
          </p:cNvSpPr>
          <p:nvPr>
            <p:ph type="sldNum" sz="quarter" idx="5"/>
          </p:nvPr>
        </p:nvSpPr>
        <p:spPr/>
        <p:txBody>
          <a:bodyPr/>
          <a:lstStyle/>
          <a:p>
            <a:fld id="{DD66C64E-7AAD-4A31-8666-BA1E51D8AFC0}" type="slidenum">
              <a:rPr lang="en-GB" smtClean="0"/>
              <a:t>7</a:t>
            </a:fld>
            <a:endParaRPr lang="en-GB"/>
          </a:p>
        </p:txBody>
      </p:sp>
    </p:spTree>
    <p:extLst>
      <p:ext uri="{BB962C8B-B14F-4D97-AF65-F5344CB8AC3E}">
        <p14:creationId xmlns:p14="http://schemas.microsoft.com/office/powerpoint/2010/main" val="2935030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We </a:t>
            </a:r>
            <a:r>
              <a:rPr lang="en-US" err="1">
                <a:cs typeface="Calibri"/>
              </a:rPr>
              <a:t>hoeven</a:t>
            </a:r>
            <a:r>
              <a:rPr lang="en-US">
                <a:cs typeface="Calibri"/>
              </a:rPr>
              <a:t> </a:t>
            </a:r>
            <a:r>
              <a:rPr lang="en-US" err="1">
                <a:cs typeface="Calibri"/>
              </a:rPr>
              <a:t>bij</a:t>
            </a:r>
            <a:r>
              <a:rPr lang="en-US">
                <a:cs typeface="Calibri"/>
              </a:rPr>
              <a:t> </a:t>
            </a:r>
            <a:r>
              <a:rPr lang="en-US" err="1">
                <a:cs typeface="Calibri"/>
              </a:rPr>
              <a:t>jullie</a:t>
            </a:r>
            <a:r>
              <a:rPr lang="en-US">
                <a:cs typeface="Calibri"/>
              </a:rPr>
              <a:t> </a:t>
            </a:r>
            <a:r>
              <a:rPr lang="en-US" err="1">
                <a:cs typeface="Calibri"/>
              </a:rPr>
              <a:t>niet</a:t>
            </a:r>
            <a:r>
              <a:rPr lang="en-US">
                <a:cs typeface="Calibri"/>
              </a:rPr>
              <a:t> </a:t>
            </a:r>
            <a:r>
              <a:rPr lang="en-US" err="1">
                <a:cs typeface="Calibri"/>
              </a:rPr>
              <a:t>vanaf</a:t>
            </a:r>
            <a:r>
              <a:rPr lang="en-US">
                <a:cs typeface="Calibri"/>
              </a:rPr>
              <a:t> </a:t>
            </a:r>
            <a:r>
              <a:rPr lang="en-US" err="1">
                <a:cs typeface="Calibri"/>
              </a:rPr>
              <a:t>nul</a:t>
            </a:r>
            <a:r>
              <a:rPr lang="en-US">
                <a:cs typeface="Calibri"/>
              </a:rPr>
              <a:t> </a:t>
            </a:r>
            <a:r>
              <a:rPr lang="en-US" err="1">
                <a:cs typeface="Calibri"/>
              </a:rPr>
              <a:t>te</a:t>
            </a:r>
            <a:r>
              <a:rPr lang="en-US">
                <a:cs typeface="Calibri"/>
              </a:rPr>
              <a:t> </a:t>
            </a:r>
            <a:r>
              <a:rPr lang="en-US" err="1">
                <a:cs typeface="Calibri"/>
              </a:rPr>
              <a:t>beginnen</a:t>
            </a:r>
          </a:p>
        </p:txBody>
      </p:sp>
      <p:sp>
        <p:nvSpPr>
          <p:cNvPr id="4" name="Tijdelijke aanduiding voor dianummer 3"/>
          <p:cNvSpPr>
            <a:spLocks noGrp="1"/>
          </p:cNvSpPr>
          <p:nvPr>
            <p:ph type="sldNum" sz="quarter" idx="5"/>
          </p:nvPr>
        </p:nvSpPr>
        <p:spPr/>
        <p:txBody>
          <a:bodyPr/>
          <a:lstStyle/>
          <a:p>
            <a:fld id="{DD66C64E-7AAD-4A31-8666-BA1E51D8AFC0}" type="slidenum">
              <a:rPr lang="en-GB" smtClean="0"/>
              <a:t>8</a:t>
            </a:fld>
            <a:endParaRPr lang="en-GB"/>
          </a:p>
        </p:txBody>
      </p:sp>
    </p:spTree>
    <p:extLst>
      <p:ext uri="{BB962C8B-B14F-4D97-AF65-F5344CB8AC3E}">
        <p14:creationId xmlns:p14="http://schemas.microsoft.com/office/powerpoint/2010/main" val="2588608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264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80A43E6-F665-4EA4-8B86-4F95E5107B0E}" type="slidenum">
              <a:rPr lang="nl-NL" smtClean="0"/>
              <a:t>12</a:t>
            </a:fld>
            <a:endParaRPr lang="nl-NL"/>
          </a:p>
        </p:txBody>
      </p:sp>
    </p:spTree>
    <p:extLst>
      <p:ext uri="{BB962C8B-B14F-4D97-AF65-F5344CB8AC3E}">
        <p14:creationId xmlns:p14="http://schemas.microsoft.com/office/powerpoint/2010/main" val="1140501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80A43E6-F665-4EA4-8B86-4F95E5107B0E}" type="slidenum">
              <a:rPr lang="nl-NL" smtClean="0"/>
              <a:t>13</a:t>
            </a:fld>
            <a:endParaRPr lang="nl-NL"/>
          </a:p>
        </p:txBody>
      </p:sp>
    </p:spTree>
    <p:extLst>
      <p:ext uri="{BB962C8B-B14F-4D97-AF65-F5344CB8AC3E}">
        <p14:creationId xmlns:p14="http://schemas.microsoft.com/office/powerpoint/2010/main" val="3443391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2869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0.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8.png"/><Relationship Id="rId2" Type="http://schemas.openxmlformats.org/officeDocument/2006/relationships/tags" Target="../tags/tag172.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9.png"/><Relationship Id="rId2" Type="http://schemas.openxmlformats.org/officeDocument/2006/relationships/tags" Target="../tags/tag174.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85.xml"/><Relationship Id="rId7"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vmlDrawing" Target="../drawings/vmlDrawing21.vml"/><Relationship Id="rId6" Type="http://schemas.openxmlformats.org/officeDocument/2006/relationships/tags" Target="../tags/tag188.xml"/><Relationship Id="rId5" Type="http://schemas.openxmlformats.org/officeDocument/2006/relationships/tags" Target="../tags/tag187.xml"/><Relationship Id="rId4" Type="http://schemas.openxmlformats.org/officeDocument/2006/relationships/tags" Target="../tags/tag186.xml"/><Relationship Id="rId9"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oleObject" Target="../embeddings/oleObject3.bin"/><Relationship Id="rId2" Type="http://schemas.openxmlformats.org/officeDocument/2006/relationships/tags" Target="../tags/tag7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90.xml"/><Relationship Id="rId7"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vmlDrawing" Target="../drawings/vmlDrawing22.v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5.xml"/><Relationship Id="rId7" Type="http://schemas.openxmlformats.org/officeDocument/2006/relationships/image" Target="../media/image8.png"/><Relationship Id="rId2" Type="http://schemas.openxmlformats.org/officeDocument/2006/relationships/tags" Target="../tags/tag264.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9.png"/><Relationship Id="rId2" Type="http://schemas.openxmlformats.org/officeDocument/2006/relationships/tags" Target="../tags/tag266.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8.xml"/><Relationship Id="rId7" Type="http://schemas.openxmlformats.org/officeDocument/2006/relationships/image" Target="../media/image5.png"/><Relationship Id="rId2" Type="http://schemas.openxmlformats.org/officeDocument/2006/relationships/tags" Target="../tags/tag77.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77.xml"/><Relationship Id="rId7" Type="http://schemas.openxmlformats.org/officeDocument/2006/relationships/slideMaster" Target="../slideMasters/slideMaster3.xml"/><Relationship Id="rId2" Type="http://schemas.openxmlformats.org/officeDocument/2006/relationships/tags" Target="../tags/tag276.xml"/><Relationship Id="rId1" Type="http://schemas.openxmlformats.org/officeDocument/2006/relationships/vmlDrawing" Target="../drawings/vmlDrawing32.vml"/><Relationship Id="rId6" Type="http://schemas.openxmlformats.org/officeDocument/2006/relationships/tags" Target="../tags/tag280.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82.xml"/><Relationship Id="rId7" Type="http://schemas.openxmlformats.org/officeDocument/2006/relationships/image" Target="../media/image2.emf"/><Relationship Id="rId2" Type="http://schemas.openxmlformats.org/officeDocument/2006/relationships/tags" Target="../tags/tag281.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28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8.png"/><Relationship Id="rId2" Type="http://schemas.openxmlformats.org/officeDocument/2006/relationships/tags" Target="../tags/tag357.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9.png"/><Relationship Id="rId2" Type="http://schemas.openxmlformats.org/officeDocument/2006/relationships/tags" Target="../tags/tag35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62.xml"/><Relationship Id="rId2" Type="http://schemas.openxmlformats.org/officeDocument/2006/relationships/tags" Target="../tags/tag361.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364.xml"/><Relationship Id="rId2" Type="http://schemas.openxmlformats.org/officeDocument/2006/relationships/tags" Target="../tags/tag363.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370.xml"/><Relationship Id="rId7" Type="http://schemas.openxmlformats.org/officeDocument/2006/relationships/slideMaster" Target="../slideMasters/slideMaster4.xml"/><Relationship Id="rId2" Type="http://schemas.openxmlformats.org/officeDocument/2006/relationships/tags" Target="../tags/tag369.xml"/><Relationship Id="rId1" Type="http://schemas.openxmlformats.org/officeDocument/2006/relationships/vmlDrawing" Target="../drawings/vmlDrawing44.vml"/><Relationship Id="rId6" Type="http://schemas.openxmlformats.org/officeDocument/2006/relationships/tags" Target="../tags/tag373.xml"/><Relationship Id="rId5" Type="http://schemas.openxmlformats.org/officeDocument/2006/relationships/tags" Target="../tags/tag372.xml"/><Relationship Id="rId4" Type="http://schemas.openxmlformats.org/officeDocument/2006/relationships/tags" Target="../tags/tag371.xml"/><Relationship Id="rId9"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51.xml"/><Relationship Id="rId7" Type="http://schemas.openxmlformats.org/officeDocument/2006/relationships/image" Target="../media/image8.png"/><Relationship Id="rId2" Type="http://schemas.openxmlformats.org/officeDocument/2006/relationships/tags" Target="../tags/tag450.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53.xml"/><Relationship Id="rId7" Type="http://schemas.openxmlformats.org/officeDocument/2006/relationships/image" Target="../media/image9.png"/><Relationship Id="rId2" Type="http://schemas.openxmlformats.org/officeDocument/2006/relationships/tags" Target="../tags/tag4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55.xml"/><Relationship Id="rId2" Type="http://schemas.openxmlformats.org/officeDocument/2006/relationships/tags" Target="../tags/tag454.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457.xml"/><Relationship Id="rId2" Type="http://schemas.openxmlformats.org/officeDocument/2006/relationships/tags" Target="../tags/tag456.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vmlDrawing" Target="../drawings/vmlDrawing56.vml"/><Relationship Id="rId6" Type="http://schemas.openxmlformats.org/officeDocument/2006/relationships/image" Target="../media/image2.emf"/><Relationship Id="rId5" Type="http://schemas.openxmlformats.org/officeDocument/2006/relationships/oleObject" Target="../embeddings/oleObject56.bin"/><Relationship Id="rId4"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463.xml"/><Relationship Id="rId7" Type="http://schemas.openxmlformats.org/officeDocument/2006/relationships/slideMaster" Target="../slideMasters/slideMaster5.xml"/><Relationship Id="rId2" Type="http://schemas.openxmlformats.org/officeDocument/2006/relationships/tags" Target="../tags/tag462.xml"/><Relationship Id="rId1" Type="http://schemas.openxmlformats.org/officeDocument/2006/relationships/vmlDrawing" Target="../drawings/vmlDrawing57.vml"/><Relationship Id="rId6" Type="http://schemas.openxmlformats.org/officeDocument/2006/relationships/tags" Target="../tags/tag466.xml"/><Relationship Id="rId5" Type="http://schemas.openxmlformats.org/officeDocument/2006/relationships/tags" Target="../tags/tag465.xml"/><Relationship Id="rId4" Type="http://schemas.openxmlformats.org/officeDocument/2006/relationships/tags" Target="../tags/tag464.xml"/><Relationship Id="rId9"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468.xml"/><Relationship Id="rId7" Type="http://schemas.openxmlformats.org/officeDocument/2006/relationships/slideMaster" Target="../slideMasters/slideMaster5.xml"/><Relationship Id="rId2" Type="http://schemas.openxmlformats.org/officeDocument/2006/relationships/tags" Target="../tags/tag467.xml"/><Relationship Id="rId1" Type="http://schemas.openxmlformats.org/officeDocument/2006/relationships/vmlDrawing" Target="../drawings/vmlDrawing58.vml"/><Relationship Id="rId6" Type="http://schemas.openxmlformats.org/officeDocument/2006/relationships/tags" Target="../tags/tag471.xml"/><Relationship Id="rId5" Type="http://schemas.openxmlformats.org/officeDocument/2006/relationships/tags" Target="../tags/tag470.xml"/><Relationship Id="rId4" Type="http://schemas.openxmlformats.org/officeDocument/2006/relationships/tags" Target="../tags/tag469.xml"/><Relationship Id="rId9"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73.xml"/><Relationship Id="rId7" Type="http://schemas.openxmlformats.org/officeDocument/2006/relationships/image" Target="../media/image2.emf"/><Relationship Id="rId2" Type="http://schemas.openxmlformats.org/officeDocument/2006/relationships/tags" Target="../tags/tag47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5.xml"/><Relationship Id="rId4" Type="http://schemas.openxmlformats.org/officeDocument/2006/relationships/tags" Target="../tags/tag47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42.xml"/><Relationship Id="rId7" Type="http://schemas.openxmlformats.org/officeDocument/2006/relationships/image" Target="../media/image8.png"/><Relationship Id="rId2" Type="http://schemas.openxmlformats.org/officeDocument/2006/relationships/tags" Target="../tags/tag541.xml"/><Relationship Id="rId1" Type="http://schemas.openxmlformats.org/officeDocument/2006/relationships/vmlDrawing" Target="../drawings/vmlDrawing61.v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544.xml"/><Relationship Id="rId7" Type="http://schemas.openxmlformats.org/officeDocument/2006/relationships/image" Target="../media/image9.png"/><Relationship Id="rId2" Type="http://schemas.openxmlformats.org/officeDocument/2006/relationships/tags" Target="../tags/tag54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tags" Target="../tags/tag545.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550.xml"/><Relationship Id="rId2" Type="http://schemas.openxmlformats.org/officeDocument/2006/relationships/tags" Target="../tags/tag549.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552.xml"/><Relationship Id="rId2" Type="http://schemas.openxmlformats.org/officeDocument/2006/relationships/tags" Target="../tags/tag551.xml"/><Relationship Id="rId1" Type="http://schemas.openxmlformats.org/officeDocument/2006/relationships/vmlDrawing" Target="../drawings/vmlDrawing66.vml"/><Relationship Id="rId6" Type="http://schemas.openxmlformats.org/officeDocument/2006/relationships/image" Target="../media/image2.emf"/><Relationship Id="rId5" Type="http://schemas.openxmlformats.org/officeDocument/2006/relationships/oleObject" Target="../embeddings/oleObject66.bin"/><Relationship Id="rId4"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554.xml"/><Relationship Id="rId7" Type="http://schemas.openxmlformats.org/officeDocument/2006/relationships/slideMaster" Target="../slideMasters/slideMaster6.xml"/><Relationship Id="rId2" Type="http://schemas.openxmlformats.org/officeDocument/2006/relationships/tags" Target="../tags/tag553.xml"/><Relationship Id="rId1" Type="http://schemas.openxmlformats.org/officeDocument/2006/relationships/vmlDrawing" Target="../drawings/vmlDrawing67.vml"/><Relationship Id="rId6" Type="http://schemas.openxmlformats.org/officeDocument/2006/relationships/tags" Target="../tags/tag557.xml"/><Relationship Id="rId5" Type="http://schemas.openxmlformats.org/officeDocument/2006/relationships/tags" Target="../tags/tag556.xml"/><Relationship Id="rId4" Type="http://schemas.openxmlformats.org/officeDocument/2006/relationships/tags" Target="../tags/tag555.xml"/><Relationship Id="rId9" Type="http://schemas.openxmlformats.org/officeDocument/2006/relationships/image" Target="../media/image6.emf"/></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559.xml"/><Relationship Id="rId7" Type="http://schemas.openxmlformats.org/officeDocument/2006/relationships/slideMaster" Target="../slideMasters/slideMaster6.xml"/><Relationship Id="rId2" Type="http://schemas.openxmlformats.org/officeDocument/2006/relationships/tags" Target="../tags/tag558.xml"/><Relationship Id="rId1" Type="http://schemas.openxmlformats.org/officeDocument/2006/relationships/vmlDrawing" Target="../drawings/vmlDrawing68.vml"/><Relationship Id="rId6" Type="http://schemas.openxmlformats.org/officeDocument/2006/relationships/tags" Target="../tags/tag562.xml"/><Relationship Id="rId5" Type="http://schemas.openxmlformats.org/officeDocument/2006/relationships/tags" Target="../tags/tag561.xml"/><Relationship Id="rId4" Type="http://schemas.openxmlformats.org/officeDocument/2006/relationships/tags" Target="../tags/tag560.xml"/><Relationship Id="rId9"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564.xml"/><Relationship Id="rId7" Type="http://schemas.openxmlformats.org/officeDocument/2006/relationships/image" Target="../media/image2.emf"/><Relationship Id="rId2" Type="http://schemas.openxmlformats.org/officeDocument/2006/relationships/tags" Target="../tags/tag56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slideMaster" Target="../slideMasters/slideMaster6.xml"/><Relationship Id="rId4" Type="http://schemas.openxmlformats.org/officeDocument/2006/relationships/tags" Target="../tags/tag56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67.xml"/><Relationship Id="rId2" Type="http://schemas.openxmlformats.org/officeDocument/2006/relationships/tags" Target="../tags/tag566.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569.xml"/><Relationship Id="rId2" Type="http://schemas.openxmlformats.org/officeDocument/2006/relationships/tags" Target="../tags/tag568.xml"/><Relationship Id="rId1" Type="http://schemas.openxmlformats.org/officeDocument/2006/relationships/vmlDrawing" Target="../drawings/vmlDrawing71.vml"/><Relationship Id="rId6" Type="http://schemas.openxmlformats.org/officeDocument/2006/relationships/image" Target="../media/image2.emf"/><Relationship Id="rId5" Type="http://schemas.openxmlformats.org/officeDocument/2006/relationships/oleObject" Target="../embeddings/oleObject71.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90.xml"/><Relationship Id="rId7"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9.v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95.xml"/><Relationship Id="rId7"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vmlDrawing" Target="../drawings/vmlDrawing10.v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 name="Afbeelding 5" descr="Afbeelding met plein&#10;&#10;Automatisch gegenereerde beschrijving">
            <a:extLst>
              <a:ext uri="{FF2B5EF4-FFF2-40B4-BE49-F238E27FC236}">
                <a16:creationId xmlns:a16="http://schemas.microsoft.com/office/drawing/2014/main" id="{DB591B04-25CD-3845-9E23-8622158F5B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00990" y="3469430"/>
            <a:ext cx="2656850" cy="288836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203777" name="think-cell Slide" r:id="rId8" imgW="359" imgH="358" progId="TCLayout.ActiveDocument.1">
                  <p:embed/>
                </p:oleObj>
              </mc:Choice>
              <mc:Fallback>
                <p:oleObj name="think-cell Slide" r:id="rId8" imgW="359" imgH="358" progId="TCLayout.ActiveDocument.1">
                  <p:embed/>
                  <p:pic>
                    <p:nvPicPr>
                      <p:cNvPr id="2" name="Object 1" hidden="1"/>
                      <p:cNvPicPr/>
                      <p:nvPr/>
                    </p:nvPicPr>
                    <p:blipFill>
                      <a:blip r:embed="rId9"/>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89"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5"/>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7"/>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ocumenttype </a:t>
            </a:r>
          </a:p>
        </p:txBody>
      </p:sp>
      <p:sp>
        <p:nvSpPr>
          <p:cNvPr id="9" name="Title">
            <a:extLst>
              <a:ext uri="{FF2B5EF4-FFF2-40B4-BE49-F238E27FC236}">
                <a16:creationId xmlns:a16="http://schemas.microsoft.com/office/drawing/2014/main" id="{18C39C5E-E955-4292-A1EE-42C1DB267787}"/>
              </a:ext>
            </a:extLst>
          </p:cNvPr>
          <p:cNvSpPr>
            <a:spLocks noGrp="1"/>
          </p:cNvSpPr>
          <p:nvPr>
            <p:ph type="ctrTitle" hasCustomPrompt="1"/>
            <p:custDataLst>
              <p:tags r:id="rId4"/>
            </p:custDataLst>
          </p:nvPr>
        </p:nvSpPr>
        <p:spPr>
          <a:xfrm>
            <a:off x="4414048" y="2546003"/>
            <a:ext cx="7361972" cy="1354217"/>
          </a:xfrm>
        </p:spPr>
        <p:txBody>
          <a:bodyPr anchor="b"/>
          <a:lstStyle>
            <a:lvl1pPr>
              <a:defRPr sz="4400"/>
            </a:lvl1pPr>
          </a:lstStyle>
          <a:p>
            <a:r>
              <a:rPr lang="nl-NL" sz="4489" noProof="0"/>
              <a:t>Click </a:t>
            </a:r>
            <a:r>
              <a:rPr lang="nl-NL" sz="4489" noProof="0" err="1"/>
              <a:t>to</a:t>
            </a:r>
            <a:r>
              <a:rPr lang="nl-NL" sz="4489" noProof="0"/>
              <a:t> </a:t>
            </a:r>
            <a:r>
              <a:rPr lang="nl-NL" sz="4489" noProof="0" err="1"/>
              <a:t>edit</a:t>
            </a:r>
            <a:r>
              <a:rPr lang="nl-NL" sz="4489" noProof="0"/>
              <a:t> Master </a:t>
            </a:r>
            <a:r>
              <a:rPr lang="nl-NL" sz="4489" noProof="0" err="1"/>
              <a:t>title</a:t>
            </a:r>
            <a:r>
              <a:rPr lang="nl-NL" sz="4489" noProof="0"/>
              <a:t> </a:t>
            </a:r>
            <a:r>
              <a:rPr lang="nl-NL" sz="4489" noProof="0" err="1"/>
              <a:t>style</a:t>
            </a:r>
            <a:endParaRPr lang="nl-NL" sz="4489">
              <a:solidFill>
                <a:schemeClr val="tx2"/>
              </a:solidFill>
            </a:endParaRPr>
          </a:p>
        </p:txBody>
      </p:sp>
      <p:sp>
        <p:nvSpPr>
          <p:cNvPr id="10" name="Subtitle">
            <a:extLst>
              <a:ext uri="{FF2B5EF4-FFF2-40B4-BE49-F238E27FC236}">
                <a16:creationId xmlns:a16="http://schemas.microsoft.com/office/drawing/2014/main" id="{04196BC9-9AE0-4A7B-B527-24F96C775B6C}"/>
              </a:ext>
            </a:extLst>
          </p:cNvPr>
          <p:cNvSpPr>
            <a:spLocks noGrp="1"/>
          </p:cNvSpPr>
          <p:nvPr>
            <p:ph type="subTitle" idx="4294967295"/>
            <p:custDataLst>
              <p:tags r:id="rId5"/>
            </p:custDataLst>
          </p:nvPr>
        </p:nvSpPr>
        <p:spPr>
          <a:xfrm>
            <a:off x="4414048" y="4062830"/>
            <a:ext cx="7361972" cy="500166"/>
          </a:xfrm>
        </p:spPr>
        <p:txBody>
          <a:bodyPr/>
          <a:lstStyle>
            <a:lvl1pPr>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13" name="Rectangle 3">
            <a:extLst>
              <a:ext uri="{FF2B5EF4-FFF2-40B4-BE49-F238E27FC236}">
                <a16:creationId xmlns:a16="http://schemas.microsoft.com/office/drawing/2014/main" id="{E5B49B66-1E56-A545-85FD-9601BB1554B6}"/>
              </a:ext>
            </a:extLst>
          </p:cNvPr>
          <p:cNvSpPr/>
          <p:nvPr userDrawn="1"/>
        </p:nvSpPr>
        <p:spPr>
          <a:xfrm>
            <a:off x="4216932" y="5777659"/>
            <a:ext cx="7434930" cy="832633"/>
          </a:xfrm>
          <a:prstGeom prst="rect">
            <a:avLst/>
          </a:prstGeom>
        </p:spPr>
        <p:txBody>
          <a:bodyPr wrap="square" lIns="0" tIns="0" rIns="0" bIns="0">
            <a:spAutoFit/>
          </a:bodyPr>
          <a:lstStyle/>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De informatie in dit document is uitsluitend bedoeld als algemene informatie. Aan de informatie kunnen geen rechten worden ontleend. Hoewel stichting Het Potentieel Pakken zorgvuldigheid in acht neemt bij het samenstellen en onderhouden van dit document, staat de stichting niet in voor de juistheid, volledigheid en/of actualiteit van de informatie en wijst iedere aansprakelijkheid ten aanzien hiervan uitdrukkelijk van de hand.</a:t>
            </a:r>
          </a:p>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 Copyright stichting Het Potentieel Pakken 2020. Alle rechten worden voorbehouden. Niets van de in dit document gepubliceerde gegevens (waaronder begrepen beeldmateriaal) mag zonder uitdrukkelijke voorafgaande schriftelijke toestemming van stichting Het Potentieel Pakken worden verveelvoudigd, bewerkt, en/of (verder) openbaar worden gemaakt, online noch offline.</a:t>
            </a:r>
            <a:endParaRPr kumimoji="0" lang="en-US" sz="918" b="0" i="1" u="none" strike="noStrike" kern="1200" cap="none" spc="0" normalizeH="0" baseline="0" noProof="0">
              <a:ln>
                <a:noFill/>
              </a:ln>
              <a:solidFill>
                <a:srgbClr val="000000"/>
              </a:solidFill>
              <a:effectLst/>
              <a:uLnTx/>
              <a:uFillTx/>
              <a:latin typeface="Arial" charset="0"/>
              <a:ea typeface="ＭＳ Ｐゴシック"/>
              <a:cs typeface="+mn-cs"/>
            </a:endParaRPr>
          </a:p>
        </p:txBody>
      </p:sp>
      <p:cxnSp>
        <p:nvCxnSpPr>
          <p:cNvPr id="14" name="Rechte verbindingslijn 13">
            <a:extLst>
              <a:ext uri="{FF2B5EF4-FFF2-40B4-BE49-F238E27FC236}">
                <a16:creationId xmlns:a16="http://schemas.microsoft.com/office/drawing/2014/main" id="{EB770320-1757-1543-87CE-C72A097811D3}"/>
              </a:ext>
            </a:extLst>
          </p:cNvPr>
          <p:cNvCxnSpPr/>
          <p:nvPr userDrawn="1"/>
        </p:nvCxnSpPr>
        <p:spPr>
          <a:xfrm>
            <a:off x="4272352" y="3971310"/>
            <a:ext cx="7617373" cy="0"/>
          </a:xfrm>
          <a:prstGeom prst="line">
            <a:avLst/>
          </a:prstGeom>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731165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C5515A-B16D-49DA-87E0-F4655E15C650}"/>
              </a:ext>
            </a:extLst>
          </p:cNvPr>
          <p:cNvGraphicFramePr>
            <a:graphicFrameLocks noChangeAspect="1"/>
          </p:cNvGraphicFramePr>
          <p:nvPr userDrawn="1">
            <p:custDataLst>
              <p:tags r:id="rId2"/>
            </p:custDataLst>
          </p:nvPr>
        </p:nvGraphicFramePr>
        <p:xfrm>
          <a:off x="1623" y="1623"/>
          <a:ext cx="1620" cy="1620"/>
        </p:xfrm>
        <a:graphic>
          <a:graphicData uri="http://schemas.openxmlformats.org/presentationml/2006/ole">
            <mc:AlternateContent xmlns:mc="http://schemas.openxmlformats.org/markup-compatibility/2006">
              <mc:Choice xmlns:v="urn:schemas-microsoft-com:vml" Requires="v">
                <p:oleObj spid="_x0000_s21299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6C5515A-B16D-49DA-87E0-F4655E15C650}"/>
                          </a:ext>
                        </a:extLst>
                      </p:cNvPr>
                      <p:cNvPicPr/>
                      <p:nvPr/>
                    </p:nvPicPr>
                    <p:blipFill>
                      <a:blip r:embed="rId6"/>
                      <a:stretch>
                        <a:fillRect/>
                      </a:stretch>
                    </p:blipFill>
                    <p:spPr>
                      <a:xfrm>
                        <a:off x="1623" y="1623"/>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3B7D5DD-9F10-45D4-9154-5034CE7E90BC}"/>
              </a:ext>
            </a:extLst>
          </p:cNvPr>
          <p:cNvSpPr/>
          <p:nvPr userDrawn="1">
            <p:custDataLst>
              <p:tags r:id="rId3"/>
            </p:custDataLst>
          </p:nvPr>
        </p:nvSpPr>
        <p:spPr>
          <a:xfrm>
            <a:off x="3" y="0"/>
            <a:ext cx="161977" cy="16197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Tree>
    <p:extLst>
      <p:ext uri="{BB962C8B-B14F-4D97-AF65-F5344CB8AC3E}">
        <p14:creationId xmlns:p14="http://schemas.microsoft.com/office/powerpoint/2010/main" val="16209365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1C6E-D43D-43BA-9B36-69C65EFFF2A0}"/>
              </a:ext>
            </a:extLst>
          </p:cNvPr>
          <p:cNvGraphicFramePr>
            <a:graphicFrameLocks noChangeAspect="1"/>
          </p:cNvGraphicFramePr>
          <p:nvPr userDrawn="1">
            <p:custDataLst>
              <p:tags r:id="rId2"/>
            </p:custDataLst>
          </p:nvPr>
        </p:nvGraphicFramePr>
        <p:xfrm>
          <a:off x="1623" y="1623"/>
          <a:ext cx="1620" cy="1620"/>
        </p:xfrm>
        <a:graphic>
          <a:graphicData uri="http://schemas.openxmlformats.org/presentationml/2006/ole">
            <mc:AlternateContent xmlns:mc="http://schemas.openxmlformats.org/markup-compatibility/2006">
              <mc:Choice xmlns:v="urn:schemas-microsoft-com:vml" Requires="v">
                <p:oleObj spid="_x0000_s21401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761C6E-D43D-43BA-9B36-69C65EFFF2A0}"/>
                          </a:ext>
                        </a:extLst>
                      </p:cNvPr>
                      <p:cNvPicPr/>
                      <p:nvPr/>
                    </p:nvPicPr>
                    <p:blipFill>
                      <a:blip r:embed="rId6"/>
                      <a:stretch>
                        <a:fillRect/>
                      </a:stretch>
                    </p:blipFill>
                    <p:spPr>
                      <a:xfrm>
                        <a:off x="1623" y="1623"/>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42ECAD-49E9-46BA-83A1-F970AC83D1F9}"/>
              </a:ext>
            </a:extLst>
          </p:cNvPr>
          <p:cNvSpPr/>
          <p:nvPr userDrawn="1">
            <p:custDataLst>
              <p:tags r:id="rId3"/>
            </p:custDataLst>
          </p:nvPr>
        </p:nvSpPr>
        <p:spPr>
          <a:xfrm>
            <a:off x="3" y="0"/>
            <a:ext cx="161977" cy="16197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2292903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spid="_x0000_s21504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3"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47"/>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6"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Tree>
    <p:extLst>
      <p:ext uri="{BB962C8B-B14F-4D97-AF65-F5344CB8AC3E}">
        <p14:creationId xmlns:p14="http://schemas.microsoft.com/office/powerpoint/2010/main" val="37607341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3993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4" y="16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4400">
              <a:solidFill>
                <a:srgbClr val="000000"/>
              </a:solidFill>
              <a:latin typeface="Andada" panose="02000000000000000000" pitchFamily="50" charset="0"/>
              <a:sym typeface="Andada" panose="02000000000000000000" pitchFamily="50" charset="0"/>
            </a:endParaRPr>
          </a:p>
        </p:txBody>
      </p:sp>
      <p:sp>
        <p:nvSpPr>
          <p:cNvPr id="13314" name="Title"/>
          <p:cNvSpPr>
            <a:spLocks noGrp="1" noChangeArrowheads="1"/>
          </p:cNvSpPr>
          <p:nvPr>
            <p:ph type="ctrTitle"/>
          </p:nvPr>
        </p:nvSpPr>
        <p:spPr bwMode="gray">
          <a:xfrm>
            <a:off x="5238751" y="2070328"/>
            <a:ext cx="5597144" cy="1354217"/>
          </a:xfrm>
          <a:prstGeom prst="rect">
            <a:avLst/>
          </a:prstGeom>
        </p:spPr>
        <p:txBody>
          <a:bodyPr wrap="square" anchor="b">
            <a:noAutofit/>
          </a:bodyPr>
          <a:lstStyle>
            <a:lvl1pPr>
              <a:buClr>
                <a:schemeClr val="tx2"/>
              </a:buClr>
              <a:defRPr sz="4400" b="0" baseline="0">
                <a:solidFill>
                  <a:schemeClr val="tx1"/>
                </a:solidFill>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Subtitle"/>
          <p:cNvSpPr>
            <a:spLocks noGrp="1" noChangeArrowheads="1"/>
          </p:cNvSpPr>
          <p:nvPr>
            <p:ph type="subTitle" idx="1"/>
          </p:nvPr>
        </p:nvSpPr>
        <p:spPr bwMode="gray">
          <a:xfrm>
            <a:off x="5238751" y="3545590"/>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400" fontAlgn="base">
              <a:spcBef>
                <a:spcPct val="0"/>
              </a:spcBef>
              <a:spcAft>
                <a:spcPct val="0"/>
              </a:spcAft>
            </a:pPr>
            <a:r>
              <a:rPr lang="nl-NL" sz="1500">
                <a:solidFill>
                  <a:srgbClr val="000000"/>
                </a:solidFill>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9"/>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400" fontAlgn="base">
              <a:spcBef>
                <a:spcPct val="0"/>
              </a:spcBef>
              <a:spcAft>
                <a:spcPct val="0"/>
              </a:spcAft>
            </a:pPr>
            <a:r>
              <a:rPr lang="nl-NL" sz="1500">
                <a:solidFill>
                  <a:srgbClr val="000000"/>
                </a:solidFill>
                <a:sym typeface="+mn-lt"/>
              </a:rPr>
              <a:t>Documenttype </a:t>
            </a:r>
          </a:p>
        </p:txBody>
      </p:sp>
      <p:pic>
        <p:nvPicPr>
          <p:cNvPr id="12" name="Picture 11">
            <a:extLst>
              <a:ext uri="{FF2B5EF4-FFF2-40B4-BE49-F238E27FC236}">
                <a16:creationId xmlns:a16="http://schemas.microsoft.com/office/drawing/2014/main" id="{A177682A-83DA-4C9E-BAF2-06640EA7DFCC}"/>
              </a:ext>
            </a:extLst>
          </p:cNvPr>
          <p:cNvPicPr>
            <a:picLocks noChangeAspect="1"/>
          </p:cNvPicPr>
          <p:nvPr userDrawn="1"/>
        </p:nvPicPr>
        <p:blipFill>
          <a:blip r:embed="rId7"/>
          <a:stretch>
            <a:fillRect/>
          </a:stretch>
        </p:blipFill>
        <p:spPr bwMode="gray">
          <a:xfrm>
            <a:off x="-331233" y="2702023"/>
            <a:ext cx="4377719" cy="4377719"/>
          </a:xfrm>
          <a:prstGeom prst="rect">
            <a:avLst/>
          </a:prstGeom>
        </p:spPr>
      </p:pic>
    </p:spTree>
    <p:extLst>
      <p:ext uri="{BB962C8B-B14F-4D97-AF65-F5344CB8AC3E}">
        <p14:creationId xmlns:p14="http://schemas.microsoft.com/office/powerpoint/2010/main" val="11750372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spid="_x0000_s4096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4" y="1624"/>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4400">
              <a:solidFill>
                <a:srgbClr val="000000"/>
              </a:solidFill>
              <a:latin typeface="Andada" panose="02000000000000000000" pitchFamily="50" charset="0"/>
              <a:sym typeface="Andada" panose="02000000000000000000" pitchFamily="50" charset="0"/>
            </a:endParaRPr>
          </a:p>
        </p:txBody>
      </p:sp>
      <p:sp>
        <p:nvSpPr>
          <p:cNvPr id="13314" name="Title"/>
          <p:cNvSpPr>
            <a:spLocks noGrp="1" noChangeArrowheads="1"/>
          </p:cNvSpPr>
          <p:nvPr>
            <p:ph type="ctrTitle"/>
          </p:nvPr>
        </p:nvSpPr>
        <p:spPr bwMode="gray">
          <a:xfrm>
            <a:off x="5238751" y="2070328"/>
            <a:ext cx="5597144" cy="1354217"/>
          </a:xfrm>
          <a:prstGeom prst="rect">
            <a:avLst/>
          </a:prstGeom>
        </p:spPr>
        <p:txBody>
          <a:bodyPr wrap="square" anchor="b">
            <a:noAutofit/>
          </a:bodyPr>
          <a:lstStyle>
            <a:lvl1pPr>
              <a:buClr>
                <a:schemeClr val="tx2"/>
              </a:buClr>
              <a:defRPr sz="4400" b="0" baseline="0">
                <a:solidFill>
                  <a:schemeClr val="tx1"/>
                </a:solidFill>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Subtitle"/>
          <p:cNvSpPr>
            <a:spLocks noGrp="1" noChangeArrowheads="1"/>
          </p:cNvSpPr>
          <p:nvPr>
            <p:ph type="subTitle" idx="1"/>
          </p:nvPr>
        </p:nvSpPr>
        <p:spPr bwMode="gray">
          <a:xfrm>
            <a:off x="5238751" y="3545590"/>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400" fontAlgn="base">
              <a:spcBef>
                <a:spcPct val="0"/>
              </a:spcBef>
              <a:spcAft>
                <a:spcPct val="0"/>
              </a:spcAft>
            </a:pPr>
            <a:r>
              <a:rPr lang="nl-NL" sz="1500">
                <a:solidFill>
                  <a:srgbClr val="000000"/>
                </a:solidFill>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9"/>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400" fontAlgn="base">
              <a:spcBef>
                <a:spcPct val="0"/>
              </a:spcBef>
              <a:spcAft>
                <a:spcPct val="0"/>
              </a:spcAft>
            </a:pPr>
            <a:r>
              <a:rPr lang="nl-NL" sz="1500">
                <a:solidFill>
                  <a:srgbClr val="000000"/>
                </a:solidFill>
                <a:sym typeface="+mn-lt"/>
              </a:rPr>
              <a:t>Documenttype </a:t>
            </a:r>
          </a:p>
        </p:txBody>
      </p:sp>
      <p:pic>
        <p:nvPicPr>
          <p:cNvPr id="12" name="Picture 11">
            <a:extLst>
              <a:ext uri="{FF2B5EF4-FFF2-40B4-BE49-F238E27FC236}">
                <a16:creationId xmlns:a16="http://schemas.microsoft.com/office/drawing/2014/main" id="{DE9B22C2-E0FB-4B0B-8059-3E91C6E663B7}"/>
              </a:ext>
            </a:extLst>
          </p:cNvPr>
          <p:cNvPicPr>
            <a:picLocks noChangeAspect="1"/>
          </p:cNvPicPr>
          <p:nvPr userDrawn="1"/>
        </p:nvPicPr>
        <p:blipFill rotWithShape="1">
          <a:blip r:embed="rId7"/>
          <a:srcRect l="14304" t="21913" r="25791" b="20000"/>
          <a:stretch/>
        </p:blipFill>
        <p:spPr bwMode="gray">
          <a:xfrm>
            <a:off x="273437" y="3638892"/>
            <a:ext cx="2672583" cy="2590656"/>
          </a:xfrm>
          <a:prstGeom prst="rect">
            <a:avLst/>
          </a:prstGeom>
        </p:spPr>
      </p:pic>
    </p:spTree>
    <p:extLst>
      <p:ext uri="{BB962C8B-B14F-4D97-AF65-F5344CB8AC3E}">
        <p14:creationId xmlns:p14="http://schemas.microsoft.com/office/powerpoint/2010/main" val="1244609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spid="_x0000_s4198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3"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47"/>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Tree>
    <p:extLst>
      <p:ext uri="{BB962C8B-B14F-4D97-AF65-F5344CB8AC3E}">
        <p14:creationId xmlns:p14="http://schemas.microsoft.com/office/powerpoint/2010/main" val="18787378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spid="_x0000_s4301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3"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6"/>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a:solidFill>
                  <a:srgbClr val="000000"/>
                </a:solidFill>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6"/>
            <a:ext cx="5867400" cy="58102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noAutofit/>
          </a:bodyPr>
          <a:lstStyle/>
          <a:p>
            <a:pPr algn="ctr" defTabSz="914321" fontAlgn="base">
              <a:spcBef>
                <a:spcPct val="0"/>
              </a:spcBef>
              <a:spcAft>
                <a:spcPct val="0"/>
              </a:spcAft>
            </a:pPr>
            <a:endParaRPr lang="nl-NL">
              <a:solidFill>
                <a:srgbClr val="000000"/>
              </a:solidFill>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39"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2" indent="-95242" fontAlgn="base">
              <a:spcBef>
                <a:spcPct val="0"/>
              </a:spcBef>
              <a:spcAft>
                <a:spcPct val="0"/>
              </a:spcAft>
            </a:pPr>
            <a:r>
              <a:rPr lang="nl-NL" sz="900">
                <a:solidFill>
                  <a:srgbClr val="000000"/>
                </a:solidFill>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39"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72" indent="-304772" defTabSz="895272" fontAlgn="base">
              <a:spcBef>
                <a:spcPct val="0"/>
              </a:spcBef>
              <a:spcAft>
                <a:spcPct val="0"/>
              </a:spcAft>
            </a:pPr>
            <a:r>
              <a:rPr lang="nl-NL" sz="900">
                <a:solidFill>
                  <a:srgbClr val="000000"/>
                </a:solidFill>
                <a:sym typeface="+mn-lt"/>
              </a:rPr>
              <a:t>Bron: Bron </a:t>
            </a:r>
          </a:p>
        </p:txBody>
      </p:sp>
    </p:spTree>
    <p:extLst>
      <p:ext uri="{BB962C8B-B14F-4D97-AF65-F5344CB8AC3E}">
        <p14:creationId xmlns:p14="http://schemas.microsoft.com/office/powerpoint/2010/main" val="2417067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spid="_x0000_s4403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3"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6"/>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a:solidFill>
                  <a:srgbClr val="000000"/>
                </a:solidFill>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39"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2" indent="-95242" fontAlgn="base">
              <a:spcBef>
                <a:spcPct val="0"/>
              </a:spcBef>
              <a:spcAft>
                <a:spcPct val="0"/>
              </a:spcAft>
            </a:pPr>
            <a:r>
              <a:rPr lang="nl-NL" sz="900">
                <a:solidFill>
                  <a:srgbClr val="000000"/>
                </a:solidFill>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39"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72" indent="-304772" defTabSz="895272" fontAlgn="base">
              <a:spcBef>
                <a:spcPct val="0"/>
              </a:spcBef>
              <a:spcAft>
                <a:spcPct val="0"/>
              </a:spcAft>
            </a:pPr>
            <a:r>
              <a:rPr lang="nl-NL" sz="900">
                <a:solidFill>
                  <a:srgbClr val="000000"/>
                </a:solidFill>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2" y="590548"/>
            <a:ext cx="6979431" cy="5760000"/>
          </a:xfrm>
          <a:prstGeom prst="rect">
            <a:avLst/>
          </a:prstGeom>
          <a:solidFill>
            <a:srgbClr val="FFFFFF">
              <a:lumMod val="95000"/>
            </a:srgbClr>
          </a:solidFill>
          <a:ln w="9525" cap="flat" cmpd="sng" algn="ctr">
            <a:noFill/>
            <a:prstDash val="solid"/>
          </a:ln>
          <a:effectLst/>
        </p:spPr>
        <p:txBody>
          <a:bodyPr lIns="121914" tIns="60957" rIns="121914" bIns="60957" rtlCol="0" anchor="ctr"/>
          <a:lstStyle/>
          <a:p>
            <a:pPr algn="ctr" defTabSz="914321">
              <a:defRPr/>
            </a:pPr>
            <a:endParaRPr lang="nl-NL" kern="0">
              <a:solidFill>
                <a:srgbClr val="000000"/>
              </a:solidFill>
            </a:endParaRPr>
          </a:p>
        </p:txBody>
      </p:sp>
    </p:spTree>
    <p:extLst>
      <p:ext uri="{BB962C8B-B14F-4D97-AF65-F5344CB8AC3E}">
        <p14:creationId xmlns:p14="http://schemas.microsoft.com/office/powerpoint/2010/main" val="31134219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spid="_x0000_s4505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3"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9" y="2652036"/>
            <a:ext cx="2556325"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6"/>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a:solidFill>
                  <a:srgbClr val="000000"/>
                </a:solidFill>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39"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2" indent="-95242" fontAlgn="base">
              <a:spcBef>
                <a:spcPct val="0"/>
              </a:spcBef>
              <a:spcAft>
                <a:spcPct val="0"/>
              </a:spcAft>
            </a:pPr>
            <a:r>
              <a:rPr lang="nl-NL" sz="900">
                <a:solidFill>
                  <a:srgbClr val="000000"/>
                </a:solidFill>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39"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72" indent="-304772" defTabSz="895272" fontAlgn="base">
              <a:spcBef>
                <a:spcPct val="0"/>
              </a:spcBef>
              <a:spcAft>
                <a:spcPct val="0"/>
              </a:spcAft>
            </a:pPr>
            <a:r>
              <a:rPr lang="nl-NL" sz="900">
                <a:solidFill>
                  <a:srgbClr val="000000"/>
                </a:solidFill>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lIns="121914" tIns="60957" rIns="121914" bIns="60957" rtlCol="0" anchor="ctr"/>
          <a:lstStyle/>
          <a:p>
            <a:pPr algn="ctr" defTabSz="914321">
              <a:defRPr/>
            </a:pPr>
            <a:endParaRPr lang="nl-NL" kern="0">
              <a:solidFill>
                <a:srgbClr val="000000"/>
              </a:solidFill>
            </a:endParaRPr>
          </a:p>
        </p:txBody>
      </p:sp>
    </p:spTree>
    <p:extLst>
      <p:ext uri="{BB962C8B-B14F-4D97-AF65-F5344CB8AC3E}">
        <p14:creationId xmlns:p14="http://schemas.microsoft.com/office/powerpoint/2010/main" val="7884612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2"/>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base">
              <a:spcBef>
                <a:spcPts val="300"/>
              </a:spcBef>
              <a:spcAft>
                <a:spcPts val="300"/>
              </a:spcAft>
            </a:pPr>
            <a:endParaRPr lang="nl-NL" sz="2800">
              <a:solidFill>
                <a:srgbClr val="FFFFFF"/>
              </a:solidFill>
              <a:latin typeface="Andada" panose="02000000000000000000" pitchFamily="50"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3"/>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fontAlgn="base"/>
            <a:r>
              <a:rPr lang="nl-NL" sz="800">
                <a:solidFill>
                  <a:srgbClr val="000000"/>
                </a:solidFill>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38" y="523376"/>
            <a:ext cx="11090911" cy="588504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defTabSz="914400" fontAlgn="base">
              <a:spcBef>
                <a:spcPts val="300"/>
              </a:spcBef>
              <a:spcAft>
                <a:spcPts val="300"/>
              </a:spcAft>
            </a:pPr>
            <a:endParaRPr lang="nl-NL" sz="1600">
              <a:solidFill>
                <a:srgbClr val="FFFFFF"/>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5"/>
            <a:ext cx="4408291" cy="387799"/>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6"/>
            <a:ext cx="325500" cy="143629"/>
          </a:xfrm>
          <a:prstGeom prst="rect">
            <a:avLst/>
          </a:prstGeom>
          <a:noFill/>
          <a:ln w="9525" algn="ctr">
            <a:noFill/>
            <a:miter lim="800000"/>
            <a:headEnd/>
            <a:tailEnd/>
          </a:ln>
          <a:effectLst/>
        </p:spPr>
        <p:txBody>
          <a:bodyPr wrap="square" lIns="0" tIns="0" rIns="0" bIns="0" anchor="b">
            <a:spAutoFit/>
          </a:bodyPr>
          <a:lstStyle/>
          <a:p>
            <a:pPr algn="r" defTabSz="610691">
              <a:defRPr/>
            </a:pPr>
            <a:fld id="{4ABDCABE-3F10-B64C-92F1-862014417034}" type="slidenum">
              <a:rPr lang="nl-NL" sz="900" smtClean="0">
                <a:solidFill>
                  <a:srgbClr val="000000"/>
                </a:solidFill>
                <a:latin typeface="Andada" panose="02000000000000000000" pitchFamily="50" charset="0"/>
                <a:cs typeface="Arial" panose="020B0604020202020204" pitchFamily="34" charset="0"/>
              </a:rPr>
              <a:pPr algn="r" defTabSz="610691">
                <a:defRPr/>
              </a:pPr>
              <a:t>‹nr.›</a:t>
            </a:fld>
            <a:endParaRPr lang="nl-NL" sz="900">
              <a:solidFill>
                <a:srgbClr val="000000"/>
              </a:solidFill>
              <a:latin typeface="Andada" panose="02000000000000000000" pitchFamily="50" charset="0"/>
              <a:cs typeface="Arial" panose="020B0604020202020204" pitchFamily="34" charset="0"/>
            </a:endParaRPr>
          </a:p>
        </p:txBody>
      </p:sp>
    </p:spTree>
    <p:extLst>
      <p:ext uri="{BB962C8B-B14F-4D97-AF65-F5344CB8AC3E}">
        <p14:creationId xmlns:p14="http://schemas.microsoft.com/office/powerpoint/2010/main" val="623480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204801" name="think-cell Slide" r:id="rId7" imgW="359" imgH="358" progId="TCLayout.ActiveDocument.1">
                  <p:embed/>
                </p:oleObj>
              </mc:Choice>
              <mc:Fallback>
                <p:oleObj name="think-cell Slide" r:id="rId7" imgW="359" imgH="358" progId="TCLayout.ActiveDocument.1">
                  <p:embed/>
                  <p:pic>
                    <p:nvPicPr>
                      <p:cNvPr id="2" name="Object 1" hidden="1"/>
                      <p:cNvPicPr/>
                      <p:nvPr/>
                    </p:nvPicPr>
                    <p:blipFill>
                      <a:blip r:embed="rId8"/>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5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500">
                <a:latin typeface="+mn-lt"/>
                <a:ea typeface="+mn-ea"/>
                <a:sym typeface="+mn-lt"/>
              </a:rPr>
              <a:t>Documenttype </a:t>
            </a:r>
          </a:p>
        </p:txBody>
      </p:sp>
      <p:pic>
        <p:nvPicPr>
          <p:cNvPr id="9" name="Afbeelding 8" descr="Afbeelding met plein&#10;&#10;Automatisch gegenereerde beschrijving">
            <a:extLst>
              <a:ext uri="{FF2B5EF4-FFF2-40B4-BE49-F238E27FC236}">
                <a16:creationId xmlns:a16="http://schemas.microsoft.com/office/drawing/2014/main" id="{4D7BBA1F-3059-AC49-9F3C-A35DE39DA37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71550" y="3429000"/>
            <a:ext cx="2669879" cy="2902525"/>
          </a:xfrm>
          <a:prstGeom prst="rect">
            <a:avLst/>
          </a:prstGeom>
        </p:spPr>
      </p:pic>
      <p:sp>
        <p:nvSpPr>
          <p:cNvPr id="10" name="Title">
            <a:extLst>
              <a:ext uri="{FF2B5EF4-FFF2-40B4-BE49-F238E27FC236}">
                <a16:creationId xmlns:a16="http://schemas.microsoft.com/office/drawing/2014/main" id="{A32C950A-97DC-9A42-A3E0-919B1DB04848}"/>
              </a:ext>
            </a:extLst>
          </p:cNvPr>
          <p:cNvSpPr>
            <a:spLocks noGrp="1"/>
          </p:cNvSpPr>
          <p:nvPr>
            <p:ph type="ctrTitle"/>
            <p:custDataLst>
              <p:tags r:id="rId4"/>
            </p:custDataLst>
          </p:nvPr>
        </p:nvSpPr>
        <p:spPr>
          <a:xfrm>
            <a:off x="4414048" y="2546003"/>
            <a:ext cx="7361972" cy="1354217"/>
          </a:xfrm>
        </p:spPr>
        <p:txBody>
          <a:bodyPr anchor="b"/>
          <a:lstStyle>
            <a:lvl1pPr>
              <a:defRPr/>
            </a:lvl1pPr>
          </a:lstStyle>
          <a:p>
            <a:r>
              <a:rPr lang="nl-NL" sz="4489" noProof="0"/>
              <a:t>Click </a:t>
            </a:r>
            <a:r>
              <a:rPr lang="nl-NL" sz="4489" noProof="0" err="1"/>
              <a:t>to</a:t>
            </a:r>
            <a:r>
              <a:rPr lang="nl-NL" sz="4489" noProof="0"/>
              <a:t> </a:t>
            </a:r>
            <a:r>
              <a:rPr lang="nl-NL" sz="4489" noProof="0" err="1"/>
              <a:t>edit</a:t>
            </a:r>
            <a:r>
              <a:rPr lang="nl-NL" sz="4489" noProof="0"/>
              <a:t> Master </a:t>
            </a:r>
            <a:r>
              <a:rPr lang="nl-NL" sz="4489" noProof="0" err="1"/>
              <a:t>title</a:t>
            </a:r>
            <a:r>
              <a:rPr lang="nl-NL" sz="4489" noProof="0"/>
              <a:t> </a:t>
            </a:r>
            <a:r>
              <a:rPr lang="nl-NL" sz="4489" noProof="0" err="1"/>
              <a:t>style</a:t>
            </a:r>
            <a:endParaRPr lang="nl-NL" sz="4489">
              <a:solidFill>
                <a:schemeClr val="tx2"/>
              </a:solidFill>
            </a:endParaRPr>
          </a:p>
        </p:txBody>
      </p:sp>
      <p:sp>
        <p:nvSpPr>
          <p:cNvPr id="13" name="Rectangle 3">
            <a:extLst>
              <a:ext uri="{FF2B5EF4-FFF2-40B4-BE49-F238E27FC236}">
                <a16:creationId xmlns:a16="http://schemas.microsoft.com/office/drawing/2014/main" id="{03309D7D-9318-DF48-BAB3-A0C5C5A28490}"/>
              </a:ext>
            </a:extLst>
          </p:cNvPr>
          <p:cNvSpPr/>
          <p:nvPr userDrawn="1"/>
        </p:nvSpPr>
        <p:spPr>
          <a:xfrm>
            <a:off x="4216932" y="5777659"/>
            <a:ext cx="7434930" cy="832633"/>
          </a:xfrm>
          <a:prstGeom prst="rect">
            <a:avLst/>
          </a:prstGeom>
        </p:spPr>
        <p:txBody>
          <a:bodyPr wrap="square" lIns="0" tIns="0" rIns="0" bIns="0">
            <a:spAutoFit/>
          </a:bodyPr>
          <a:lstStyle/>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De informatie in dit document is uitsluitend bedoeld als algemene informatie. Aan de informatie kunnen geen rechten worden ontleend. Hoewel stichting Het Potentieel Pakken zorgvuldigheid in acht neemt bij het samenstellen en onderhouden van dit document, staat de stichting niet in voor de juistheid, volledigheid en/of actualiteit van de informatie en wijst iedere aansprakelijkheid ten aanzien hiervan uitdrukkelijk van de hand.</a:t>
            </a:r>
          </a:p>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 Copyright stichting Het Potentieel Pakken 2020. Alle rechten worden voorbehouden. Niets van de in dit document gepubliceerde gegevens (waaronder begrepen beeldmateriaal) mag zonder uitdrukkelijke voorafgaande schriftelijke toestemming van stichting Het Potentieel Pakken worden verveelvoudigd, bewerkt, en/of (verder) openbaar worden gemaakt, online noch offline.</a:t>
            </a:r>
            <a:endParaRPr kumimoji="0" lang="en-US" sz="918" b="0" i="1" u="none" strike="noStrike" kern="1200" cap="none" spc="0" normalizeH="0" baseline="0" noProof="0">
              <a:ln>
                <a:noFill/>
              </a:ln>
              <a:solidFill>
                <a:srgbClr val="000000"/>
              </a:solidFill>
              <a:effectLst/>
              <a:uLnTx/>
              <a:uFillTx/>
              <a:latin typeface="Arial" charset="0"/>
              <a:ea typeface="ＭＳ Ｐゴシック"/>
              <a:cs typeface="+mn-cs"/>
            </a:endParaRPr>
          </a:p>
        </p:txBody>
      </p:sp>
      <p:cxnSp>
        <p:nvCxnSpPr>
          <p:cNvPr id="14" name="Rechte verbindingslijn 13">
            <a:extLst>
              <a:ext uri="{FF2B5EF4-FFF2-40B4-BE49-F238E27FC236}">
                <a16:creationId xmlns:a16="http://schemas.microsoft.com/office/drawing/2014/main" id="{22E03EDB-EAF8-3447-9BE0-218693EE836C}"/>
              </a:ext>
            </a:extLst>
          </p:cNvPr>
          <p:cNvCxnSpPr/>
          <p:nvPr userDrawn="1"/>
        </p:nvCxnSpPr>
        <p:spPr>
          <a:xfrm>
            <a:off x="4272352" y="3971310"/>
            <a:ext cx="7617373"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5" name="Subtitle">
            <a:extLst>
              <a:ext uri="{FF2B5EF4-FFF2-40B4-BE49-F238E27FC236}">
                <a16:creationId xmlns:a16="http://schemas.microsoft.com/office/drawing/2014/main" id="{D2568FE7-645A-3B40-BBDC-8FEED8C885D4}"/>
              </a:ext>
            </a:extLst>
          </p:cNvPr>
          <p:cNvSpPr>
            <a:spLocks noGrp="1"/>
          </p:cNvSpPr>
          <p:nvPr>
            <p:ph type="subTitle" idx="4294967295"/>
            <p:custDataLst>
              <p:tags r:id="rId5"/>
            </p:custDataLst>
          </p:nvPr>
        </p:nvSpPr>
        <p:spPr>
          <a:xfrm>
            <a:off x="4414048" y="4062830"/>
            <a:ext cx="7361972" cy="500166"/>
          </a:xfrm>
        </p:spPr>
        <p:txBody>
          <a:bodyPr/>
          <a:lstStyle>
            <a:lvl1pPr>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34164241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2"/>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base">
              <a:spcBef>
                <a:spcPts val="300"/>
              </a:spcBef>
              <a:spcAft>
                <a:spcPts val="300"/>
              </a:spcAft>
            </a:pPr>
            <a:endParaRPr lang="nl-NL" sz="2800">
              <a:solidFill>
                <a:srgbClr val="FFFFFF"/>
              </a:solidFill>
              <a:latin typeface="Andada" panose="02000000000000000000" pitchFamily="50"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3"/>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fontAlgn="base"/>
            <a:r>
              <a:rPr lang="nl-NL" sz="800">
                <a:solidFill>
                  <a:srgbClr val="000000"/>
                </a:solidFill>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38" y="523376"/>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defTabSz="914400" fontAlgn="base">
              <a:spcBef>
                <a:spcPts val="300"/>
              </a:spcBef>
              <a:spcAft>
                <a:spcPts val="300"/>
              </a:spcAft>
            </a:pPr>
            <a:endParaRPr lang="nl-NL" sz="1600">
              <a:solidFill>
                <a:srgbClr val="FFFFFF"/>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5"/>
            <a:ext cx="4408291" cy="387799"/>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6"/>
            <a:ext cx="325500" cy="143629"/>
          </a:xfrm>
          <a:prstGeom prst="rect">
            <a:avLst/>
          </a:prstGeom>
          <a:noFill/>
          <a:ln w="9525" algn="ctr">
            <a:noFill/>
            <a:miter lim="800000"/>
            <a:headEnd/>
            <a:tailEnd/>
          </a:ln>
          <a:effectLst/>
        </p:spPr>
        <p:txBody>
          <a:bodyPr wrap="square" lIns="0" tIns="0" rIns="0" bIns="0" anchor="b">
            <a:spAutoFit/>
          </a:bodyPr>
          <a:lstStyle/>
          <a:p>
            <a:pPr algn="r" defTabSz="610691">
              <a:defRPr/>
            </a:pPr>
            <a:fld id="{4ABDCABE-3F10-B64C-92F1-862014417034}" type="slidenum">
              <a:rPr lang="nl-NL" sz="900" smtClean="0">
                <a:solidFill>
                  <a:srgbClr val="000000"/>
                </a:solidFill>
                <a:latin typeface="Andada" panose="02000000000000000000" pitchFamily="50" charset="0"/>
                <a:cs typeface="Arial" panose="020B0604020202020204" pitchFamily="34" charset="0"/>
              </a:rPr>
              <a:pPr algn="r" defTabSz="610691">
                <a:defRPr/>
              </a:pPr>
              <a:t>‹nr.›</a:t>
            </a:fld>
            <a:endParaRPr lang="nl-NL" sz="900">
              <a:solidFill>
                <a:srgbClr val="000000"/>
              </a:solidFill>
              <a:latin typeface="Andada" panose="02000000000000000000" pitchFamily="50" charset="0"/>
              <a:cs typeface="Arial" panose="020B0604020202020204" pitchFamily="34" charset="0"/>
            </a:endParaRPr>
          </a:p>
        </p:txBody>
      </p:sp>
    </p:spTree>
    <p:extLst>
      <p:ext uri="{BB962C8B-B14F-4D97-AF65-F5344CB8AC3E}">
        <p14:creationId xmlns:p14="http://schemas.microsoft.com/office/powerpoint/2010/main" val="3980478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C5515A-B16D-49DA-87E0-F4655E15C650}"/>
              </a:ext>
            </a:extLst>
          </p:cNvPr>
          <p:cNvGraphicFramePr>
            <a:graphicFrameLocks noChangeAspect="1"/>
          </p:cNvGraphicFramePr>
          <p:nvPr userDrawn="1">
            <p:custDataLst>
              <p:tags r:id="rId2"/>
            </p:custDataLst>
          </p:nvPr>
        </p:nvGraphicFramePr>
        <p:xfrm>
          <a:off x="1622" y="1622"/>
          <a:ext cx="1620" cy="1620"/>
        </p:xfrm>
        <a:graphic>
          <a:graphicData uri="http://schemas.openxmlformats.org/presentationml/2006/ole">
            <mc:AlternateContent xmlns:mc="http://schemas.openxmlformats.org/markup-compatibility/2006">
              <mc:Choice xmlns:v="urn:schemas-microsoft-com:vml" Requires="v">
                <p:oleObj spid="_x0000_s4813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6C5515A-B16D-49DA-87E0-F4655E15C650}"/>
                          </a:ext>
                        </a:extLst>
                      </p:cNvPr>
                      <p:cNvPicPr/>
                      <p:nvPr/>
                    </p:nvPicPr>
                    <p:blipFill>
                      <a:blip r:embed="rId6"/>
                      <a:stretch>
                        <a:fillRect/>
                      </a:stretch>
                    </p:blipFill>
                    <p:spPr>
                      <a:xfrm>
                        <a:off x="1622" y="1622"/>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3B7D5DD-9F10-45D4-9154-5034CE7E90BC}"/>
              </a:ext>
            </a:extLst>
          </p:cNvPr>
          <p:cNvSpPr/>
          <p:nvPr userDrawn="1">
            <p:custDataLst>
              <p:tags r:id="rId3"/>
            </p:custDataLst>
          </p:nvPr>
        </p:nvSpPr>
        <p:spPr>
          <a:xfrm>
            <a:off x="2" y="0"/>
            <a:ext cx="161977" cy="16197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Tree>
    <p:extLst>
      <p:ext uri="{BB962C8B-B14F-4D97-AF65-F5344CB8AC3E}">
        <p14:creationId xmlns:p14="http://schemas.microsoft.com/office/powerpoint/2010/main" val="28642970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1C6E-D43D-43BA-9B36-69C65EFFF2A0}"/>
              </a:ext>
            </a:extLst>
          </p:cNvPr>
          <p:cNvGraphicFramePr>
            <a:graphicFrameLocks noChangeAspect="1"/>
          </p:cNvGraphicFramePr>
          <p:nvPr userDrawn="1">
            <p:custDataLst>
              <p:tags r:id="rId2"/>
            </p:custDataLst>
          </p:nvPr>
        </p:nvGraphicFramePr>
        <p:xfrm>
          <a:off x="1622" y="1622"/>
          <a:ext cx="1620" cy="1620"/>
        </p:xfrm>
        <a:graphic>
          <a:graphicData uri="http://schemas.openxmlformats.org/presentationml/2006/ole">
            <mc:AlternateContent xmlns:mc="http://schemas.openxmlformats.org/markup-compatibility/2006">
              <mc:Choice xmlns:v="urn:schemas-microsoft-com:vml" Requires="v">
                <p:oleObj spid="_x0000_s4915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761C6E-D43D-43BA-9B36-69C65EFFF2A0}"/>
                          </a:ext>
                        </a:extLst>
                      </p:cNvPr>
                      <p:cNvPicPr/>
                      <p:nvPr/>
                    </p:nvPicPr>
                    <p:blipFill>
                      <a:blip r:embed="rId6"/>
                      <a:stretch>
                        <a:fillRect/>
                      </a:stretch>
                    </p:blipFill>
                    <p:spPr>
                      <a:xfrm>
                        <a:off x="1622" y="1622"/>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42ECAD-49E9-46BA-83A1-F970AC83D1F9}"/>
              </a:ext>
            </a:extLst>
          </p:cNvPr>
          <p:cNvSpPr/>
          <p:nvPr userDrawn="1">
            <p:custDataLst>
              <p:tags r:id="rId3"/>
            </p:custDataLst>
          </p:nvPr>
        </p:nvSpPr>
        <p:spPr>
          <a:xfrm>
            <a:off x="2" y="0"/>
            <a:ext cx="161977" cy="16197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27799887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rgbClr val="0C2074"/>
                </a:solidFill>
              </a:defRPr>
            </a:lvl1pPr>
          </a:lstStyle>
          <a:p>
            <a:r>
              <a:rPr lang="en-GB" noProof="0"/>
              <a:t>Click to edit title </a:t>
            </a:r>
          </a:p>
        </p:txBody>
      </p:sp>
      <p:sp>
        <p:nvSpPr>
          <p:cNvPr id="4" name="Tijdelijke aanduiding voor tekst 2"/>
          <p:cNvSpPr>
            <a:spLocks noGrp="1"/>
          </p:cNvSpPr>
          <p:nvPr>
            <p:ph idx="1" hasCustomPrompt="1"/>
          </p:nvPr>
        </p:nvSpPr>
        <p:spPr>
          <a:xfrm>
            <a:off x="838201" y="1825625"/>
            <a:ext cx="10515600" cy="4351339"/>
          </a:xfrm>
          <a:prstGeom prst="rect">
            <a:avLst/>
          </a:prstGeom>
        </p:spPr>
        <p:txBody>
          <a:bodyPr vert="horz" lIns="121912" tIns="60956" rIns="121912" bIns="60956" rtlCol="0">
            <a:normAutofit/>
          </a:bodyPr>
          <a:lstStyle>
            <a:lvl5pPr>
              <a:defRPr>
                <a:latin typeface="Arial" charset="0"/>
                <a:ea typeface="Arial" charset="0"/>
                <a:cs typeface="Arial" charset="0"/>
              </a:defRPr>
            </a:lvl5pPr>
            <a:lvl6pPr marL="0" indent="0">
              <a:buNone/>
              <a:defRPr/>
            </a:lvl6pPr>
            <a:lvl7pPr marL="0" indent="0">
              <a:buNone/>
              <a:tabLst/>
              <a:defRPr sz="1900"/>
            </a:lvl7pPr>
            <a:lvl8pPr marL="6351" indent="0">
              <a:buNone/>
              <a:tabLst/>
              <a:defRPr sz="1900"/>
            </a:lvl8pPr>
            <a:lvl9pPr marL="0" indent="0">
              <a:buNone/>
              <a:tabLst/>
              <a:defRPr sz="1900"/>
            </a:lvl9pPr>
          </a:lstStyle>
          <a:p>
            <a:pPr lvl="0"/>
            <a:r>
              <a:rPr lang="en-GB" noProof="0"/>
              <a:t>First ‘normal’ text level</a:t>
            </a:r>
          </a:p>
          <a:p>
            <a:pPr lvl="1"/>
            <a:r>
              <a:rPr lang="en-GB" noProof="0"/>
              <a:t>Second ‘bullet’ text level</a:t>
            </a:r>
          </a:p>
          <a:p>
            <a:pPr lvl="2"/>
            <a:r>
              <a:rPr lang="en-GB" noProof="0"/>
              <a:t>Third ‘sub-bullet’ text level</a:t>
            </a:r>
          </a:p>
          <a:p>
            <a:pPr lvl="8"/>
            <a:endParaRPr lang="en-GB" noProof="0"/>
          </a:p>
        </p:txBody>
      </p:sp>
    </p:spTree>
    <p:extLst>
      <p:ext uri="{BB962C8B-B14F-4D97-AF65-F5344CB8AC3E}">
        <p14:creationId xmlns:p14="http://schemas.microsoft.com/office/powerpoint/2010/main" val="2734810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5222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4400" err="1">
              <a:solidFill>
                <a:srgbClr val="000000"/>
              </a:solidFill>
              <a:latin typeface="Gill Sans Nova Medium" panose="020B0502020204020203" pitchFamily="34" charset="0"/>
              <a:sym typeface="Andada" panose="02000000000000000000" pitchFamily="50" charset="-18"/>
            </a:endParaRPr>
          </a:p>
        </p:txBody>
      </p:sp>
      <p:sp>
        <p:nvSpPr>
          <p:cNvPr id="13314" name="Title"/>
          <p:cNvSpPr>
            <a:spLocks noGrp="1" noChangeArrowheads="1"/>
          </p:cNvSpPr>
          <p:nvPr>
            <p:ph type="ctrTitle"/>
          </p:nvPr>
        </p:nvSpPr>
        <p:spPr bwMode="gray">
          <a:xfrm>
            <a:off x="5238751" y="2070330"/>
            <a:ext cx="5597144" cy="1354217"/>
          </a:xfrm>
          <a:prstGeom prst="rect">
            <a:avLst/>
          </a:prstGeom>
        </p:spPr>
        <p:txBody>
          <a:bodyPr wrap="square" anchor="b">
            <a:noAutofit/>
          </a:bodyPr>
          <a:lstStyle>
            <a:lvl1pPr>
              <a:buClr>
                <a:schemeClr val="tx2"/>
              </a:buClr>
              <a:defRPr sz="4400" b="0" i="0" baseline="0">
                <a:solidFill>
                  <a:schemeClr val="tx1"/>
                </a:solidFill>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13315" name="Subtitle"/>
          <p:cNvSpPr>
            <a:spLocks noGrp="1" noChangeArrowheads="1"/>
          </p:cNvSpPr>
          <p:nvPr>
            <p:ph type="subTitle" idx="1"/>
          </p:nvPr>
        </p:nvSpPr>
        <p:spPr bwMode="gray">
          <a:xfrm>
            <a:off x="5238751" y="3545591"/>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ocumenttype </a:t>
            </a:r>
          </a:p>
        </p:txBody>
      </p:sp>
      <p:pic>
        <p:nvPicPr>
          <p:cNvPr id="12" name="Picture 11">
            <a:extLst>
              <a:ext uri="{FF2B5EF4-FFF2-40B4-BE49-F238E27FC236}">
                <a16:creationId xmlns:a16="http://schemas.microsoft.com/office/drawing/2014/main" id="{A177682A-83DA-4C9E-BAF2-06640EA7DFCC}"/>
              </a:ext>
            </a:extLst>
          </p:cNvPr>
          <p:cNvPicPr>
            <a:picLocks noChangeAspect="1"/>
          </p:cNvPicPr>
          <p:nvPr userDrawn="1"/>
        </p:nvPicPr>
        <p:blipFill>
          <a:blip r:embed="rId7"/>
          <a:stretch>
            <a:fillRect/>
          </a:stretch>
        </p:blipFill>
        <p:spPr bwMode="gray">
          <a:xfrm>
            <a:off x="-331232" y="2702026"/>
            <a:ext cx="4377719" cy="4377719"/>
          </a:xfrm>
          <a:prstGeom prst="rect">
            <a:avLst/>
          </a:prstGeom>
        </p:spPr>
      </p:pic>
    </p:spTree>
    <p:extLst>
      <p:ext uri="{BB962C8B-B14F-4D97-AF65-F5344CB8AC3E}">
        <p14:creationId xmlns:p14="http://schemas.microsoft.com/office/powerpoint/2010/main" val="28042788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5325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4400" err="1">
              <a:solidFill>
                <a:srgbClr val="000000"/>
              </a:solidFill>
              <a:latin typeface="Gill Sans Nova Medium" panose="020B0502020204020203" pitchFamily="34" charset="0"/>
              <a:sym typeface="Andada" panose="02000000000000000000" pitchFamily="50" charset="-18"/>
            </a:endParaRPr>
          </a:p>
        </p:txBody>
      </p:sp>
      <p:sp>
        <p:nvSpPr>
          <p:cNvPr id="13314" name="Title"/>
          <p:cNvSpPr>
            <a:spLocks noGrp="1" noChangeArrowheads="1"/>
          </p:cNvSpPr>
          <p:nvPr>
            <p:ph type="ctrTitle"/>
          </p:nvPr>
        </p:nvSpPr>
        <p:spPr bwMode="gray">
          <a:xfrm>
            <a:off x="5238751" y="2070330"/>
            <a:ext cx="5597144" cy="1354217"/>
          </a:xfrm>
          <a:prstGeom prst="rect">
            <a:avLst/>
          </a:prstGeom>
        </p:spPr>
        <p:txBody>
          <a:bodyPr wrap="square" anchor="b">
            <a:noAutofit/>
          </a:bodyPr>
          <a:lstStyle>
            <a:lvl1pPr>
              <a:buClr>
                <a:schemeClr val="tx2"/>
              </a:buClr>
              <a:defRPr sz="4400" b="0" i="0" baseline="0">
                <a:solidFill>
                  <a:schemeClr val="tx1"/>
                </a:solidFill>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13315" name="Subtitle"/>
          <p:cNvSpPr>
            <a:spLocks noGrp="1" noChangeArrowheads="1"/>
          </p:cNvSpPr>
          <p:nvPr>
            <p:ph type="subTitle" idx="1"/>
          </p:nvPr>
        </p:nvSpPr>
        <p:spPr bwMode="gray">
          <a:xfrm>
            <a:off x="5238751" y="3545591"/>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ocumenttype </a:t>
            </a:r>
          </a:p>
        </p:txBody>
      </p:sp>
      <p:pic>
        <p:nvPicPr>
          <p:cNvPr id="12" name="Picture 11">
            <a:extLst>
              <a:ext uri="{FF2B5EF4-FFF2-40B4-BE49-F238E27FC236}">
                <a16:creationId xmlns:a16="http://schemas.microsoft.com/office/drawing/2014/main" id="{DE9B22C2-E0FB-4B0B-8059-3E91C6E663B7}"/>
              </a:ext>
            </a:extLst>
          </p:cNvPr>
          <p:cNvPicPr>
            <a:picLocks noChangeAspect="1"/>
          </p:cNvPicPr>
          <p:nvPr userDrawn="1"/>
        </p:nvPicPr>
        <p:blipFill rotWithShape="1">
          <a:blip r:embed="rId7"/>
          <a:srcRect l="14304" t="21913" r="25791" b="20000"/>
          <a:stretch/>
        </p:blipFill>
        <p:spPr bwMode="gray">
          <a:xfrm>
            <a:off x="273439" y="3638892"/>
            <a:ext cx="2672583" cy="2590656"/>
          </a:xfrm>
          <a:prstGeom prst="rect">
            <a:avLst/>
          </a:prstGeom>
        </p:spPr>
      </p:pic>
    </p:spTree>
    <p:extLst>
      <p:ext uri="{BB962C8B-B14F-4D97-AF65-F5344CB8AC3E}">
        <p14:creationId xmlns:p14="http://schemas.microsoft.com/office/powerpoint/2010/main" val="3096334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5427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a:t>
            </a:r>
            <a:r>
              <a:rPr lang="pl-PL" noProof="0"/>
              <a:t> </a:t>
            </a:r>
            <a:r>
              <a:rPr lang="en-US" noProof="0"/>
              <a:t>edit Master title style</a:t>
            </a:r>
            <a:endParaRPr lang="nl-NL" noProof="0"/>
          </a:p>
        </p:txBody>
      </p:sp>
    </p:spTree>
    <p:extLst>
      <p:ext uri="{BB962C8B-B14F-4D97-AF65-F5344CB8AC3E}">
        <p14:creationId xmlns:p14="http://schemas.microsoft.com/office/powerpoint/2010/main" val="214738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5529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6"/>
            <a:ext cx="5867400" cy="58102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noAutofit/>
          </a:bodyPr>
          <a:lstStyle/>
          <a:p>
            <a:pPr algn="ctr" defTabSz="914276" fontAlgn="base">
              <a:spcBef>
                <a:spcPct val="0"/>
              </a:spcBef>
              <a:spcAft>
                <a:spcPct val="0"/>
              </a:spcAft>
            </a:pPr>
            <a:endParaRPr lang="nl-NL" sz="1900" err="1">
              <a:solidFill>
                <a:srgbClr val="000000"/>
              </a:solidFill>
              <a:latin typeface="Gill Sans Nova Light" panose="020B0402020204020203" pitchFamily="34" charset="0"/>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Tree>
    <p:extLst>
      <p:ext uri="{BB962C8B-B14F-4D97-AF65-F5344CB8AC3E}">
        <p14:creationId xmlns:p14="http://schemas.microsoft.com/office/powerpoint/2010/main" val="3912496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5632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5" y="590548"/>
            <a:ext cx="6979431" cy="5760000"/>
          </a:xfrm>
          <a:prstGeom prst="rect">
            <a:avLst/>
          </a:prstGeom>
          <a:solidFill>
            <a:srgbClr val="FFFFFF">
              <a:lumMod val="95000"/>
            </a:srgbClr>
          </a:solidFill>
          <a:ln w="9525" cap="flat" cmpd="sng" algn="ctr">
            <a:noFill/>
            <a:prstDash val="solid"/>
          </a:ln>
          <a:effectLst/>
        </p:spPr>
        <p:txBody>
          <a:bodyPr lIns="121909" tIns="60954" rIns="121909" bIns="60954" rtlCol="0" anchor="ctr"/>
          <a:lstStyle/>
          <a:p>
            <a:pPr algn="ctr" defTabSz="914276">
              <a:defRPr/>
            </a:pPr>
            <a:endParaRPr lang="nl-NL" sz="1900" kern="0" err="1">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2338507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5734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B0604020202020204"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9" y="2652036"/>
            <a:ext cx="2556325"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lIns="121909" tIns="60954" rIns="121909" bIns="60954" rtlCol="0" anchor="ctr"/>
          <a:lstStyle/>
          <a:p>
            <a:pPr algn="ctr" defTabSz="914276">
              <a:defRPr/>
            </a:pPr>
            <a:endParaRPr lang="nl-NL" sz="1900" kern="0" err="1">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3745607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7" name="Afbeelding 6" descr="Afbeelding met plein&#10;&#10;Automatisch gegenereerde beschrijving">
            <a:extLst>
              <a:ext uri="{FF2B5EF4-FFF2-40B4-BE49-F238E27FC236}">
                <a16:creationId xmlns:a16="http://schemas.microsoft.com/office/drawing/2014/main" id="{AC4757C9-B3C8-834D-BC21-F002C218659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7245" y="3399021"/>
            <a:ext cx="2700411" cy="294182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205825" name="think-cell Slide" r:id="rId8" imgW="359" imgH="358" progId="TCLayout.ActiveDocument.1">
                  <p:embed/>
                </p:oleObj>
              </mc:Choice>
              <mc:Fallback>
                <p:oleObj name="think-cell Slide" r:id="rId8" imgW="359" imgH="358" progId="TCLayout.ActiveDocument.1">
                  <p:embed/>
                  <p:pic>
                    <p:nvPicPr>
                      <p:cNvPr id="2" name="Object 1" hidden="1"/>
                      <p:cNvPicPr/>
                      <p:nvPr/>
                    </p:nvPicPr>
                    <p:blipFill>
                      <a:blip r:embed="rId9"/>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89"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5"/>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7"/>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ocumenttype </a:t>
            </a:r>
          </a:p>
        </p:txBody>
      </p:sp>
      <p:sp>
        <p:nvSpPr>
          <p:cNvPr id="15" name="Title">
            <a:extLst>
              <a:ext uri="{FF2B5EF4-FFF2-40B4-BE49-F238E27FC236}">
                <a16:creationId xmlns:a16="http://schemas.microsoft.com/office/drawing/2014/main" id="{CBE545AD-8310-4304-9413-D42CEBAA7671}"/>
              </a:ext>
            </a:extLst>
          </p:cNvPr>
          <p:cNvSpPr>
            <a:spLocks noGrp="1"/>
          </p:cNvSpPr>
          <p:nvPr>
            <p:ph type="ctrTitle"/>
            <p:custDataLst>
              <p:tags r:id="rId4"/>
            </p:custDataLst>
          </p:nvPr>
        </p:nvSpPr>
        <p:spPr>
          <a:xfrm>
            <a:off x="4414048" y="2546003"/>
            <a:ext cx="7361972" cy="1354217"/>
          </a:xfrm>
        </p:spPr>
        <p:txBody>
          <a:bodyPr anchor="b"/>
          <a:lstStyle>
            <a:lvl1pPr>
              <a:defRPr/>
            </a:lvl1pPr>
          </a:lstStyle>
          <a:p>
            <a:r>
              <a:rPr lang="nl-NL" sz="4489" noProof="0"/>
              <a:t>Click </a:t>
            </a:r>
            <a:r>
              <a:rPr lang="nl-NL" sz="4489" noProof="0" err="1"/>
              <a:t>to</a:t>
            </a:r>
            <a:r>
              <a:rPr lang="nl-NL" sz="4489" noProof="0"/>
              <a:t> </a:t>
            </a:r>
            <a:r>
              <a:rPr lang="nl-NL" sz="4489" noProof="0" err="1"/>
              <a:t>edit</a:t>
            </a:r>
            <a:r>
              <a:rPr lang="nl-NL" sz="4489" noProof="0"/>
              <a:t> Master </a:t>
            </a:r>
            <a:r>
              <a:rPr lang="nl-NL" sz="4489" noProof="0" err="1"/>
              <a:t>title</a:t>
            </a:r>
            <a:r>
              <a:rPr lang="nl-NL" sz="4489" noProof="0"/>
              <a:t> </a:t>
            </a:r>
            <a:r>
              <a:rPr lang="nl-NL" sz="4489" noProof="0" err="1"/>
              <a:t>style</a:t>
            </a:r>
            <a:endParaRPr lang="nl-NL" sz="4489">
              <a:solidFill>
                <a:schemeClr val="tx2"/>
              </a:solidFill>
            </a:endParaRPr>
          </a:p>
        </p:txBody>
      </p:sp>
      <p:sp>
        <p:nvSpPr>
          <p:cNvPr id="9" name="Rectangle 3">
            <a:extLst>
              <a:ext uri="{FF2B5EF4-FFF2-40B4-BE49-F238E27FC236}">
                <a16:creationId xmlns:a16="http://schemas.microsoft.com/office/drawing/2014/main" id="{B268919A-F387-8A44-AA8B-C58AFD59CF22}"/>
              </a:ext>
            </a:extLst>
          </p:cNvPr>
          <p:cNvSpPr/>
          <p:nvPr userDrawn="1"/>
        </p:nvSpPr>
        <p:spPr>
          <a:xfrm>
            <a:off x="4216932" y="5777659"/>
            <a:ext cx="7434930" cy="832633"/>
          </a:xfrm>
          <a:prstGeom prst="rect">
            <a:avLst/>
          </a:prstGeom>
        </p:spPr>
        <p:txBody>
          <a:bodyPr wrap="square" lIns="0" tIns="0" rIns="0" bIns="0">
            <a:spAutoFit/>
          </a:bodyPr>
          <a:lstStyle/>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De informatie in dit document is uitsluitend bedoeld als algemene informatie. Aan de informatie kunnen geen rechten worden ontleend. Hoewel stichting Het Potentieel Pakken zorgvuldigheid in acht neemt bij het samenstellen en onderhouden van dit document, staat de stichting niet in voor de juistheid, volledigheid en/of actualiteit van de informatie en wijst iedere aansprakelijkheid ten aanzien hiervan uitdrukkelijk van de hand.</a:t>
            </a:r>
          </a:p>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 Copyright stichting Het Potentieel Pakken 2020. Alle rechten worden voorbehouden. Niets van de in dit document gepubliceerde gegevens (waaronder begrepen beeldmateriaal) mag zonder uitdrukkelijke voorafgaande schriftelijke toestemming van stichting Het Potentieel Pakken worden verveelvoudigd, bewerkt, en/of (verder) openbaar worden gemaakt, online noch offline.</a:t>
            </a:r>
            <a:endParaRPr kumimoji="0" lang="en-US" sz="918" b="0" i="1" u="none" strike="noStrike" kern="1200" cap="none" spc="0" normalizeH="0" baseline="0" noProof="0">
              <a:ln>
                <a:noFill/>
              </a:ln>
              <a:solidFill>
                <a:srgbClr val="000000"/>
              </a:solidFill>
              <a:effectLst/>
              <a:uLnTx/>
              <a:uFillTx/>
              <a:latin typeface="Arial" charset="0"/>
              <a:ea typeface="ＭＳ Ｐゴシック"/>
              <a:cs typeface="+mn-cs"/>
            </a:endParaRPr>
          </a:p>
        </p:txBody>
      </p:sp>
      <p:cxnSp>
        <p:nvCxnSpPr>
          <p:cNvPr id="13" name="Rechte verbindingslijn 12">
            <a:extLst>
              <a:ext uri="{FF2B5EF4-FFF2-40B4-BE49-F238E27FC236}">
                <a16:creationId xmlns:a16="http://schemas.microsoft.com/office/drawing/2014/main" id="{D0F6A81D-E2C1-D048-86AB-03CA40CA3CD5}"/>
              </a:ext>
            </a:extLst>
          </p:cNvPr>
          <p:cNvCxnSpPr/>
          <p:nvPr userDrawn="1"/>
        </p:nvCxnSpPr>
        <p:spPr>
          <a:xfrm>
            <a:off x="4272352" y="3971310"/>
            <a:ext cx="7617373"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7" name="Subtitle">
            <a:extLst>
              <a:ext uri="{FF2B5EF4-FFF2-40B4-BE49-F238E27FC236}">
                <a16:creationId xmlns:a16="http://schemas.microsoft.com/office/drawing/2014/main" id="{098FB0C6-0B43-3948-A0C9-60344E6152AF}"/>
              </a:ext>
            </a:extLst>
          </p:cNvPr>
          <p:cNvSpPr>
            <a:spLocks noGrp="1"/>
          </p:cNvSpPr>
          <p:nvPr>
            <p:ph type="subTitle" idx="4294967295"/>
            <p:custDataLst>
              <p:tags r:id="rId5"/>
            </p:custDataLst>
          </p:nvPr>
        </p:nvSpPr>
        <p:spPr>
          <a:xfrm>
            <a:off x="4414048" y="4062830"/>
            <a:ext cx="7361972" cy="500166"/>
          </a:xfrm>
        </p:spPr>
        <p:txBody>
          <a:bodyPr/>
          <a:lstStyle>
            <a:lvl1pPr>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2877429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5"/>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en-US" sz="2800" err="1">
              <a:solidFill>
                <a:srgbClr val="FFFFFF"/>
              </a:solidFill>
              <a:latin typeface="Gill Sans Nova Medium" panose="020B0502020204020203" pitchFamily="34"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32" fontAlgn="base"/>
            <a:r>
              <a:rPr sz="800">
                <a:solidFill>
                  <a:srgbClr val="000000"/>
                </a:solidFill>
                <a:latin typeface="Gill Sans Nova Light" panose="020B0402020204020203" pitchFamily="34" charset="0"/>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nl-NL" sz="1600" err="1">
              <a:solidFill>
                <a:srgbClr val="FFFFFF"/>
              </a:solidFill>
              <a:latin typeface="Gill Sans Nova Light" panose="020B040202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4"/>
            <a:ext cx="4408291" cy="775597"/>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8"/>
            <a:ext cx="325500" cy="143629"/>
          </a:xfrm>
          <a:prstGeom prst="rect">
            <a:avLst/>
          </a:prstGeom>
          <a:noFill/>
          <a:ln w="9525" algn="ctr">
            <a:noFill/>
            <a:miter lim="800000"/>
            <a:headEnd/>
            <a:tailEnd/>
          </a:ln>
          <a:effectLst/>
        </p:spPr>
        <p:txBody>
          <a:bodyPr wrap="square" lIns="0" tIns="0" rIns="0" bIns="0" anchor="b">
            <a:spAutoFit/>
          </a:bodyPr>
          <a:lstStyle/>
          <a:p>
            <a:pPr algn="r" defTabSz="610659">
              <a:defRPr/>
            </a:pPr>
            <a:fld id="{4ABDCABE-3F10-B64C-92F1-862014417034}" type="slidenum">
              <a:rPr lang="en-US" sz="900" smtClean="0">
                <a:solidFill>
                  <a:srgbClr val="000000"/>
                </a:solidFill>
                <a:latin typeface="Gill Sans Nova Medium" panose="020B0502020204020203" pitchFamily="34" charset="0"/>
                <a:cs typeface="Arial" panose="020B0604020202020204" pitchFamily="34" charset="0"/>
              </a:rPr>
              <a:pPr algn="r" defTabSz="610659">
                <a:defRPr/>
              </a:pPr>
              <a:t>‹nr.›</a:t>
            </a:fld>
            <a:endParaRPr lang="en-US" sz="900">
              <a:solidFill>
                <a:srgbClr val="000000"/>
              </a:solidFill>
              <a:latin typeface="Gill Sans Nova Medium" panose="020B0502020204020203" pitchFamily="34" charset="0"/>
              <a:cs typeface="Arial" panose="020B0604020202020204" pitchFamily="34" charset="0"/>
            </a:endParaRPr>
          </a:p>
        </p:txBody>
      </p:sp>
    </p:spTree>
    <p:extLst>
      <p:ext uri="{BB962C8B-B14F-4D97-AF65-F5344CB8AC3E}">
        <p14:creationId xmlns:p14="http://schemas.microsoft.com/office/powerpoint/2010/main" val="25550854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Title Only_MGI">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74647C-61D7-410B-B587-89EE74DFC0AC}"/>
              </a:ext>
            </a:extLst>
          </p:cNvPr>
          <p:cNvGraphicFramePr>
            <a:graphicFrameLocks noChangeAspect="1"/>
          </p:cNvGraphicFramePr>
          <p:nvPr>
            <p:custDataLst>
              <p:tags r:id="rId2"/>
            </p:custData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spid="_x0000_s59395" name="think-cell Slide" r:id="rId6" imgW="359" imgH="358" progId="TCLayout.ActiveDocument.1">
                  <p:embed/>
                </p:oleObj>
              </mc:Choice>
              <mc:Fallback>
                <p:oleObj name="think-cell Slide" r:id="rId6" imgW="359" imgH="358" progId="TCLayout.ActiveDocument.1">
                  <p:embed/>
                  <p:pic>
                    <p:nvPicPr>
                      <p:cNvPr id="10" name="Object 9" hidden="1">
                        <a:extLst>
                          <a:ext uri="{FF2B5EF4-FFF2-40B4-BE49-F238E27FC236}">
                            <a16:creationId xmlns:a16="http://schemas.microsoft.com/office/drawing/2014/main" id="{3474647C-61D7-410B-B587-89EE74DFC0AC}"/>
                          </a:ext>
                        </a:extLst>
                      </p:cNvPr>
                      <p:cNvPicPr/>
                      <p:nvPr/>
                    </p:nvPicPr>
                    <p:blipFill>
                      <a:blip r:embed="rId7"/>
                      <a:stretch>
                        <a:fillRect/>
                      </a:stretch>
                    </p:blipFill>
                    <p:spPr>
                      <a:xfrm>
                        <a:off x="2119" y="2120"/>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3AD9B00-4CDC-437A-B6FF-E85B53E9C45D}"/>
              </a:ext>
            </a:extLst>
          </p:cNvPr>
          <p:cNvSpPr/>
          <p:nvPr>
            <p:custDataLst>
              <p:tags r:id="rId3"/>
            </p:custDataLst>
          </p:nvPr>
        </p:nvSpPr>
        <p:spPr>
          <a:xfrm>
            <a:off x="1" y="1"/>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nl-NL" sz="2000" err="1">
              <a:solidFill>
                <a:srgbClr val="000000"/>
              </a:solidFill>
              <a:latin typeface="Gill Sans Nova Light" panose="020B0402020204020203" pitchFamily="34" charset="0"/>
              <a:sym typeface="Arial" panose="020B0604020202020204" pitchFamily="34" charset="0"/>
            </a:endParaRPr>
          </a:p>
        </p:txBody>
      </p:sp>
      <p:sp>
        <p:nvSpPr>
          <p:cNvPr id="6" name="Rectangle 5">
            <a:extLst>
              <a:ext uri="{FF2B5EF4-FFF2-40B4-BE49-F238E27FC236}">
                <a16:creationId xmlns:a16="http://schemas.microsoft.com/office/drawing/2014/main" id="{DED91FB0-DE6F-4845-97C2-F7690E69588B}"/>
              </a:ext>
            </a:extLst>
          </p:cNvPr>
          <p:cNvSpPr/>
          <p:nvPr/>
        </p:nvSpPr>
        <p:spPr>
          <a:xfrm>
            <a:off x="0" y="136277"/>
            <a:ext cx="12192000" cy="685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defTabSz="914332" fontAlgn="base">
              <a:spcBef>
                <a:spcPct val="0"/>
              </a:spcBef>
              <a:spcAft>
                <a:spcPct val="0"/>
              </a:spcAft>
            </a:pPr>
            <a:endParaRPr lang="nl-NL" sz="2300">
              <a:solidFill>
                <a:srgbClr val="000000"/>
              </a:solidFill>
              <a:latin typeface="Gill Sans Nova Light" panose="020B0402020204020203" pitchFamily="34" charset="0"/>
            </a:endParaRPr>
          </a:p>
        </p:txBody>
      </p:sp>
      <p:sp>
        <p:nvSpPr>
          <p:cNvPr id="2" name="2. Slide Title"/>
          <p:cNvSpPr>
            <a:spLocks noGrp="1"/>
          </p:cNvSpPr>
          <p:nvPr>
            <p:ph type="title"/>
          </p:nvPr>
        </p:nvSpPr>
        <p:spPr bwMode="auto"/>
        <p:txBody>
          <a:bodyPr/>
          <a:lstStyle/>
          <a:p>
            <a:r>
              <a:rPr lang="nl-NL"/>
              <a:t>Click to edit Master title style</a:t>
            </a:r>
          </a:p>
        </p:txBody>
      </p:sp>
      <p:sp>
        <p:nvSpPr>
          <p:cNvPr id="8" name="Slide Number"/>
          <p:cNvSpPr txBox="1">
            <a:spLocks/>
          </p:cNvSpPr>
          <p:nvPr/>
        </p:nvSpPr>
        <p:spPr bwMode="auto">
          <a:xfrm>
            <a:off x="11652057" y="6641725"/>
            <a:ext cx="177935"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332" fontAlgn="base">
              <a:spcBef>
                <a:spcPct val="0"/>
              </a:spcBef>
              <a:spcAft>
                <a:spcPct val="0"/>
              </a:spcAft>
            </a:pPr>
            <a:fld id="{42C328C1-A84F-4A39-A664-DBA00541A8C6}" type="slidenum">
              <a:rPr lang="nl-NL" sz="800" smtClean="0">
                <a:solidFill>
                  <a:srgbClr val="808080"/>
                </a:solidFill>
                <a:latin typeface="Gill Sans Nova Light" panose="020B0402020204020203" pitchFamily="34" charset="0"/>
              </a:rPr>
              <a:pPr defTabSz="914332" fontAlgn="base">
                <a:spcBef>
                  <a:spcPct val="0"/>
                </a:spcBef>
                <a:spcAft>
                  <a:spcPct val="0"/>
                </a:spcAft>
              </a:pPr>
              <a:t>‹nr.›</a:t>
            </a:fld>
            <a:endParaRPr lang="nl-NL" sz="800">
              <a:solidFill>
                <a:srgbClr val="808080"/>
              </a:solidFill>
              <a:latin typeface="Gill Sans Nova Light" panose="020B0402020204020203" pitchFamily="34" charset="0"/>
            </a:endParaRPr>
          </a:p>
        </p:txBody>
      </p:sp>
      <p:sp>
        <p:nvSpPr>
          <p:cNvPr id="9" name="SlideLogoText"/>
          <p:cNvSpPr>
            <a:spLocks noChangeArrowheads="1"/>
          </p:cNvSpPr>
          <p:nvPr>
            <p:custDataLst>
              <p:tags r:id="rId4"/>
            </p:custDataLst>
          </p:nvPr>
        </p:nvSpPr>
        <p:spPr bwMode="auto">
          <a:xfrm>
            <a:off x="10548517" y="6641725"/>
            <a:ext cx="96661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349" fontAlgn="base">
              <a:spcBef>
                <a:spcPct val="0"/>
              </a:spcBef>
              <a:spcAft>
                <a:spcPct val="0"/>
              </a:spcAft>
            </a:pPr>
            <a:r>
              <a:rPr lang="nl-NL" sz="800">
                <a:solidFill>
                  <a:srgbClr val="808080"/>
                </a:solidFill>
                <a:latin typeface="Gill Sans Nova Light" panose="020B0402020204020203" pitchFamily="34" charset="0"/>
              </a:rPr>
              <a:t>McKinsey &amp; Company</a:t>
            </a:r>
          </a:p>
        </p:txBody>
      </p:sp>
      <p:sp>
        <p:nvSpPr>
          <p:cNvPr id="5" name="doc id" hidden="1"/>
          <p:cNvSpPr>
            <a:spLocks noChangeArrowheads="1"/>
          </p:cNvSpPr>
          <p:nvPr/>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349" fontAlgn="base">
              <a:spcBef>
                <a:spcPct val="0"/>
              </a:spcBef>
              <a:spcAft>
                <a:spcPct val="0"/>
              </a:spcAft>
            </a:pPr>
            <a:endParaRPr lang="nl-NL" sz="800">
              <a:solidFill>
                <a:srgbClr val="808080"/>
              </a:solidFill>
              <a:latin typeface="Gill Sans Nova Light" panose="020B0402020204020203" pitchFamily="34" charset="0"/>
            </a:endParaRPr>
          </a:p>
        </p:txBody>
      </p:sp>
      <p:sp>
        <p:nvSpPr>
          <p:cNvPr id="3" name="TextBox 2"/>
          <p:cNvSpPr txBox="1"/>
          <p:nvPr/>
        </p:nvSpPr>
        <p:spPr>
          <a:xfrm>
            <a:off x="11626139" y="6566444"/>
            <a:ext cx="284012" cy="155496"/>
          </a:xfrm>
          <a:prstGeom prst="rect">
            <a:avLst/>
          </a:prstGeom>
          <a:noFill/>
        </p:spPr>
        <p:txBody>
          <a:bodyPr vert="horz" wrap="none" lIns="0" tIns="0" rIns="0" bIns="0" rtlCol="0">
            <a:noAutofit/>
          </a:bodyPr>
          <a:lstStyle/>
          <a:p>
            <a:pPr defTabSz="914332" fontAlgn="base">
              <a:spcBef>
                <a:spcPct val="0"/>
              </a:spcBef>
              <a:spcAft>
                <a:spcPct val="0"/>
              </a:spcAft>
            </a:pPr>
            <a:endParaRPr lang="nl-NL" sz="1100">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2509492888"/>
      </p:ext>
    </p:extLst>
  </p:cSld>
  <p:clrMapOvr>
    <a:masterClrMapping/>
  </p:clrMapOvr>
  <p:extLst>
    <p:ext uri="{DCECCB84-F9BA-43D5-87BE-67443E8EF086}">
      <p15:sldGuideLst xmlns:p15="http://schemas.microsoft.com/office/powerpoint/2012/main">
        <p15:guide id="1" pos="4276">
          <p15:clr>
            <a:srgbClr val="F26B43"/>
          </p15:clr>
        </p15:guide>
        <p15:guide id="2" pos="58">
          <p15:clr>
            <a:srgbClr val="F26B43"/>
          </p15:clr>
        </p15:guide>
        <p15:guide id="3" orient="horz" pos="178">
          <p15:clr>
            <a:srgbClr val="F26B43"/>
          </p15:clr>
        </p15:guide>
        <p15:guide id="4" orient="horz" pos="2408">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15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7711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6246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2800">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6"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13513029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6349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7"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Tree>
    <p:extLst>
      <p:ext uri="{BB962C8B-B14F-4D97-AF65-F5344CB8AC3E}">
        <p14:creationId xmlns:p14="http://schemas.microsoft.com/office/powerpoint/2010/main" val="31249899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6451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ndada" panose="02000000000000000000" pitchFamily="50" charset="-18"/>
              <a:ea typeface="ＭＳ Ｐゴシック" panose="020B0600070205080204" pitchFamily="34" charset="-128"/>
              <a:cs typeface="+mj-cs"/>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en-US" noProof="0"/>
              <a:t>Click to edit Master title 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7"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en-US" noProof="0"/>
              <a:t>Click to edit Master subtitle 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211475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6656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13314" name="Title"/>
          <p:cNvSpPr>
            <a:spLocks noGrp="1" noChangeArrowheads="1"/>
          </p:cNvSpPr>
          <p:nvPr>
            <p:ph type="ctrTitle"/>
          </p:nvPr>
        </p:nvSpPr>
        <p:spPr bwMode="gray">
          <a:xfrm>
            <a:off x="5238750" y="2070326"/>
            <a:ext cx="5597144" cy="1354217"/>
          </a:xfrm>
          <a:prstGeom prst="rect">
            <a:avLst/>
          </a:prstGeom>
        </p:spPr>
        <p:txBody>
          <a:bodyPr wrap="square" anchor="b">
            <a:noAutofit/>
          </a:bodyPr>
          <a:lstStyle>
            <a:lvl1pPr>
              <a:buClr>
                <a:schemeClr val="tx2"/>
              </a:buClr>
              <a:defRPr sz="4400" b="0" baseline="0">
                <a:solidFill>
                  <a:schemeClr val="tx1"/>
                </a:solidFill>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Subtitle"/>
          <p:cNvSpPr>
            <a:spLocks noGrp="1" noChangeArrowheads="1"/>
          </p:cNvSpPr>
          <p:nvPr>
            <p:ph type="subTitle" idx="1"/>
          </p:nvPr>
        </p:nvSpPr>
        <p:spPr bwMode="gray">
          <a:xfrm>
            <a:off x="5238750" y="3545588"/>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5"/>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7"/>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ocumenttype </a:t>
            </a:r>
          </a:p>
        </p:txBody>
      </p:sp>
      <p:pic>
        <p:nvPicPr>
          <p:cNvPr id="12" name="Picture 11">
            <a:extLst>
              <a:ext uri="{FF2B5EF4-FFF2-40B4-BE49-F238E27FC236}">
                <a16:creationId xmlns:a16="http://schemas.microsoft.com/office/drawing/2014/main" id="{A177682A-83DA-4C9E-BAF2-06640EA7DFCC}"/>
              </a:ext>
            </a:extLst>
          </p:cNvPr>
          <p:cNvPicPr>
            <a:picLocks noChangeAspect="1"/>
          </p:cNvPicPr>
          <p:nvPr userDrawn="1"/>
        </p:nvPicPr>
        <p:blipFill>
          <a:blip r:embed="rId7"/>
          <a:stretch>
            <a:fillRect/>
          </a:stretch>
        </p:blipFill>
        <p:spPr bwMode="gray">
          <a:xfrm>
            <a:off x="-331234" y="2702022"/>
            <a:ext cx="4377718" cy="4377718"/>
          </a:xfrm>
          <a:prstGeom prst="rect">
            <a:avLst/>
          </a:prstGeom>
        </p:spPr>
      </p:pic>
    </p:spTree>
    <p:extLst>
      <p:ext uri="{BB962C8B-B14F-4D97-AF65-F5344CB8AC3E}">
        <p14:creationId xmlns:p14="http://schemas.microsoft.com/office/powerpoint/2010/main" val="24588026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6758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13314" name="Title"/>
          <p:cNvSpPr>
            <a:spLocks noGrp="1" noChangeArrowheads="1"/>
          </p:cNvSpPr>
          <p:nvPr>
            <p:ph type="ctrTitle"/>
          </p:nvPr>
        </p:nvSpPr>
        <p:spPr bwMode="gray">
          <a:xfrm>
            <a:off x="5238750" y="2070326"/>
            <a:ext cx="5597144" cy="1354217"/>
          </a:xfrm>
          <a:prstGeom prst="rect">
            <a:avLst/>
          </a:prstGeom>
        </p:spPr>
        <p:txBody>
          <a:bodyPr wrap="square" anchor="b">
            <a:noAutofit/>
          </a:bodyPr>
          <a:lstStyle>
            <a:lvl1pPr>
              <a:buClr>
                <a:schemeClr val="tx2"/>
              </a:buClr>
              <a:defRPr sz="4400" b="0" baseline="0">
                <a:solidFill>
                  <a:schemeClr val="tx1"/>
                </a:solidFill>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Subtitle"/>
          <p:cNvSpPr>
            <a:spLocks noGrp="1" noChangeArrowheads="1"/>
          </p:cNvSpPr>
          <p:nvPr>
            <p:ph type="subTitle" idx="1"/>
          </p:nvPr>
        </p:nvSpPr>
        <p:spPr bwMode="gray">
          <a:xfrm>
            <a:off x="5238750" y="3545588"/>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5"/>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7"/>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ocumenttype </a:t>
            </a:r>
          </a:p>
        </p:txBody>
      </p:sp>
      <p:pic>
        <p:nvPicPr>
          <p:cNvPr id="12" name="Picture 11">
            <a:extLst>
              <a:ext uri="{FF2B5EF4-FFF2-40B4-BE49-F238E27FC236}">
                <a16:creationId xmlns:a16="http://schemas.microsoft.com/office/drawing/2014/main" id="{DE9B22C2-E0FB-4B0B-8059-3E91C6E663B7}"/>
              </a:ext>
            </a:extLst>
          </p:cNvPr>
          <p:cNvPicPr>
            <a:picLocks noChangeAspect="1"/>
          </p:cNvPicPr>
          <p:nvPr userDrawn="1"/>
        </p:nvPicPr>
        <p:blipFill rotWithShape="1">
          <a:blip r:embed="rId7"/>
          <a:srcRect l="14304" t="21913" r="25791" b="20000"/>
          <a:stretch/>
        </p:blipFill>
        <p:spPr bwMode="gray">
          <a:xfrm>
            <a:off x="273434" y="3638893"/>
            <a:ext cx="2672583" cy="2590656"/>
          </a:xfrm>
          <a:prstGeom prst="rect">
            <a:avLst/>
          </a:prstGeom>
        </p:spPr>
      </p:pic>
    </p:spTree>
    <p:extLst>
      <p:ext uri="{BB962C8B-B14F-4D97-AF65-F5344CB8AC3E}">
        <p14:creationId xmlns:p14="http://schemas.microsoft.com/office/powerpoint/2010/main" val="36842779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6861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57"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46"/>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sz="2857">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Tree>
    <p:extLst>
      <p:ext uri="{BB962C8B-B14F-4D97-AF65-F5344CB8AC3E}">
        <p14:creationId xmlns:p14="http://schemas.microsoft.com/office/powerpoint/2010/main" val="31963102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20684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Tree>
    <p:extLst>
      <p:ext uri="{BB962C8B-B14F-4D97-AF65-F5344CB8AC3E}">
        <p14:creationId xmlns:p14="http://schemas.microsoft.com/office/powerpoint/2010/main" val="20833128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6963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5"/>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800">
                <a:latin typeface="+mn-lt"/>
                <a:ea typeface="+mn-ea"/>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7"/>
            <a:ext cx="5867400" cy="58102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lvl="0" algn="ctr" defTabSz="914396" eaLnBrk="1" latinLnBrk="0" hangingPunct="1"/>
            <a:endParaRPr lang="nl-NL" sz="1800">
              <a:solidFill>
                <a:schemeClr val="tx1"/>
              </a:solidFill>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38"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50" indent="-9525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37"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98" indent="-304798" defTabSz="895347">
              <a:tabLst/>
            </a:pPr>
            <a:r>
              <a:rPr lang="nl-NL" sz="900" baseline="0" noProof="0">
                <a:latin typeface="+mn-lt"/>
                <a:ea typeface="+mn-ea"/>
                <a:sym typeface="+mn-lt"/>
              </a:rPr>
              <a:t>Bron: Bron </a:t>
            </a:r>
          </a:p>
        </p:txBody>
      </p:sp>
    </p:spTree>
    <p:extLst>
      <p:ext uri="{BB962C8B-B14F-4D97-AF65-F5344CB8AC3E}">
        <p14:creationId xmlns:p14="http://schemas.microsoft.com/office/powerpoint/2010/main" val="17692099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7065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5"/>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800">
                <a:latin typeface="+mn-lt"/>
                <a:ea typeface="+mn-ea"/>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38"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50" indent="-9525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37"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98" indent="-304798" defTabSz="895347">
              <a:tabLst/>
            </a:pPr>
            <a:r>
              <a:rPr lang="nl-NL" sz="900" baseline="0" noProof="0">
                <a:latin typeface="+mn-lt"/>
                <a:ea typeface="+mn-ea"/>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0" y="590548"/>
            <a:ext cx="6979430" cy="5760000"/>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396"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73363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7168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255632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5"/>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800">
                <a:latin typeface="+mn-lt"/>
                <a:ea typeface="+mn-ea"/>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38"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50" indent="-9525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37"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98" indent="-304798" defTabSz="895347">
              <a:tabLst/>
            </a:pPr>
            <a:r>
              <a:rPr lang="nl-NL" sz="900" baseline="0" noProof="0">
                <a:latin typeface="+mn-lt"/>
                <a:ea typeface="+mn-ea"/>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396"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487091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nl-NL" sz="2800" b="0" i="0" baseline="0">
              <a:solidFill>
                <a:schemeClr val="bg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0"/>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800"/>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35" y="523375"/>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algn="ctr">
              <a:spcBef>
                <a:spcPts val="300"/>
              </a:spcBef>
              <a:spcAft>
                <a:spcPts val="300"/>
              </a:spcAft>
            </a:pPr>
            <a:endParaRPr lang="nl-NL" sz="1600">
              <a:solidFill>
                <a:schemeClr val="bg1"/>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6" y="1706563"/>
            <a:ext cx="4408290" cy="387798"/>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nl-NL" sz="900" smtClean="0">
                <a:solidFill>
                  <a:schemeClr val="tx1"/>
                </a:solidFill>
                <a:latin typeface="Andada" panose="02000000000000000000" pitchFamily="50" charset="0"/>
                <a:ea typeface="+mn-ea"/>
                <a:cs typeface="Arial" panose="020B0604020202020204" pitchFamily="34" charset="0"/>
              </a:rPr>
              <a:pPr algn="r" defTabSz="610741" fontAlgn="auto">
                <a:spcBef>
                  <a:spcPts val="0"/>
                </a:spcBef>
                <a:spcAft>
                  <a:spcPts val="0"/>
                </a:spcAft>
                <a:defRPr/>
              </a:pPr>
              <a:t>‹nr.›</a:t>
            </a:fld>
            <a:endParaRPr lang="nl-NL" sz="900">
              <a:solidFill>
                <a:schemeClr val="tx1"/>
              </a:solidFill>
              <a:latin typeface="Andada" panose="02000000000000000000" pitchFamily="50" charset="0"/>
              <a:ea typeface="+mn-ea"/>
              <a:cs typeface="Arial" panose="020B0604020202020204" pitchFamily="34" charset="0"/>
            </a:endParaRPr>
          </a:p>
        </p:txBody>
      </p:sp>
    </p:spTree>
    <p:extLst>
      <p:ext uri="{BB962C8B-B14F-4D97-AF65-F5344CB8AC3E}">
        <p14:creationId xmlns:p14="http://schemas.microsoft.com/office/powerpoint/2010/main" val="16778587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C5515A-B16D-49DA-87E0-F4655E15C650}"/>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7373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6C5515A-B16D-49DA-87E0-F4655E15C650}"/>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3B7D5DD-9F10-45D4-9154-5034CE7E90BC}"/>
              </a:ext>
            </a:extLst>
          </p:cNvPr>
          <p:cNvSpPr/>
          <p:nvPr userDrawn="1">
            <p:custDataLst>
              <p:tags r:id="rId3"/>
            </p:custDataLst>
          </p:nvPr>
        </p:nvSpPr>
        <p:spPr>
          <a:xfrm>
            <a:off x="0" y="0"/>
            <a:ext cx="161977" cy="16197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Tree>
    <p:extLst>
      <p:ext uri="{BB962C8B-B14F-4D97-AF65-F5344CB8AC3E}">
        <p14:creationId xmlns:p14="http://schemas.microsoft.com/office/powerpoint/2010/main" val="3339156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1C6E-D43D-43BA-9B36-69C65EFFF2A0}"/>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7475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761C6E-D43D-43BA-9B36-69C65EFFF2A0}"/>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42ECAD-49E9-46BA-83A1-F970AC83D1F9}"/>
              </a:ext>
            </a:extLst>
          </p:cNvPr>
          <p:cNvSpPr/>
          <p:nvPr userDrawn="1">
            <p:custDataLst>
              <p:tags r:id="rId3"/>
            </p:custDataLst>
          </p:nvPr>
        </p:nvSpPr>
        <p:spPr>
          <a:xfrm>
            <a:off x="0" y="0"/>
            <a:ext cx="161977" cy="16197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26488169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4"/>
          <a:ext cx="2159" cy="1619"/>
        </p:xfrm>
        <a:graphic>
          <a:graphicData uri="http://schemas.openxmlformats.org/presentationml/2006/ole">
            <mc:AlternateContent xmlns:mc="http://schemas.openxmlformats.org/markup-compatibility/2006">
              <mc:Choice xmlns:v="urn:schemas-microsoft-com:vml" Requires="v">
                <p:oleObj spid="_x0000_s7577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47"/>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en-US" noProof="0"/>
              <a:t>Click to</a:t>
            </a:r>
            <a:r>
              <a:rPr lang="pl-PL" noProof="0"/>
              <a:t> </a:t>
            </a:r>
            <a:r>
              <a:rPr lang="en-US" noProof="0"/>
              <a:t>edit Master title style</a:t>
            </a:r>
            <a:endParaRPr lang="nl-NL" noProof="0"/>
          </a:p>
        </p:txBody>
      </p:sp>
    </p:spTree>
    <p:extLst>
      <p:ext uri="{BB962C8B-B14F-4D97-AF65-F5344CB8AC3E}">
        <p14:creationId xmlns:p14="http://schemas.microsoft.com/office/powerpoint/2010/main" val="1418375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7680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ndada" panose="02000000000000000000" pitchFamily="50" charset="-18"/>
              <a:ea typeface="ＭＳ Ｐゴシック" panose="020B0600070205080204" pitchFamily="34" charset="-128"/>
              <a:cs typeface="+mj-cs"/>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46"/>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en-US" noProof="0"/>
              <a:t>Click to edit Master title 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7" y="994229"/>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en-US" noProof="0"/>
              <a:t>Click to edit Master subtitle 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875747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7782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755" b="0" i="0" baseline="0">
              <a:solidFill>
                <a:schemeClr val="tx1"/>
              </a:solidFill>
              <a:latin typeface="Andada" panose="02000000000000000000" pitchFamily="50" charset="-18"/>
              <a:ea typeface="ＭＳ Ｐゴシック" panose="020B0600070205080204" pitchFamily="34" charset="-128"/>
              <a:cs typeface="+mj-cs"/>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46"/>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en-US" noProof="0"/>
              <a:t>Click to edit Master title 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7" y="994229"/>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32" noProof="0" dirty="0">
                <a:latin typeface="+mn-lt"/>
                <a:ea typeface="+mn-ea"/>
                <a:sym typeface="+mn-lt"/>
              </a:defRPr>
            </a:lvl1pPr>
          </a:lstStyle>
          <a:p>
            <a:pPr lvl="0"/>
            <a:r>
              <a:rPr lang="en-US" noProof="0"/>
              <a:t>Click to edit Master subtitle 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2989679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7987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4400" err="1">
              <a:solidFill>
                <a:srgbClr val="000000"/>
              </a:solidFill>
              <a:latin typeface="Gill Sans Nova Medium" panose="020B0502020204020203" pitchFamily="34" charset="0"/>
              <a:sym typeface="Andada" panose="02000000000000000000" pitchFamily="50" charset="-18"/>
            </a:endParaRPr>
          </a:p>
        </p:txBody>
      </p:sp>
      <p:sp>
        <p:nvSpPr>
          <p:cNvPr id="13314" name="Title"/>
          <p:cNvSpPr>
            <a:spLocks noGrp="1" noChangeArrowheads="1"/>
          </p:cNvSpPr>
          <p:nvPr>
            <p:ph type="ctrTitle"/>
          </p:nvPr>
        </p:nvSpPr>
        <p:spPr bwMode="gray">
          <a:xfrm>
            <a:off x="5238751" y="2070330"/>
            <a:ext cx="5597144" cy="1354217"/>
          </a:xfrm>
          <a:prstGeom prst="rect">
            <a:avLst/>
          </a:prstGeom>
        </p:spPr>
        <p:txBody>
          <a:bodyPr wrap="square" anchor="b">
            <a:noAutofit/>
          </a:bodyPr>
          <a:lstStyle>
            <a:lvl1pPr>
              <a:buClr>
                <a:schemeClr val="tx2"/>
              </a:buClr>
              <a:defRPr sz="4400" b="0" i="0" baseline="0">
                <a:solidFill>
                  <a:schemeClr val="tx1"/>
                </a:solidFill>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13315" name="Subtitle"/>
          <p:cNvSpPr>
            <a:spLocks noGrp="1" noChangeArrowheads="1"/>
          </p:cNvSpPr>
          <p:nvPr>
            <p:ph type="subTitle" idx="1"/>
          </p:nvPr>
        </p:nvSpPr>
        <p:spPr bwMode="gray">
          <a:xfrm>
            <a:off x="5238751" y="3545591"/>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ocumenttype </a:t>
            </a:r>
          </a:p>
        </p:txBody>
      </p:sp>
      <p:pic>
        <p:nvPicPr>
          <p:cNvPr id="12" name="Picture 11">
            <a:extLst>
              <a:ext uri="{FF2B5EF4-FFF2-40B4-BE49-F238E27FC236}">
                <a16:creationId xmlns:a16="http://schemas.microsoft.com/office/drawing/2014/main" id="{A177682A-83DA-4C9E-BAF2-06640EA7DFCC}"/>
              </a:ext>
            </a:extLst>
          </p:cNvPr>
          <p:cNvPicPr>
            <a:picLocks noChangeAspect="1"/>
          </p:cNvPicPr>
          <p:nvPr userDrawn="1"/>
        </p:nvPicPr>
        <p:blipFill>
          <a:blip r:embed="rId7"/>
          <a:stretch>
            <a:fillRect/>
          </a:stretch>
        </p:blipFill>
        <p:spPr bwMode="gray">
          <a:xfrm>
            <a:off x="-331232" y="2702026"/>
            <a:ext cx="4377719" cy="4377719"/>
          </a:xfrm>
          <a:prstGeom prst="rect">
            <a:avLst/>
          </a:prstGeom>
        </p:spPr>
      </p:pic>
    </p:spTree>
    <p:extLst>
      <p:ext uri="{BB962C8B-B14F-4D97-AF65-F5344CB8AC3E}">
        <p14:creationId xmlns:p14="http://schemas.microsoft.com/office/powerpoint/2010/main" val="2712547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20787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42"/>
            <a:ext cx="3465576" cy="86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51"/>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900">
                <a:latin typeface="+mn-lt"/>
                <a:ea typeface="+mn-ea"/>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6"/>
            <a:ext cx="5867400" cy="58102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noAutofit/>
          </a:bodyPr>
          <a:lstStyle/>
          <a:p>
            <a:pPr marL="0" lvl="0" algn="ctr" defTabSz="914282" eaLnBrk="1" latinLnBrk="0" hangingPunct="1"/>
            <a:endParaRPr lang="nl-NL" sz="1900">
              <a:solidFill>
                <a:schemeClr val="tx1"/>
              </a:solidFill>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Tree>
    <p:extLst>
      <p:ext uri="{BB962C8B-B14F-4D97-AF65-F5344CB8AC3E}">
        <p14:creationId xmlns:p14="http://schemas.microsoft.com/office/powerpoint/2010/main" val="17372123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8089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4400" err="1">
              <a:solidFill>
                <a:srgbClr val="000000"/>
              </a:solidFill>
              <a:latin typeface="Gill Sans Nova Medium" panose="020B0502020204020203" pitchFamily="34" charset="0"/>
              <a:sym typeface="Andada" panose="02000000000000000000" pitchFamily="50" charset="-18"/>
            </a:endParaRPr>
          </a:p>
        </p:txBody>
      </p:sp>
      <p:sp>
        <p:nvSpPr>
          <p:cNvPr id="13314" name="Title"/>
          <p:cNvSpPr>
            <a:spLocks noGrp="1" noChangeArrowheads="1"/>
          </p:cNvSpPr>
          <p:nvPr>
            <p:ph type="ctrTitle"/>
          </p:nvPr>
        </p:nvSpPr>
        <p:spPr bwMode="gray">
          <a:xfrm>
            <a:off x="5238751" y="2070330"/>
            <a:ext cx="5597144" cy="1354217"/>
          </a:xfrm>
          <a:prstGeom prst="rect">
            <a:avLst/>
          </a:prstGeom>
        </p:spPr>
        <p:txBody>
          <a:bodyPr wrap="square" anchor="b">
            <a:noAutofit/>
          </a:bodyPr>
          <a:lstStyle>
            <a:lvl1pPr>
              <a:buClr>
                <a:schemeClr val="tx2"/>
              </a:buClr>
              <a:defRPr sz="4400" b="0" i="0" baseline="0">
                <a:solidFill>
                  <a:schemeClr val="tx1"/>
                </a:solidFill>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13315" name="Subtitle"/>
          <p:cNvSpPr>
            <a:spLocks noGrp="1" noChangeArrowheads="1"/>
          </p:cNvSpPr>
          <p:nvPr>
            <p:ph type="subTitle" idx="1"/>
          </p:nvPr>
        </p:nvSpPr>
        <p:spPr bwMode="gray">
          <a:xfrm>
            <a:off x="5238751" y="3545591"/>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ocumenttype </a:t>
            </a:r>
          </a:p>
        </p:txBody>
      </p:sp>
      <p:pic>
        <p:nvPicPr>
          <p:cNvPr id="12" name="Picture 11">
            <a:extLst>
              <a:ext uri="{FF2B5EF4-FFF2-40B4-BE49-F238E27FC236}">
                <a16:creationId xmlns:a16="http://schemas.microsoft.com/office/drawing/2014/main" id="{DE9B22C2-E0FB-4B0B-8059-3E91C6E663B7}"/>
              </a:ext>
            </a:extLst>
          </p:cNvPr>
          <p:cNvPicPr>
            <a:picLocks noChangeAspect="1"/>
          </p:cNvPicPr>
          <p:nvPr userDrawn="1"/>
        </p:nvPicPr>
        <p:blipFill rotWithShape="1">
          <a:blip r:embed="rId7"/>
          <a:srcRect l="14304" t="21913" r="25791" b="20000"/>
          <a:stretch/>
        </p:blipFill>
        <p:spPr bwMode="gray">
          <a:xfrm>
            <a:off x="273439" y="3638892"/>
            <a:ext cx="2672583" cy="2590656"/>
          </a:xfrm>
          <a:prstGeom prst="rect">
            <a:avLst/>
          </a:prstGeom>
        </p:spPr>
      </p:pic>
    </p:spTree>
    <p:extLst>
      <p:ext uri="{BB962C8B-B14F-4D97-AF65-F5344CB8AC3E}">
        <p14:creationId xmlns:p14="http://schemas.microsoft.com/office/powerpoint/2010/main" val="40700504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8192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a:t>
            </a:r>
            <a:r>
              <a:rPr lang="pl-PL" noProof="0"/>
              <a:t> </a:t>
            </a:r>
            <a:r>
              <a:rPr lang="en-US" noProof="0"/>
              <a:t>edit Master title style</a:t>
            </a:r>
            <a:endParaRPr lang="nl-NL" noProof="0"/>
          </a:p>
        </p:txBody>
      </p:sp>
    </p:spTree>
    <p:extLst>
      <p:ext uri="{BB962C8B-B14F-4D97-AF65-F5344CB8AC3E}">
        <p14:creationId xmlns:p14="http://schemas.microsoft.com/office/powerpoint/2010/main" val="26017627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8294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6"/>
            <a:ext cx="5867400" cy="58102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noAutofit/>
          </a:bodyPr>
          <a:lstStyle/>
          <a:p>
            <a:pPr algn="ctr" defTabSz="914276" fontAlgn="base">
              <a:spcBef>
                <a:spcPct val="0"/>
              </a:spcBef>
              <a:spcAft>
                <a:spcPct val="0"/>
              </a:spcAft>
            </a:pPr>
            <a:endParaRPr lang="nl-NL" sz="1900" err="1">
              <a:solidFill>
                <a:srgbClr val="000000"/>
              </a:solidFill>
              <a:latin typeface="Gill Sans Nova Light" panose="020B0402020204020203" pitchFamily="34" charset="0"/>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Tree>
    <p:extLst>
      <p:ext uri="{BB962C8B-B14F-4D97-AF65-F5344CB8AC3E}">
        <p14:creationId xmlns:p14="http://schemas.microsoft.com/office/powerpoint/2010/main" val="24433243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8397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5" y="590548"/>
            <a:ext cx="6979431" cy="5760000"/>
          </a:xfrm>
          <a:prstGeom prst="rect">
            <a:avLst/>
          </a:prstGeom>
          <a:solidFill>
            <a:srgbClr val="FFFFFF">
              <a:lumMod val="95000"/>
            </a:srgbClr>
          </a:solidFill>
          <a:ln w="9525" cap="flat" cmpd="sng" algn="ctr">
            <a:noFill/>
            <a:prstDash val="solid"/>
          </a:ln>
          <a:effectLst/>
        </p:spPr>
        <p:txBody>
          <a:bodyPr lIns="121909" tIns="60954" rIns="121909" bIns="60954" rtlCol="0" anchor="ctr"/>
          <a:lstStyle/>
          <a:p>
            <a:pPr algn="ctr" defTabSz="914276">
              <a:defRPr/>
            </a:pPr>
            <a:endParaRPr lang="nl-NL" sz="1900" kern="0" err="1">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22721048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8499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B0604020202020204"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9" y="2652036"/>
            <a:ext cx="2556325"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lIns="121909" tIns="60954" rIns="121909" bIns="60954" rtlCol="0" anchor="ctr"/>
          <a:lstStyle/>
          <a:p>
            <a:pPr algn="ctr" defTabSz="914276">
              <a:defRPr/>
            </a:pPr>
            <a:endParaRPr lang="nl-NL" sz="1900" kern="0" err="1">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10130417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5"/>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en-US" sz="2800" err="1">
              <a:solidFill>
                <a:srgbClr val="FFFFFF"/>
              </a:solidFill>
              <a:latin typeface="Gill Sans Nova Medium" panose="020B0502020204020203" pitchFamily="34"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32" fontAlgn="base"/>
            <a:r>
              <a:rPr sz="800">
                <a:solidFill>
                  <a:srgbClr val="000000"/>
                </a:solidFill>
                <a:latin typeface="Gill Sans Nova Light" panose="020B0402020204020203" pitchFamily="34" charset="0"/>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nl-NL" sz="1600" err="1">
              <a:solidFill>
                <a:srgbClr val="FFFFFF"/>
              </a:solidFill>
              <a:latin typeface="Gill Sans Nova Light" panose="020B040202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4"/>
            <a:ext cx="4408291" cy="775597"/>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8"/>
            <a:ext cx="325500" cy="143629"/>
          </a:xfrm>
          <a:prstGeom prst="rect">
            <a:avLst/>
          </a:prstGeom>
          <a:noFill/>
          <a:ln w="9525" algn="ctr">
            <a:noFill/>
            <a:miter lim="800000"/>
            <a:headEnd/>
            <a:tailEnd/>
          </a:ln>
          <a:effectLst/>
        </p:spPr>
        <p:txBody>
          <a:bodyPr wrap="square" lIns="0" tIns="0" rIns="0" bIns="0" anchor="b">
            <a:spAutoFit/>
          </a:bodyPr>
          <a:lstStyle/>
          <a:p>
            <a:pPr algn="r" defTabSz="610659">
              <a:defRPr/>
            </a:pPr>
            <a:fld id="{4ABDCABE-3F10-B64C-92F1-862014417034}" type="slidenum">
              <a:rPr lang="en-US" sz="900" smtClean="0">
                <a:solidFill>
                  <a:srgbClr val="000000"/>
                </a:solidFill>
                <a:latin typeface="Gill Sans Nova Medium" panose="020B0502020204020203" pitchFamily="34" charset="0"/>
                <a:cs typeface="Arial" panose="020B0604020202020204" pitchFamily="34" charset="0"/>
              </a:rPr>
              <a:pPr algn="r" defTabSz="610659">
                <a:defRPr/>
              </a:pPr>
              <a:t>‹nr.›</a:t>
            </a:fld>
            <a:endParaRPr lang="en-US" sz="900">
              <a:solidFill>
                <a:srgbClr val="000000"/>
              </a:solidFill>
              <a:latin typeface="Gill Sans Nova Medium" panose="020B0502020204020203" pitchFamily="34" charset="0"/>
              <a:cs typeface="Arial" panose="020B0604020202020204" pitchFamily="34" charset="0"/>
            </a:endParaRPr>
          </a:p>
        </p:txBody>
      </p:sp>
    </p:spTree>
    <p:extLst>
      <p:ext uri="{BB962C8B-B14F-4D97-AF65-F5344CB8AC3E}">
        <p14:creationId xmlns:p14="http://schemas.microsoft.com/office/powerpoint/2010/main" val="40591507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5"/>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en-US" sz="2800" err="1">
              <a:solidFill>
                <a:srgbClr val="FFFFFF"/>
              </a:solidFill>
              <a:latin typeface="Gill Sans Nova Medium" panose="020B0502020204020203" pitchFamily="34"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32" fontAlgn="base"/>
            <a:r>
              <a:rPr sz="800">
                <a:solidFill>
                  <a:srgbClr val="000000"/>
                </a:solidFill>
                <a:latin typeface="Gill Sans Nova Light" panose="020B0402020204020203" pitchFamily="34" charset="0"/>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nl-NL" sz="1600" err="1">
              <a:solidFill>
                <a:srgbClr val="FFFFFF"/>
              </a:solidFill>
              <a:latin typeface="Gill Sans Nova Light" panose="020B040202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4"/>
            <a:ext cx="4408291" cy="775597"/>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8"/>
            <a:ext cx="325500" cy="143629"/>
          </a:xfrm>
          <a:prstGeom prst="rect">
            <a:avLst/>
          </a:prstGeom>
          <a:noFill/>
          <a:ln w="9525" algn="ctr">
            <a:noFill/>
            <a:miter lim="800000"/>
            <a:headEnd/>
            <a:tailEnd/>
          </a:ln>
          <a:effectLst/>
        </p:spPr>
        <p:txBody>
          <a:bodyPr wrap="square" lIns="0" tIns="0" rIns="0" bIns="0" anchor="b">
            <a:spAutoFit/>
          </a:bodyPr>
          <a:lstStyle/>
          <a:p>
            <a:pPr algn="r" defTabSz="610659">
              <a:defRPr/>
            </a:pPr>
            <a:fld id="{4ABDCABE-3F10-B64C-92F1-862014417034}" type="slidenum">
              <a:rPr lang="en-US" sz="900" smtClean="0">
                <a:solidFill>
                  <a:srgbClr val="000000"/>
                </a:solidFill>
                <a:latin typeface="Gill Sans Nova Medium" panose="020B0502020204020203" pitchFamily="34" charset="0"/>
                <a:cs typeface="Arial" panose="020B0604020202020204" pitchFamily="34" charset="0"/>
              </a:rPr>
              <a:pPr algn="r" defTabSz="610659">
                <a:defRPr/>
              </a:pPr>
              <a:t>‹nr.›</a:t>
            </a:fld>
            <a:endParaRPr lang="en-US" sz="900">
              <a:solidFill>
                <a:srgbClr val="000000"/>
              </a:solidFill>
              <a:latin typeface="Gill Sans Nova Medium" panose="020B0502020204020203" pitchFamily="34" charset="0"/>
              <a:cs typeface="Arial" panose="020B0604020202020204" pitchFamily="34" charset="0"/>
            </a:endParaRPr>
          </a:p>
        </p:txBody>
      </p:sp>
    </p:spTree>
    <p:extLst>
      <p:ext uri="{BB962C8B-B14F-4D97-AF65-F5344CB8AC3E}">
        <p14:creationId xmlns:p14="http://schemas.microsoft.com/office/powerpoint/2010/main" val="10769813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Only_MGI">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74647C-61D7-410B-B587-89EE74DFC0AC}"/>
              </a:ext>
            </a:extLst>
          </p:cNvPr>
          <p:cNvGraphicFramePr>
            <a:graphicFrameLocks noChangeAspect="1"/>
          </p:cNvGraphicFramePr>
          <p:nvPr>
            <p:custDataLst>
              <p:tags r:id="rId2"/>
            </p:custData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spid="_x0000_s88067" name="think-cell Slide" r:id="rId6" imgW="359" imgH="358" progId="TCLayout.ActiveDocument.1">
                  <p:embed/>
                </p:oleObj>
              </mc:Choice>
              <mc:Fallback>
                <p:oleObj name="think-cell Slide" r:id="rId6" imgW="359" imgH="358" progId="TCLayout.ActiveDocument.1">
                  <p:embed/>
                  <p:pic>
                    <p:nvPicPr>
                      <p:cNvPr id="10" name="Object 9" hidden="1">
                        <a:extLst>
                          <a:ext uri="{FF2B5EF4-FFF2-40B4-BE49-F238E27FC236}">
                            <a16:creationId xmlns:a16="http://schemas.microsoft.com/office/drawing/2014/main" id="{3474647C-61D7-410B-B587-89EE74DFC0AC}"/>
                          </a:ext>
                        </a:extLst>
                      </p:cNvPr>
                      <p:cNvPicPr/>
                      <p:nvPr/>
                    </p:nvPicPr>
                    <p:blipFill>
                      <a:blip r:embed="rId7"/>
                      <a:stretch>
                        <a:fillRect/>
                      </a:stretch>
                    </p:blipFill>
                    <p:spPr>
                      <a:xfrm>
                        <a:off x="2119" y="2120"/>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3AD9B00-4CDC-437A-B6FF-E85B53E9C45D}"/>
              </a:ext>
            </a:extLst>
          </p:cNvPr>
          <p:cNvSpPr/>
          <p:nvPr>
            <p:custDataLst>
              <p:tags r:id="rId3"/>
            </p:custDataLst>
          </p:nvPr>
        </p:nvSpPr>
        <p:spPr>
          <a:xfrm>
            <a:off x="1" y="1"/>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nl-NL" sz="2000" err="1">
              <a:solidFill>
                <a:srgbClr val="000000"/>
              </a:solidFill>
              <a:latin typeface="Gill Sans Nova Light" panose="020B0402020204020203" pitchFamily="34" charset="0"/>
              <a:sym typeface="Arial" panose="020B0604020202020204" pitchFamily="34" charset="0"/>
            </a:endParaRPr>
          </a:p>
        </p:txBody>
      </p:sp>
      <p:sp>
        <p:nvSpPr>
          <p:cNvPr id="6" name="Rectangle 5">
            <a:extLst>
              <a:ext uri="{FF2B5EF4-FFF2-40B4-BE49-F238E27FC236}">
                <a16:creationId xmlns:a16="http://schemas.microsoft.com/office/drawing/2014/main" id="{DED91FB0-DE6F-4845-97C2-F7690E69588B}"/>
              </a:ext>
            </a:extLst>
          </p:cNvPr>
          <p:cNvSpPr/>
          <p:nvPr/>
        </p:nvSpPr>
        <p:spPr>
          <a:xfrm>
            <a:off x="0" y="136277"/>
            <a:ext cx="12192000" cy="685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defTabSz="914332" fontAlgn="base">
              <a:spcBef>
                <a:spcPct val="0"/>
              </a:spcBef>
              <a:spcAft>
                <a:spcPct val="0"/>
              </a:spcAft>
            </a:pPr>
            <a:endParaRPr lang="nl-NL" sz="2300">
              <a:solidFill>
                <a:srgbClr val="000000"/>
              </a:solidFill>
              <a:latin typeface="Gill Sans Nova Light" panose="020B0402020204020203" pitchFamily="34" charset="0"/>
            </a:endParaRPr>
          </a:p>
        </p:txBody>
      </p:sp>
      <p:sp>
        <p:nvSpPr>
          <p:cNvPr id="2" name="2. Slide Title"/>
          <p:cNvSpPr>
            <a:spLocks noGrp="1"/>
          </p:cNvSpPr>
          <p:nvPr>
            <p:ph type="title"/>
          </p:nvPr>
        </p:nvSpPr>
        <p:spPr bwMode="auto"/>
        <p:txBody>
          <a:bodyPr/>
          <a:lstStyle/>
          <a:p>
            <a:r>
              <a:rPr lang="nl-NL"/>
              <a:t>Click to edit Master title style</a:t>
            </a:r>
          </a:p>
        </p:txBody>
      </p:sp>
      <p:sp>
        <p:nvSpPr>
          <p:cNvPr id="8" name="Slide Number"/>
          <p:cNvSpPr txBox="1">
            <a:spLocks/>
          </p:cNvSpPr>
          <p:nvPr/>
        </p:nvSpPr>
        <p:spPr bwMode="auto">
          <a:xfrm>
            <a:off x="11652057" y="6641725"/>
            <a:ext cx="177935"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332" fontAlgn="base">
              <a:spcBef>
                <a:spcPct val="0"/>
              </a:spcBef>
              <a:spcAft>
                <a:spcPct val="0"/>
              </a:spcAft>
            </a:pPr>
            <a:fld id="{42C328C1-A84F-4A39-A664-DBA00541A8C6}" type="slidenum">
              <a:rPr lang="nl-NL" sz="800" smtClean="0">
                <a:solidFill>
                  <a:srgbClr val="808080"/>
                </a:solidFill>
                <a:latin typeface="Gill Sans Nova Light" panose="020B0402020204020203" pitchFamily="34" charset="0"/>
              </a:rPr>
              <a:pPr defTabSz="914332" fontAlgn="base">
                <a:spcBef>
                  <a:spcPct val="0"/>
                </a:spcBef>
                <a:spcAft>
                  <a:spcPct val="0"/>
                </a:spcAft>
              </a:pPr>
              <a:t>‹nr.›</a:t>
            </a:fld>
            <a:endParaRPr lang="nl-NL" sz="800">
              <a:solidFill>
                <a:srgbClr val="808080"/>
              </a:solidFill>
              <a:latin typeface="Gill Sans Nova Light" panose="020B0402020204020203" pitchFamily="34" charset="0"/>
            </a:endParaRPr>
          </a:p>
        </p:txBody>
      </p:sp>
      <p:sp>
        <p:nvSpPr>
          <p:cNvPr id="9" name="SlideLogoText"/>
          <p:cNvSpPr>
            <a:spLocks noChangeArrowheads="1"/>
          </p:cNvSpPr>
          <p:nvPr>
            <p:custDataLst>
              <p:tags r:id="rId4"/>
            </p:custDataLst>
          </p:nvPr>
        </p:nvSpPr>
        <p:spPr bwMode="auto">
          <a:xfrm>
            <a:off x="10548517" y="6641725"/>
            <a:ext cx="96661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349" fontAlgn="base">
              <a:spcBef>
                <a:spcPct val="0"/>
              </a:spcBef>
              <a:spcAft>
                <a:spcPct val="0"/>
              </a:spcAft>
            </a:pPr>
            <a:r>
              <a:rPr lang="nl-NL" sz="800">
                <a:solidFill>
                  <a:srgbClr val="808080"/>
                </a:solidFill>
                <a:latin typeface="Gill Sans Nova Light" panose="020B0402020204020203" pitchFamily="34" charset="0"/>
              </a:rPr>
              <a:t>McKinsey &amp; Company</a:t>
            </a:r>
          </a:p>
        </p:txBody>
      </p:sp>
      <p:sp>
        <p:nvSpPr>
          <p:cNvPr id="5" name="doc id" hidden="1"/>
          <p:cNvSpPr>
            <a:spLocks noChangeArrowheads="1"/>
          </p:cNvSpPr>
          <p:nvPr/>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349" fontAlgn="base">
              <a:spcBef>
                <a:spcPct val="0"/>
              </a:spcBef>
              <a:spcAft>
                <a:spcPct val="0"/>
              </a:spcAft>
            </a:pPr>
            <a:endParaRPr lang="nl-NL" sz="800">
              <a:solidFill>
                <a:srgbClr val="808080"/>
              </a:solidFill>
              <a:latin typeface="Gill Sans Nova Light" panose="020B0402020204020203" pitchFamily="34" charset="0"/>
            </a:endParaRPr>
          </a:p>
        </p:txBody>
      </p:sp>
      <p:sp>
        <p:nvSpPr>
          <p:cNvPr id="3" name="TextBox 2"/>
          <p:cNvSpPr txBox="1"/>
          <p:nvPr/>
        </p:nvSpPr>
        <p:spPr>
          <a:xfrm>
            <a:off x="11626139" y="6566444"/>
            <a:ext cx="284012" cy="155496"/>
          </a:xfrm>
          <a:prstGeom prst="rect">
            <a:avLst/>
          </a:prstGeom>
          <a:noFill/>
        </p:spPr>
        <p:txBody>
          <a:bodyPr vert="horz" wrap="none" lIns="0" tIns="0" rIns="0" bIns="0" rtlCol="0">
            <a:noAutofit/>
          </a:bodyPr>
          <a:lstStyle/>
          <a:p>
            <a:pPr defTabSz="914332" fontAlgn="base">
              <a:spcBef>
                <a:spcPct val="0"/>
              </a:spcBef>
              <a:spcAft>
                <a:spcPct val="0"/>
              </a:spcAft>
            </a:pPr>
            <a:endParaRPr lang="nl-NL" sz="1100">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716425502"/>
      </p:ext>
    </p:extLst>
  </p:cSld>
  <p:clrMapOvr>
    <a:masterClrMapping/>
  </p:clrMapOvr>
  <p:extLst>
    <p:ext uri="{DCECCB84-F9BA-43D5-87BE-67443E8EF086}">
      <p15:sldGuideLst xmlns:p15="http://schemas.microsoft.com/office/powerpoint/2012/main">
        <p15:guide id="1" pos="4276">
          <p15:clr>
            <a:srgbClr val="F26B43"/>
          </p15:clr>
        </p15:guide>
        <p15:guide id="2" pos="58">
          <p15:clr>
            <a:srgbClr val="F26B43"/>
          </p15:clr>
        </p15:guide>
        <p15:guide id="3" orient="horz" pos="178">
          <p15:clr>
            <a:srgbClr val="F26B43"/>
          </p15:clr>
        </p15:guide>
        <p15:guide id="4" orient="horz" pos="2408">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12787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8958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20889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42"/>
            <a:ext cx="3465576" cy="86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51"/>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900">
                <a:latin typeface="+mn-lt"/>
                <a:ea typeface="+mn-ea"/>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6" y="590548"/>
            <a:ext cx="6979431" cy="5760000"/>
          </a:xfrm>
          <a:prstGeom prst="rect">
            <a:avLst/>
          </a:prstGeom>
          <a:solidFill>
            <a:srgbClr val="FFFFFF">
              <a:lumMod val="95000"/>
            </a:srgbClr>
          </a:solidFill>
          <a:ln w="9525" cap="flat" cmpd="sng" algn="ctr">
            <a:noFill/>
            <a:prstDash val="solid"/>
          </a:ln>
          <a:effectLst/>
        </p:spPr>
        <p:txBody>
          <a:bodyPr lIns="91430" tIns="45718" rIns="91430" bIns="45718" rtlCol="0" anchor="ctr"/>
          <a:lstStyle/>
          <a:p>
            <a:pPr marL="0" marR="0" lvl="0" indent="0" algn="ctr" defTabSz="914282" eaLnBrk="1" fontAlgn="auto" latinLnBrk="0" hangingPunct="1">
              <a:lnSpc>
                <a:spcPct val="100000"/>
              </a:lnSpc>
              <a:spcBef>
                <a:spcPts val="0"/>
              </a:spcBef>
              <a:spcAft>
                <a:spcPts val="0"/>
              </a:spcAft>
              <a:buClrTx/>
              <a:buSzTx/>
              <a:buFontTx/>
              <a:buNone/>
              <a:tabLst/>
              <a:defRPr/>
            </a:pPr>
            <a:endParaRPr kumimoji="0" lang="nl-NL" sz="19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300456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9216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4400" err="1">
              <a:solidFill>
                <a:srgbClr val="000000"/>
              </a:solidFill>
              <a:latin typeface="Gill Sans Nova Medium" panose="020B0502020204020203" pitchFamily="34" charset="0"/>
              <a:sym typeface="Andada" panose="02000000000000000000" pitchFamily="50" charset="-18"/>
            </a:endParaRPr>
          </a:p>
        </p:txBody>
      </p:sp>
      <p:sp>
        <p:nvSpPr>
          <p:cNvPr id="13314" name="Title"/>
          <p:cNvSpPr>
            <a:spLocks noGrp="1" noChangeArrowheads="1"/>
          </p:cNvSpPr>
          <p:nvPr>
            <p:ph type="ctrTitle"/>
          </p:nvPr>
        </p:nvSpPr>
        <p:spPr bwMode="gray">
          <a:xfrm>
            <a:off x="5238751" y="2070330"/>
            <a:ext cx="5597144" cy="1354217"/>
          </a:xfrm>
          <a:prstGeom prst="rect">
            <a:avLst/>
          </a:prstGeom>
        </p:spPr>
        <p:txBody>
          <a:bodyPr wrap="square" anchor="b">
            <a:noAutofit/>
          </a:bodyPr>
          <a:lstStyle>
            <a:lvl1pPr>
              <a:buClr>
                <a:schemeClr val="tx2"/>
              </a:buClr>
              <a:defRPr sz="4400" b="0" i="0" baseline="0">
                <a:solidFill>
                  <a:schemeClr val="tx1"/>
                </a:solidFill>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13315" name="Subtitle"/>
          <p:cNvSpPr>
            <a:spLocks noGrp="1" noChangeArrowheads="1"/>
          </p:cNvSpPr>
          <p:nvPr>
            <p:ph type="subTitle" idx="1"/>
          </p:nvPr>
        </p:nvSpPr>
        <p:spPr bwMode="gray">
          <a:xfrm>
            <a:off x="5238751" y="3545591"/>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ocumenttype </a:t>
            </a:r>
          </a:p>
        </p:txBody>
      </p:sp>
      <p:pic>
        <p:nvPicPr>
          <p:cNvPr id="12" name="Picture 11">
            <a:extLst>
              <a:ext uri="{FF2B5EF4-FFF2-40B4-BE49-F238E27FC236}">
                <a16:creationId xmlns:a16="http://schemas.microsoft.com/office/drawing/2014/main" id="{A177682A-83DA-4C9E-BAF2-06640EA7DFCC}"/>
              </a:ext>
            </a:extLst>
          </p:cNvPr>
          <p:cNvPicPr>
            <a:picLocks noChangeAspect="1"/>
          </p:cNvPicPr>
          <p:nvPr userDrawn="1"/>
        </p:nvPicPr>
        <p:blipFill>
          <a:blip r:embed="rId7"/>
          <a:stretch>
            <a:fillRect/>
          </a:stretch>
        </p:blipFill>
        <p:spPr bwMode="gray">
          <a:xfrm>
            <a:off x="-331232" y="2702026"/>
            <a:ext cx="4377719" cy="4377719"/>
          </a:xfrm>
          <a:prstGeom prst="rect">
            <a:avLst/>
          </a:prstGeom>
        </p:spPr>
      </p:pic>
    </p:spTree>
    <p:extLst>
      <p:ext uri="{BB962C8B-B14F-4D97-AF65-F5344CB8AC3E}">
        <p14:creationId xmlns:p14="http://schemas.microsoft.com/office/powerpoint/2010/main" val="40255593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9318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4400" err="1">
              <a:solidFill>
                <a:srgbClr val="000000"/>
              </a:solidFill>
              <a:latin typeface="Gill Sans Nova Medium" panose="020B0502020204020203" pitchFamily="34" charset="0"/>
              <a:sym typeface="Andada" panose="02000000000000000000" pitchFamily="50" charset="-18"/>
            </a:endParaRPr>
          </a:p>
        </p:txBody>
      </p:sp>
      <p:sp>
        <p:nvSpPr>
          <p:cNvPr id="13314" name="Title"/>
          <p:cNvSpPr>
            <a:spLocks noGrp="1" noChangeArrowheads="1"/>
          </p:cNvSpPr>
          <p:nvPr>
            <p:ph type="ctrTitle"/>
          </p:nvPr>
        </p:nvSpPr>
        <p:spPr bwMode="gray">
          <a:xfrm>
            <a:off x="5238751" y="2070330"/>
            <a:ext cx="5597144" cy="1354217"/>
          </a:xfrm>
          <a:prstGeom prst="rect">
            <a:avLst/>
          </a:prstGeom>
        </p:spPr>
        <p:txBody>
          <a:bodyPr wrap="square" anchor="b">
            <a:noAutofit/>
          </a:bodyPr>
          <a:lstStyle>
            <a:lvl1pPr>
              <a:buClr>
                <a:schemeClr val="tx2"/>
              </a:buClr>
              <a:defRPr sz="4400" b="0" i="0" baseline="0">
                <a:solidFill>
                  <a:schemeClr val="tx1"/>
                </a:solidFill>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13315" name="Subtitle"/>
          <p:cNvSpPr>
            <a:spLocks noGrp="1" noChangeArrowheads="1"/>
          </p:cNvSpPr>
          <p:nvPr>
            <p:ph type="subTitle" idx="1"/>
          </p:nvPr>
        </p:nvSpPr>
        <p:spPr bwMode="gray">
          <a:xfrm>
            <a:off x="5238751" y="3545591"/>
            <a:ext cx="5597144"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lang="nl-NL" sz="2000" b="0" i="0" noProof="0" dirty="0">
                <a:latin typeface="Gill Sans Nova Light" panose="020B0402020204020203" pitchFamily="34" charset="0"/>
                <a:ea typeface="+mn-ea"/>
                <a:sym typeface="+mn-lt"/>
              </a:defRPr>
            </a:lvl1pPr>
          </a:lstStyle>
          <a:p>
            <a:pPr lvl="0"/>
            <a:r>
              <a:rPr lang="en-US" noProof="0"/>
              <a:t>Click to edit Master subtitle style</a:t>
            </a:r>
            <a:endParaRPr lang="nl-NL" noProof="0"/>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defTabSz="914332" fontAlgn="base">
              <a:spcBef>
                <a:spcPct val="0"/>
              </a:spcBef>
              <a:spcAft>
                <a:spcPct val="0"/>
              </a:spcAft>
            </a:pPr>
            <a:r>
              <a:rPr lang="nl-NL">
                <a:solidFill>
                  <a:srgbClr val="000000"/>
                </a:solidFill>
                <a:latin typeface="Gill Sans Nova Light" panose="020B0402020204020203" pitchFamily="34" charset="0"/>
                <a:sym typeface="+mn-lt"/>
              </a:rPr>
              <a:t>Documenttype </a:t>
            </a:r>
          </a:p>
        </p:txBody>
      </p:sp>
      <p:pic>
        <p:nvPicPr>
          <p:cNvPr id="12" name="Picture 11">
            <a:extLst>
              <a:ext uri="{FF2B5EF4-FFF2-40B4-BE49-F238E27FC236}">
                <a16:creationId xmlns:a16="http://schemas.microsoft.com/office/drawing/2014/main" id="{DE9B22C2-E0FB-4B0B-8059-3E91C6E663B7}"/>
              </a:ext>
            </a:extLst>
          </p:cNvPr>
          <p:cNvPicPr>
            <a:picLocks noChangeAspect="1"/>
          </p:cNvPicPr>
          <p:nvPr userDrawn="1"/>
        </p:nvPicPr>
        <p:blipFill rotWithShape="1">
          <a:blip r:embed="rId7"/>
          <a:srcRect l="14304" t="21913" r="25791" b="20000"/>
          <a:stretch/>
        </p:blipFill>
        <p:spPr bwMode="gray">
          <a:xfrm>
            <a:off x="273439" y="3638892"/>
            <a:ext cx="2672583" cy="2590656"/>
          </a:xfrm>
          <a:prstGeom prst="rect">
            <a:avLst/>
          </a:prstGeom>
        </p:spPr>
      </p:pic>
    </p:spTree>
    <p:extLst>
      <p:ext uri="{BB962C8B-B14F-4D97-AF65-F5344CB8AC3E}">
        <p14:creationId xmlns:p14="http://schemas.microsoft.com/office/powerpoint/2010/main" val="8268018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9421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a:t>
            </a:r>
            <a:r>
              <a:rPr lang="pl-PL" noProof="0"/>
              <a:t> </a:t>
            </a:r>
            <a:r>
              <a:rPr lang="en-US" noProof="0"/>
              <a:t>edit Master title style</a:t>
            </a:r>
            <a:endParaRPr lang="nl-NL" noProof="0"/>
          </a:p>
        </p:txBody>
      </p:sp>
    </p:spTree>
    <p:extLst>
      <p:ext uri="{BB962C8B-B14F-4D97-AF65-F5344CB8AC3E}">
        <p14:creationId xmlns:p14="http://schemas.microsoft.com/office/powerpoint/2010/main" val="34359930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95235"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6"/>
            <a:ext cx="5867400" cy="58102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noAutofit/>
          </a:bodyPr>
          <a:lstStyle/>
          <a:p>
            <a:pPr algn="ctr" defTabSz="914276" fontAlgn="base">
              <a:spcBef>
                <a:spcPct val="0"/>
              </a:spcBef>
              <a:spcAft>
                <a:spcPct val="0"/>
              </a:spcAft>
            </a:pPr>
            <a:endParaRPr lang="nl-NL" sz="1900" err="1">
              <a:solidFill>
                <a:srgbClr val="000000"/>
              </a:solidFill>
              <a:latin typeface="Gill Sans Nova Light" panose="020B0402020204020203" pitchFamily="34" charset="0"/>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Tree>
    <p:extLst>
      <p:ext uri="{BB962C8B-B14F-4D97-AF65-F5344CB8AC3E}">
        <p14:creationId xmlns:p14="http://schemas.microsoft.com/office/powerpoint/2010/main" val="24153651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96259"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36"/>
            <a:ext cx="3465576"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5" y="590548"/>
            <a:ext cx="6979431" cy="5760000"/>
          </a:xfrm>
          <a:prstGeom prst="rect">
            <a:avLst/>
          </a:prstGeom>
          <a:solidFill>
            <a:srgbClr val="FFFFFF">
              <a:lumMod val="95000"/>
            </a:srgbClr>
          </a:solidFill>
          <a:ln w="9525" cap="flat" cmpd="sng" algn="ctr">
            <a:noFill/>
            <a:prstDash val="solid"/>
          </a:ln>
          <a:effectLst/>
        </p:spPr>
        <p:txBody>
          <a:bodyPr lIns="121909" tIns="60954" rIns="121909" bIns="60954" rtlCol="0" anchor="ctr"/>
          <a:lstStyle/>
          <a:p>
            <a:pPr algn="ctr" defTabSz="914276">
              <a:defRPr/>
            </a:pPr>
            <a:endParaRPr lang="nl-NL" sz="1900" kern="0" err="1">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41392502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6" y="1625"/>
          <a:ext cx="2159" cy="1619"/>
        </p:xfrm>
        <a:graphic>
          <a:graphicData uri="http://schemas.openxmlformats.org/presentationml/2006/ole">
            <mc:AlternateContent xmlns:mc="http://schemas.openxmlformats.org/markup-compatibility/2006">
              <mc:Choice xmlns:v="urn:schemas-microsoft-com:vml" Requires="v">
                <p:oleObj spid="_x0000_s97283"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6"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ct val="0"/>
              </a:spcBef>
              <a:spcAft>
                <a:spcPct val="0"/>
              </a:spcAft>
            </a:pPr>
            <a:endParaRPr lang="en-US" sz="2800" err="1">
              <a:solidFill>
                <a:srgbClr val="000000"/>
              </a:solidFill>
              <a:latin typeface="Gill Sans Nova Medium" panose="020B0502020204020203" pitchFamily="34" charset="0"/>
              <a:sym typeface="Andada" panose="020B0604020202020204"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9" y="2652036"/>
            <a:ext cx="2556325" cy="861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b="0" i="0">
                <a:latin typeface="Gill Sans Nova Medium" panose="020B0502020204020203" pitchFamily="34" charset="0"/>
                <a:ea typeface="+mj-ea"/>
                <a:sym typeface="+mj-lt"/>
              </a:defRPr>
            </a:lvl1pPr>
          </a:lstStyle>
          <a:p>
            <a:pPr lvl="0"/>
            <a:r>
              <a:rPr lang="en-US" noProof="0"/>
              <a:t>Click to edit Master title 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49"/>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pPr>
            <a:r>
              <a:rPr lang="nl-NL" sz="1900">
                <a:solidFill>
                  <a:srgbClr val="000000"/>
                </a:solidFill>
                <a:latin typeface="Gill Sans Nova Light" panose="020B0402020204020203" pitchFamily="34" charset="0"/>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6"/>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lIns="121909" tIns="60954" rIns="121909" bIns="60954" rtlCol="0" anchor="ctr"/>
          <a:lstStyle/>
          <a:p>
            <a:pPr algn="ctr" defTabSz="914276">
              <a:defRPr/>
            </a:pPr>
            <a:endParaRPr lang="nl-NL" sz="1900" kern="0" err="1">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22841358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5"/>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en-US" sz="2800" err="1">
              <a:solidFill>
                <a:srgbClr val="FFFFFF"/>
              </a:solidFill>
              <a:latin typeface="Gill Sans Nova Medium" panose="020B0502020204020203" pitchFamily="34"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32" fontAlgn="base"/>
            <a:r>
              <a:rPr sz="800">
                <a:solidFill>
                  <a:srgbClr val="000000"/>
                </a:solidFill>
                <a:latin typeface="Gill Sans Nova Light" panose="020B0402020204020203" pitchFamily="34" charset="0"/>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nl-NL" sz="1600" err="1">
              <a:solidFill>
                <a:srgbClr val="FFFFFF"/>
              </a:solidFill>
              <a:latin typeface="Gill Sans Nova Light" panose="020B040202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4"/>
            <a:ext cx="4408291" cy="775597"/>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8"/>
            <a:ext cx="325500" cy="143629"/>
          </a:xfrm>
          <a:prstGeom prst="rect">
            <a:avLst/>
          </a:prstGeom>
          <a:noFill/>
          <a:ln w="9525" algn="ctr">
            <a:noFill/>
            <a:miter lim="800000"/>
            <a:headEnd/>
            <a:tailEnd/>
          </a:ln>
          <a:effectLst/>
        </p:spPr>
        <p:txBody>
          <a:bodyPr wrap="square" lIns="0" tIns="0" rIns="0" bIns="0" anchor="b">
            <a:spAutoFit/>
          </a:bodyPr>
          <a:lstStyle/>
          <a:p>
            <a:pPr algn="r" defTabSz="610659">
              <a:defRPr/>
            </a:pPr>
            <a:fld id="{4ABDCABE-3F10-B64C-92F1-862014417034}" type="slidenum">
              <a:rPr lang="en-US" sz="900" smtClean="0">
                <a:solidFill>
                  <a:srgbClr val="000000"/>
                </a:solidFill>
                <a:latin typeface="Gill Sans Nova Medium" panose="020B0502020204020203" pitchFamily="34" charset="0"/>
                <a:cs typeface="Arial" panose="020B0604020202020204" pitchFamily="34" charset="0"/>
              </a:rPr>
              <a:pPr algn="r" defTabSz="610659">
                <a:defRPr/>
              </a:pPr>
              <a:t>‹nr.›</a:t>
            </a:fld>
            <a:endParaRPr lang="en-US" sz="900">
              <a:solidFill>
                <a:srgbClr val="000000"/>
              </a:solidFill>
              <a:latin typeface="Gill Sans Nova Medium" panose="020B0502020204020203" pitchFamily="34" charset="0"/>
              <a:cs typeface="Arial" panose="020B0604020202020204" pitchFamily="34" charset="0"/>
            </a:endParaRPr>
          </a:p>
        </p:txBody>
      </p:sp>
    </p:spTree>
    <p:extLst>
      <p:ext uri="{BB962C8B-B14F-4D97-AF65-F5344CB8AC3E}">
        <p14:creationId xmlns:p14="http://schemas.microsoft.com/office/powerpoint/2010/main" val="11867912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0" y="5"/>
            <a:ext cx="158749"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en-US" sz="2800" err="1">
              <a:solidFill>
                <a:srgbClr val="FFFFFF"/>
              </a:solidFill>
              <a:latin typeface="Gill Sans Nova Medium" panose="020B0502020204020203" pitchFamily="34" charset="0"/>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332" fontAlgn="base"/>
            <a:r>
              <a:rPr sz="800">
                <a:solidFill>
                  <a:srgbClr val="000000"/>
                </a:solidFill>
                <a:latin typeface="Gill Sans Nova Light" panose="020B0402020204020203" pitchFamily="34" charset="0"/>
              </a:rPr>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0" tIns="45718" rIns="91430" bIns="45718" numCol="1" spcCol="0" rtlCol="0" fromWordArt="0" anchor="ctr" anchorCtr="0" forceAA="0" compatLnSpc="1">
            <a:prstTxWarp prst="textNoShape">
              <a:avLst/>
            </a:prstTxWarp>
            <a:noAutofit/>
          </a:bodyPr>
          <a:lstStyle/>
          <a:p>
            <a:pPr algn="ctr" defTabSz="914332" fontAlgn="base">
              <a:spcBef>
                <a:spcPts val="300"/>
              </a:spcBef>
              <a:spcAft>
                <a:spcPts val="300"/>
              </a:spcAft>
            </a:pPr>
            <a:endParaRPr lang="nl-NL" sz="1600" err="1">
              <a:solidFill>
                <a:srgbClr val="FFFFFF"/>
              </a:solidFill>
              <a:latin typeface="Gill Sans Nova Light" panose="020B040202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64"/>
            <a:ext cx="4408291" cy="775597"/>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7" y="6493628"/>
            <a:ext cx="325500" cy="143629"/>
          </a:xfrm>
          <a:prstGeom prst="rect">
            <a:avLst/>
          </a:prstGeom>
          <a:noFill/>
          <a:ln w="9525" algn="ctr">
            <a:noFill/>
            <a:miter lim="800000"/>
            <a:headEnd/>
            <a:tailEnd/>
          </a:ln>
          <a:effectLst/>
        </p:spPr>
        <p:txBody>
          <a:bodyPr wrap="square" lIns="0" tIns="0" rIns="0" bIns="0" anchor="b">
            <a:spAutoFit/>
          </a:bodyPr>
          <a:lstStyle/>
          <a:p>
            <a:pPr algn="r" defTabSz="610659">
              <a:defRPr/>
            </a:pPr>
            <a:fld id="{4ABDCABE-3F10-B64C-92F1-862014417034}" type="slidenum">
              <a:rPr lang="en-US" sz="900" smtClean="0">
                <a:solidFill>
                  <a:srgbClr val="000000"/>
                </a:solidFill>
                <a:latin typeface="Gill Sans Nova Medium" panose="020B0502020204020203" pitchFamily="34" charset="0"/>
                <a:cs typeface="Arial" panose="020B0604020202020204" pitchFamily="34" charset="0"/>
              </a:rPr>
              <a:pPr algn="r" defTabSz="610659">
                <a:defRPr/>
              </a:pPr>
              <a:t>‹nr.›</a:t>
            </a:fld>
            <a:endParaRPr lang="en-US" sz="900">
              <a:solidFill>
                <a:srgbClr val="000000"/>
              </a:solidFill>
              <a:latin typeface="Gill Sans Nova Medium" panose="020B0502020204020203" pitchFamily="34" charset="0"/>
              <a:cs typeface="Arial" panose="020B0604020202020204" pitchFamily="34" charset="0"/>
            </a:endParaRPr>
          </a:p>
        </p:txBody>
      </p:sp>
    </p:spTree>
    <p:extLst>
      <p:ext uri="{BB962C8B-B14F-4D97-AF65-F5344CB8AC3E}">
        <p14:creationId xmlns:p14="http://schemas.microsoft.com/office/powerpoint/2010/main" val="28563991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Only_MGI">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74647C-61D7-410B-B587-89EE74DFC0AC}"/>
              </a:ext>
            </a:extLst>
          </p:cNvPr>
          <p:cNvGraphicFramePr>
            <a:graphicFrameLocks noChangeAspect="1"/>
          </p:cNvGraphicFramePr>
          <p:nvPr>
            <p:custDataLst>
              <p:tags r:id="rId2"/>
            </p:custData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spid="_x0000_s100355" name="think-cell Slide" r:id="rId6" imgW="359" imgH="358" progId="TCLayout.ActiveDocument.1">
                  <p:embed/>
                </p:oleObj>
              </mc:Choice>
              <mc:Fallback>
                <p:oleObj name="think-cell Slide" r:id="rId6" imgW="359" imgH="358" progId="TCLayout.ActiveDocument.1">
                  <p:embed/>
                  <p:pic>
                    <p:nvPicPr>
                      <p:cNvPr id="10" name="Object 9" hidden="1">
                        <a:extLst>
                          <a:ext uri="{FF2B5EF4-FFF2-40B4-BE49-F238E27FC236}">
                            <a16:creationId xmlns:a16="http://schemas.microsoft.com/office/drawing/2014/main" id="{3474647C-61D7-410B-B587-89EE74DFC0AC}"/>
                          </a:ext>
                        </a:extLst>
                      </p:cNvPr>
                      <p:cNvPicPr/>
                      <p:nvPr/>
                    </p:nvPicPr>
                    <p:blipFill>
                      <a:blip r:embed="rId7"/>
                      <a:stretch>
                        <a:fillRect/>
                      </a:stretch>
                    </p:blipFill>
                    <p:spPr>
                      <a:xfrm>
                        <a:off x="2119" y="2120"/>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3AD9B00-4CDC-437A-B6FF-E85B53E9C45D}"/>
              </a:ext>
            </a:extLst>
          </p:cNvPr>
          <p:cNvSpPr/>
          <p:nvPr>
            <p:custDataLst>
              <p:tags r:id="rId3"/>
            </p:custDataLst>
          </p:nvPr>
        </p:nvSpPr>
        <p:spPr>
          <a:xfrm>
            <a:off x="1" y="1"/>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32" fontAlgn="base">
              <a:spcBef>
                <a:spcPct val="0"/>
              </a:spcBef>
              <a:spcAft>
                <a:spcPct val="0"/>
              </a:spcAft>
            </a:pPr>
            <a:endParaRPr lang="nl-NL" sz="2000" err="1">
              <a:solidFill>
                <a:srgbClr val="000000"/>
              </a:solidFill>
              <a:latin typeface="Gill Sans Nova Light" panose="020B0402020204020203" pitchFamily="34" charset="0"/>
              <a:sym typeface="Arial" panose="020B0604020202020204" pitchFamily="34" charset="0"/>
            </a:endParaRPr>
          </a:p>
        </p:txBody>
      </p:sp>
      <p:sp>
        <p:nvSpPr>
          <p:cNvPr id="6" name="Rectangle 5">
            <a:extLst>
              <a:ext uri="{FF2B5EF4-FFF2-40B4-BE49-F238E27FC236}">
                <a16:creationId xmlns:a16="http://schemas.microsoft.com/office/drawing/2014/main" id="{DED91FB0-DE6F-4845-97C2-F7690E69588B}"/>
              </a:ext>
            </a:extLst>
          </p:cNvPr>
          <p:cNvSpPr/>
          <p:nvPr/>
        </p:nvSpPr>
        <p:spPr>
          <a:xfrm>
            <a:off x="0" y="136277"/>
            <a:ext cx="12192000" cy="6858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defTabSz="914332" fontAlgn="base">
              <a:spcBef>
                <a:spcPct val="0"/>
              </a:spcBef>
              <a:spcAft>
                <a:spcPct val="0"/>
              </a:spcAft>
            </a:pPr>
            <a:endParaRPr lang="nl-NL" sz="2300">
              <a:solidFill>
                <a:srgbClr val="000000"/>
              </a:solidFill>
              <a:latin typeface="Gill Sans Nova Light" panose="020B0402020204020203" pitchFamily="34" charset="0"/>
            </a:endParaRPr>
          </a:p>
        </p:txBody>
      </p:sp>
      <p:sp>
        <p:nvSpPr>
          <p:cNvPr id="2" name="2. Slide Title"/>
          <p:cNvSpPr>
            <a:spLocks noGrp="1"/>
          </p:cNvSpPr>
          <p:nvPr>
            <p:ph type="title"/>
          </p:nvPr>
        </p:nvSpPr>
        <p:spPr bwMode="auto"/>
        <p:txBody>
          <a:bodyPr/>
          <a:lstStyle/>
          <a:p>
            <a:r>
              <a:rPr lang="nl-NL"/>
              <a:t>Click to edit Master title style</a:t>
            </a:r>
          </a:p>
        </p:txBody>
      </p:sp>
      <p:sp>
        <p:nvSpPr>
          <p:cNvPr id="8" name="Slide Number"/>
          <p:cNvSpPr txBox="1">
            <a:spLocks/>
          </p:cNvSpPr>
          <p:nvPr/>
        </p:nvSpPr>
        <p:spPr bwMode="auto">
          <a:xfrm>
            <a:off x="11652057" y="6641725"/>
            <a:ext cx="177935"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332" fontAlgn="base">
              <a:spcBef>
                <a:spcPct val="0"/>
              </a:spcBef>
              <a:spcAft>
                <a:spcPct val="0"/>
              </a:spcAft>
            </a:pPr>
            <a:fld id="{42C328C1-A84F-4A39-A664-DBA00541A8C6}" type="slidenum">
              <a:rPr lang="nl-NL" sz="800" smtClean="0">
                <a:solidFill>
                  <a:srgbClr val="808080"/>
                </a:solidFill>
                <a:latin typeface="Gill Sans Nova Light" panose="020B0402020204020203" pitchFamily="34" charset="0"/>
              </a:rPr>
              <a:pPr defTabSz="914332" fontAlgn="base">
                <a:spcBef>
                  <a:spcPct val="0"/>
                </a:spcBef>
                <a:spcAft>
                  <a:spcPct val="0"/>
                </a:spcAft>
              </a:pPr>
              <a:t>‹nr.›</a:t>
            </a:fld>
            <a:endParaRPr lang="nl-NL" sz="800">
              <a:solidFill>
                <a:srgbClr val="808080"/>
              </a:solidFill>
              <a:latin typeface="Gill Sans Nova Light" panose="020B0402020204020203" pitchFamily="34" charset="0"/>
            </a:endParaRPr>
          </a:p>
        </p:txBody>
      </p:sp>
      <p:sp>
        <p:nvSpPr>
          <p:cNvPr id="9" name="SlideLogoText"/>
          <p:cNvSpPr>
            <a:spLocks noChangeArrowheads="1"/>
          </p:cNvSpPr>
          <p:nvPr>
            <p:custDataLst>
              <p:tags r:id="rId4"/>
            </p:custDataLst>
          </p:nvPr>
        </p:nvSpPr>
        <p:spPr bwMode="auto">
          <a:xfrm>
            <a:off x="10548517" y="6641725"/>
            <a:ext cx="96661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349" fontAlgn="base">
              <a:spcBef>
                <a:spcPct val="0"/>
              </a:spcBef>
              <a:spcAft>
                <a:spcPct val="0"/>
              </a:spcAft>
            </a:pPr>
            <a:r>
              <a:rPr lang="nl-NL" sz="800">
                <a:solidFill>
                  <a:srgbClr val="808080"/>
                </a:solidFill>
                <a:latin typeface="Gill Sans Nova Light" panose="020B0402020204020203" pitchFamily="34" charset="0"/>
              </a:rPr>
              <a:t>McKinsey &amp; Company</a:t>
            </a:r>
          </a:p>
        </p:txBody>
      </p:sp>
      <p:sp>
        <p:nvSpPr>
          <p:cNvPr id="5" name="doc id" hidden="1"/>
          <p:cNvSpPr>
            <a:spLocks noChangeArrowheads="1"/>
          </p:cNvSpPr>
          <p:nvPr/>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349" fontAlgn="base">
              <a:spcBef>
                <a:spcPct val="0"/>
              </a:spcBef>
              <a:spcAft>
                <a:spcPct val="0"/>
              </a:spcAft>
            </a:pPr>
            <a:endParaRPr lang="nl-NL" sz="800">
              <a:solidFill>
                <a:srgbClr val="808080"/>
              </a:solidFill>
              <a:latin typeface="Gill Sans Nova Light" panose="020B0402020204020203" pitchFamily="34" charset="0"/>
            </a:endParaRPr>
          </a:p>
        </p:txBody>
      </p:sp>
      <p:sp>
        <p:nvSpPr>
          <p:cNvPr id="3" name="TextBox 2"/>
          <p:cNvSpPr txBox="1"/>
          <p:nvPr/>
        </p:nvSpPr>
        <p:spPr>
          <a:xfrm>
            <a:off x="11626139" y="6566444"/>
            <a:ext cx="284012" cy="155496"/>
          </a:xfrm>
          <a:prstGeom prst="rect">
            <a:avLst/>
          </a:prstGeom>
          <a:noFill/>
        </p:spPr>
        <p:txBody>
          <a:bodyPr vert="horz" wrap="none" lIns="0" tIns="0" rIns="0" bIns="0" rtlCol="0">
            <a:noAutofit/>
          </a:bodyPr>
          <a:lstStyle/>
          <a:p>
            <a:pPr defTabSz="914332" fontAlgn="base">
              <a:spcBef>
                <a:spcPct val="0"/>
              </a:spcBef>
              <a:spcAft>
                <a:spcPct val="0"/>
              </a:spcAft>
            </a:pPr>
            <a:endParaRPr lang="nl-NL" sz="1100">
              <a:solidFill>
                <a:srgbClr val="000000"/>
              </a:solidFill>
              <a:latin typeface="Gill Sans Nova Light" panose="020B0402020204020203" pitchFamily="34" charset="0"/>
            </a:endParaRPr>
          </a:p>
        </p:txBody>
      </p:sp>
    </p:spTree>
    <p:extLst>
      <p:ext uri="{BB962C8B-B14F-4D97-AF65-F5344CB8AC3E}">
        <p14:creationId xmlns:p14="http://schemas.microsoft.com/office/powerpoint/2010/main" val="36089234"/>
      </p:ext>
    </p:extLst>
  </p:cSld>
  <p:clrMapOvr>
    <a:masterClrMapping/>
  </p:clrMapOvr>
  <p:extLst>
    <p:ext uri="{DCECCB84-F9BA-43D5-87BE-67443E8EF086}">
      <p15:sldGuideLst xmlns:p15="http://schemas.microsoft.com/office/powerpoint/2012/main">
        <p15:guide id="1" pos="4276">
          <p15:clr>
            <a:srgbClr val="F26B43"/>
          </p15:clr>
        </p15:guide>
        <p15:guide id="2" pos="58">
          <p15:clr>
            <a:srgbClr val="F26B43"/>
          </p15:clr>
        </p15:guide>
        <p15:guide id="3" orient="horz" pos="178">
          <p15:clr>
            <a:srgbClr val="F26B43"/>
          </p15:clr>
        </p15:guide>
        <p15:guide id="4" orient="horz" pos="2408">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85207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20992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43" y="2652042"/>
            <a:ext cx="2556327" cy="86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51"/>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900">
                <a:latin typeface="+mn-lt"/>
                <a:ea typeface="+mn-ea"/>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lIns="91430" tIns="45718" rIns="91430" bIns="45718" rtlCol="0" anchor="ctr"/>
          <a:lstStyle/>
          <a:p>
            <a:pPr marL="0" marR="0" lvl="0" indent="0" algn="ctr" defTabSz="914282" eaLnBrk="1" fontAlgn="auto" latinLnBrk="0" hangingPunct="1">
              <a:lnSpc>
                <a:spcPct val="100000"/>
              </a:lnSpc>
              <a:spcBef>
                <a:spcPts val="0"/>
              </a:spcBef>
              <a:spcAft>
                <a:spcPts val="0"/>
              </a:spcAft>
              <a:buClrTx/>
              <a:buSzTx/>
              <a:buFontTx/>
              <a:buNone/>
              <a:tabLst/>
              <a:defRPr/>
            </a:pPr>
            <a:endParaRPr kumimoji="0" lang="nl-NL" sz="19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815378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13455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103427"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7"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Tree>
    <p:extLst>
      <p:ext uri="{BB962C8B-B14F-4D97-AF65-F5344CB8AC3E}">
        <p14:creationId xmlns:p14="http://schemas.microsoft.com/office/powerpoint/2010/main" val="3705172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104451"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ndada" panose="02000000000000000000" pitchFamily="50" charset="-18"/>
              <a:ea typeface="ＭＳ Ｐゴシック" panose="020B0600070205080204" pitchFamily="34" charset="-128"/>
              <a:cs typeface="+mj-cs"/>
              <a:sym typeface="Andada" panose="02000000000000000000" pitchFamily="50" charset="-18"/>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en-US" noProof="0"/>
              <a:t>Click to edit Master title 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7"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en-US" noProof="0"/>
              <a:t>Click to edit Master subtitle 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Tree>
    <p:extLst>
      <p:ext uri="{BB962C8B-B14F-4D97-AF65-F5344CB8AC3E}">
        <p14:creationId xmlns:p14="http://schemas.microsoft.com/office/powerpoint/2010/main" val="1177772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0945"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4" y="6"/>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nl-NL" sz="2800" b="0" i="0" baseline="0">
              <a:solidFill>
                <a:schemeClr val="bg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1"/>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800"/>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spcBef>
                <a:spcPts val="300"/>
              </a:spcBef>
              <a:spcAft>
                <a:spcPts val="300"/>
              </a:spcAft>
            </a:pPr>
            <a:endParaRPr lang="nl-NL" sz="1600">
              <a:solidFill>
                <a:schemeClr val="bg1"/>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70"/>
            <a:ext cx="4408291" cy="387799"/>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8" y="6493628"/>
            <a:ext cx="325501" cy="143629"/>
          </a:xfrm>
          <a:prstGeom prst="rect">
            <a:avLst/>
          </a:prstGeom>
          <a:noFill/>
          <a:ln w="9525" algn="ctr">
            <a:noFill/>
            <a:miter lim="800000"/>
            <a:headEnd/>
            <a:tailEnd/>
          </a:ln>
          <a:effectLst/>
        </p:spPr>
        <p:txBody>
          <a:bodyPr wrap="square" lIns="0" tIns="0" rIns="0" bIns="0" anchor="b">
            <a:spAutoFit/>
          </a:bodyPr>
          <a:lstStyle/>
          <a:p>
            <a:pPr algn="r" defTabSz="610663" fontAlgn="auto">
              <a:spcBef>
                <a:spcPts val="0"/>
              </a:spcBef>
              <a:spcAft>
                <a:spcPts val="0"/>
              </a:spcAft>
              <a:defRPr/>
            </a:pPr>
            <a:fld id="{4ABDCABE-3F10-B64C-92F1-862014417034}" type="slidenum">
              <a:rPr lang="nl-NL" sz="900" smtClean="0">
                <a:solidFill>
                  <a:schemeClr val="tx1"/>
                </a:solidFill>
                <a:latin typeface="Andada" panose="02000000000000000000" pitchFamily="50" charset="0"/>
                <a:ea typeface="+mn-ea"/>
                <a:cs typeface="Arial" panose="020B0604020202020204" pitchFamily="34" charset="0"/>
              </a:rPr>
              <a:pPr algn="r" defTabSz="610663" fontAlgn="auto">
                <a:spcBef>
                  <a:spcPts val="0"/>
                </a:spcBef>
                <a:spcAft>
                  <a:spcPts val="0"/>
                </a:spcAft>
                <a:defRPr/>
              </a:pPr>
              <a:t>‹nr.›</a:t>
            </a:fld>
            <a:endParaRPr lang="nl-NL" sz="900">
              <a:solidFill>
                <a:schemeClr val="tx1"/>
              </a:solidFill>
              <a:latin typeface="Andada" panose="02000000000000000000" pitchFamily="50" charset="0"/>
              <a:ea typeface="+mn-ea"/>
              <a:cs typeface="Arial" panose="020B0604020202020204" pitchFamily="34" charset="0"/>
            </a:endParaRPr>
          </a:p>
        </p:txBody>
      </p:sp>
    </p:spTree>
    <p:extLst>
      <p:ext uri="{BB962C8B-B14F-4D97-AF65-F5344CB8AC3E}">
        <p14:creationId xmlns:p14="http://schemas.microsoft.com/office/powerpoint/2010/main" val="18065145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1969"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4" y="6"/>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nl-NL" sz="2800" b="0" i="0" baseline="0">
              <a:solidFill>
                <a:schemeClr val="bg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1"/>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800"/>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spcBef>
                <a:spcPts val="300"/>
              </a:spcBef>
              <a:spcAft>
                <a:spcPts val="300"/>
              </a:spcAft>
            </a:pPr>
            <a:endParaRPr lang="nl-NL" sz="1600">
              <a:solidFill>
                <a:schemeClr val="bg1"/>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70"/>
            <a:ext cx="4408291" cy="387799"/>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8" y="6493628"/>
            <a:ext cx="325501" cy="143629"/>
          </a:xfrm>
          <a:prstGeom prst="rect">
            <a:avLst/>
          </a:prstGeom>
          <a:noFill/>
          <a:ln w="9525" algn="ctr">
            <a:noFill/>
            <a:miter lim="800000"/>
            <a:headEnd/>
            <a:tailEnd/>
          </a:ln>
          <a:effectLst/>
        </p:spPr>
        <p:txBody>
          <a:bodyPr wrap="square" lIns="0" tIns="0" rIns="0" bIns="0" anchor="b">
            <a:spAutoFit/>
          </a:bodyPr>
          <a:lstStyle/>
          <a:p>
            <a:pPr algn="r" defTabSz="610663" fontAlgn="auto">
              <a:spcBef>
                <a:spcPts val="0"/>
              </a:spcBef>
              <a:spcAft>
                <a:spcPts val="0"/>
              </a:spcAft>
              <a:defRPr/>
            </a:pPr>
            <a:fld id="{4ABDCABE-3F10-B64C-92F1-862014417034}" type="slidenum">
              <a:rPr lang="nl-NL" sz="900" smtClean="0">
                <a:solidFill>
                  <a:schemeClr val="tx1"/>
                </a:solidFill>
                <a:latin typeface="Andada" panose="02000000000000000000" pitchFamily="50" charset="0"/>
                <a:ea typeface="+mn-ea"/>
                <a:cs typeface="Arial" panose="020B0604020202020204" pitchFamily="34" charset="0"/>
              </a:rPr>
              <a:pPr algn="r" defTabSz="610663" fontAlgn="auto">
                <a:spcBef>
                  <a:spcPts val="0"/>
                </a:spcBef>
                <a:spcAft>
                  <a:spcPts val="0"/>
                </a:spcAft>
                <a:defRPr/>
              </a:pPr>
              <a:t>‹nr.›</a:t>
            </a:fld>
            <a:endParaRPr lang="nl-NL" sz="900">
              <a:solidFill>
                <a:schemeClr val="tx1"/>
              </a:solidFill>
              <a:latin typeface="Andada" panose="02000000000000000000" pitchFamily="50" charset="0"/>
              <a:ea typeface="+mn-ea"/>
              <a:cs typeface="Arial" panose="020B0604020202020204" pitchFamily="34" charset="0"/>
            </a:endParaRPr>
          </a:p>
        </p:txBody>
      </p:sp>
    </p:spTree>
    <p:extLst>
      <p:ext uri="{BB962C8B-B14F-4D97-AF65-F5344CB8AC3E}">
        <p14:creationId xmlns:p14="http://schemas.microsoft.com/office/powerpoint/2010/main" val="44617541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3.xml"/><Relationship Id="rId21" Type="http://schemas.openxmlformats.org/officeDocument/2006/relationships/tags" Target="../tags/tag8.xml"/><Relationship Id="rId42" Type="http://schemas.openxmlformats.org/officeDocument/2006/relationships/tags" Target="../tags/tag29.xml"/><Relationship Id="rId47" Type="http://schemas.openxmlformats.org/officeDocument/2006/relationships/tags" Target="../tags/tag34.xml"/><Relationship Id="rId63" Type="http://schemas.openxmlformats.org/officeDocument/2006/relationships/tags" Target="../tags/tag50.xml"/><Relationship Id="rId68" Type="http://schemas.openxmlformats.org/officeDocument/2006/relationships/tags" Target="../tags/tag55.xml"/><Relationship Id="rId16" Type="http://schemas.openxmlformats.org/officeDocument/2006/relationships/tags" Target="../tags/tag3.xml"/><Relationship Id="rId11" Type="http://schemas.openxmlformats.org/officeDocument/2006/relationships/slideLayout" Target="../slideLayouts/slideLayout11.xml"/><Relationship Id="rId32" Type="http://schemas.openxmlformats.org/officeDocument/2006/relationships/tags" Target="../tags/tag19.xml"/><Relationship Id="rId37" Type="http://schemas.openxmlformats.org/officeDocument/2006/relationships/tags" Target="../tags/tag24.xml"/><Relationship Id="rId53" Type="http://schemas.openxmlformats.org/officeDocument/2006/relationships/tags" Target="../tags/tag40.xml"/><Relationship Id="rId58" Type="http://schemas.openxmlformats.org/officeDocument/2006/relationships/tags" Target="../tags/tag45.xml"/><Relationship Id="rId74" Type="http://schemas.openxmlformats.org/officeDocument/2006/relationships/tags" Target="../tags/tag61.xml"/><Relationship Id="rId79" Type="http://schemas.openxmlformats.org/officeDocument/2006/relationships/tags" Target="../tags/tag66.xml"/><Relationship Id="rId5" Type="http://schemas.openxmlformats.org/officeDocument/2006/relationships/slideLayout" Target="../slideLayouts/slideLayout5.xml"/><Relationship Id="rId61" Type="http://schemas.openxmlformats.org/officeDocument/2006/relationships/tags" Target="../tags/tag48.xml"/><Relationship Id="rId82" Type="http://schemas.openxmlformats.org/officeDocument/2006/relationships/oleObject" Target="../embeddings/oleObject1.bin"/><Relationship Id="rId19" Type="http://schemas.openxmlformats.org/officeDocument/2006/relationships/tags" Target="../tags/tag6.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48" Type="http://schemas.openxmlformats.org/officeDocument/2006/relationships/tags" Target="../tags/tag35.xml"/><Relationship Id="rId56" Type="http://schemas.openxmlformats.org/officeDocument/2006/relationships/tags" Target="../tags/tag43.xml"/><Relationship Id="rId64" Type="http://schemas.openxmlformats.org/officeDocument/2006/relationships/tags" Target="../tags/tag51.xml"/><Relationship Id="rId69" Type="http://schemas.openxmlformats.org/officeDocument/2006/relationships/tags" Target="../tags/tag56.xml"/><Relationship Id="rId77" Type="http://schemas.openxmlformats.org/officeDocument/2006/relationships/tags" Target="../tags/tag64.xml"/><Relationship Id="rId8" Type="http://schemas.openxmlformats.org/officeDocument/2006/relationships/slideLayout" Target="../slideLayouts/slideLayout8.xml"/><Relationship Id="rId51" Type="http://schemas.openxmlformats.org/officeDocument/2006/relationships/tags" Target="../tags/tag38.xml"/><Relationship Id="rId72" Type="http://schemas.openxmlformats.org/officeDocument/2006/relationships/tags" Target="../tags/tag59.xml"/><Relationship Id="rId80" Type="http://schemas.openxmlformats.org/officeDocument/2006/relationships/tags" Target="../tags/tag67.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tags" Target="../tags/tag33.xml"/><Relationship Id="rId59" Type="http://schemas.openxmlformats.org/officeDocument/2006/relationships/tags" Target="../tags/tag46.xml"/><Relationship Id="rId67" Type="http://schemas.openxmlformats.org/officeDocument/2006/relationships/tags" Target="../tags/tag54.xml"/><Relationship Id="rId20" Type="http://schemas.openxmlformats.org/officeDocument/2006/relationships/tags" Target="../tags/tag7.xml"/><Relationship Id="rId41" Type="http://schemas.openxmlformats.org/officeDocument/2006/relationships/tags" Target="../tags/tag28.xml"/><Relationship Id="rId54" Type="http://schemas.openxmlformats.org/officeDocument/2006/relationships/tags" Target="../tags/tag41.xml"/><Relationship Id="rId62" Type="http://schemas.openxmlformats.org/officeDocument/2006/relationships/tags" Target="../tags/tag49.xml"/><Relationship Id="rId70" Type="http://schemas.openxmlformats.org/officeDocument/2006/relationships/tags" Target="../tags/tag57.xml"/><Relationship Id="rId75" Type="http://schemas.openxmlformats.org/officeDocument/2006/relationships/tags" Target="../tags/tag62.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49" Type="http://schemas.openxmlformats.org/officeDocument/2006/relationships/tags" Target="../tags/tag36.xml"/><Relationship Id="rId57" Type="http://schemas.openxmlformats.org/officeDocument/2006/relationships/tags" Target="../tags/tag44.xml"/><Relationship Id="rId10" Type="http://schemas.openxmlformats.org/officeDocument/2006/relationships/slideLayout" Target="../slideLayouts/slideLayout10.xml"/><Relationship Id="rId31" Type="http://schemas.openxmlformats.org/officeDocument/2006/relationships/tags" Target="../tags/tag18.xml"/><Relationship Id="rId44" Type="http://schemas.openxmlformats.org/officeDocument/2006/relationships/tags" Target="../tags/tag31.xml"/><Relationship Id="rId52" Type="http://schemas.openxmlformats.org/officeDocument/2006/relationships/tags" Target="../tags/tag39.xml"/><Relationship Id="rId60" Type="http://schemas.openxmlformats.org/officeDocument/2006/relationships/tags" Target="../tags/tag47.xml"/><Relationship Id="rId65" Type="http://schemas.openxmlformats.org/officeDocument/2006/relationships/tags" Target="../tags/tag52.xml"/><Relationship Id="rId73" Type="http://schemas.openxmlformats.org/officeDocument/2006/relationships/tags" Target="../tags/tag60.xml"/><Relationship Id="rId78" Type="http://schemas.openxmlformats.org/officeDocument/2006/relationships/tags" Target="../tags/tag65.xml"/><Relationship Id="rId81" Type="http://schemas.openxmlformats.org/officeDocument/2006/relationships/tags" Target="../tags/tag68.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theme" Target="../theme/theme1.xml"/><Relationship Id="rId18" Type="http://schemas.openxmlformats.org/officeDocument/2006/relationships/tags" Target="../tags/tag5.xml"/><Relationship Id="rId39" Type="http://schemas.openxmlformats.org/officeDocument/2006/relationships/tags" Target="../tags/tag26.xml"/><Relationship Id="rId34" Type="http://schemas.openxmlformats.org/officeDocument/2006/relationships/tags" Target="../tags/tag21.xml"/><Relationship Id="rId50" Type="http://schemas.openxmlformats.org/officeDocument/2006/relationships/tags" Target="../tags/tag37.xml"/><Relationship Id="rId55" Type="http://schemas.openxmlformats.org/officeDocument/2006/relationships/tags" Target="../tags/tag42.xml"/><Relationship Id="rId76" Type="http://schemas.openxmlformats.org/officeDocument/2006/relationships/tags" Target="../tags/tag63.xml"/><Relationship Id="rId7" Type="http://schemas.openxmlformats.org/officeDocument/2006/relationships/slideLayout" Target="../slideLayouts/slideLayout7.xml"/><Relationship Id="rId71" Type="http://schemas.openxmlformats.org/officeDocument/2006/relationships/tags" Target="../tags/tag58.xml"/><Relationship Id="rId2" Type="http://schemas.openxmlformats.org/officeDocument/2006/relationships/slideLayout" Target="../slideLayouts/slideLayout2.xml"/><Relationship Id="rId29" Type="http://schemas.openxmlformats.org/officeDocument/2006/relationships/tags" Target="../tags/tag16.xml"/><Relationship Id="rId24" Type="http://schemas.openxmlformats.org/officeDocument/2006/relationships/tags" Target="../tags/tag11.xml"/><Relationship Id="rId40" Type="http://schemas.openxmlformats.org/officeDocument/2006/relationships/tags" Target="../tags/tag27.xml"/><Relationship Id="rId45" Type="http://schemas.openxmlformats.org/officeDocument/2006/relationships/tags" Target="../tags/tag32.xml"/><Relationship Id="rId66" Type="http://schemas.openxmlformats.org/officeDocument/2006/relationships/tags" Target="../tags/tag53.xml"/></Relationships>
</file>

<file path=ppt/slideMasters/_rels/slideMaster2.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42" Type="http://schemas.openxmlformats.org/officeDocument/2006/relationships/tags" Target="../tags/tag133.xml"/><Relationship Id="rId47" Type="http://schemas.openxmlformats.org/officeDocument/2006/relationships/tags" Target="../tags/tag138.xml"/><Relationship Id="rId63" Type="http://schemas.openxmlformats.org/officeDocument/2006/relationships/tags" Target="../tags/tag154.xml"/><Relationship Id="rId68" Type="http://schemas.openxmlformats.org/officeDocument/2006/relationships/tags" Target="../tags/tag159.xml"/><Relationship Id="rId16" Type="http://schemas.openxmlformats.org/officeDocument/2006/relationships/tags" Target="../tags/tag107.xml"/><Relationship Id="rId11" Type="http://schemas.openxmlformats.org/officeDocument/2006/relationships/slideLayout" Target="../slideLayouts/slideLayout23.xml"/><Relationship Id="rId32" Type="http://schemas.openxmlformats.org/officeDocument/2006/relationships/tags" Target="../tags/tag123.xml"/><Relationship Id="rId37" Type="http://schemas.openxmlformats.org/officeDocument/2006/relationships/tags" Target="../tags/tag128.xml"/><Relationship Id="rId53" Type="http://schemas.openxmlformats.org/officeDocument/2006/relationships/tags" Target="../tags/tag144.xml"/><Relationship Id="rId58" Type="http://schemas.openxmlformats.org/officeDocument/2006/relationships/tags" Target="../tags/tag149.xml"/><Relationship Id="rId74" Type="http://schemas.openxmlformats.org/officeDocument/2006/relationships/tags" Target="../tags/tag165.xml"/><Relationship Id="rId79" Type="http://schemas.openxmlformats.org/officeDocument/2006/relationships/tags" Target="../tags/tag170.xml"/><Relationship Id="rId5" Type="http://schemas.openxmlformats.org/officeDocument/2006/relationships/slideLayout" Target="../slideLayouts/slideLayout17.xml"/><Relationship Id="rId61" Type="http://schemas.openxmlformats.org/officeDocument/2006/relationships/tags" Target="../tags/tag152.xml"/><Relationship Id="rId82" Type="http://schemas.openxmlformats.org/officeDocument/2006/relationships/image" Target="../media/image1.emf"/><Relationship Id="rId19" Type="http://schemas.openxmlformats.org/officeDocument/2006/relationships/tags" Target="../tags/tag11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tags" Target="../tags/tag155.xml"/><Relationship Id="rId69" Type="http://schemas.openxmlformats.org/officeDocument/2006/relationships/tags" Target="../tags/tag160.xml"/><Relationship Id="rId77" Type="http://schemas.openxmlformats.org/officeDocument/2006/relationships/tags" Target="../tags/tag168.xml"/><Relationship Id="rId8" Type="http://schemas.openxmlformats.org/officeDocument/2006/relationships/slideLayout" Target="../slideLayouts/slideLayout20.xml"/><Relationship Id="rId51" Type="http://schemas.openxmlformats.org/officeDocument/2006/relationships/tags" Target="../tags/tag142.xml"/><Relationship Id="rId72" Type="http://schemas.openxmlformats.org/officeDocument/2006/relationships/tags" Target="../tags/tag163.xml"/><Relationship Id="rId80" Type="http://schemas.openxmlformats.org/officeDocument/2006/relationships/tags" Target="../tags/tag171.xml"/><Relationship Id="rId3"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67" Type="http://schemas.openxmlformats.org/officeDocument/2006/relationships/tags" Target="../tags/tag158.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tags" Target="../tags/tag153.xml"/><Relationship Id="rId70" Type="http://schemas.openxmlformats.org/officeDocument/2006/relationships/tags" Target="../tags/tag161.xml"/><Relationship Id="rId75" Type="http://schemas.openxmlformats.org/officeDocument/2006/relationships/tags" Target="../tags/tag16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slideLayout" Target="../slideLayouts/slideLayout22.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tags" Target="../tags/tag156.xml"/><Relationship Id="rId73" Type="http://schemas.openxmlformats.org/officeDocument/2006/relationships/tags" Target="../tags/tag164.xml"/><Relationship Id="rId78" Type="http://schemas.openxmlformats.org/officeDocument/2006/relationships/tags" Target="../tags/tag169.xml"/><Relationship Id="rId81" Type="http://schemas.openxmlformats.org/officeDocument/2006/relationships/oleObject" Target="../embeddings/oleObject14.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3" Type="http://schemas.openxmlformats.org/officeDocument/2006/relationships/vmlDrawing" Target="../drawings/vmlDrawing14.vml"/><Relationship Id="rId18" Type="http://schemas.openxmlformats.org/officeDocument/2006/relationships/tags" Target="../tags/tag109.xml"/><Relationship Id="rId39" Type="http://schemas.openxmlformats.org/officeDocument/2006/relationships/tags" Target="../tags/tag130.xml"/><Relationship Id="rId34" Type="http://schemas.openxmlformats.org/officeDocument/2006/relationships/tags" Target="../tags/tag125.xml"/><Relationship Id="rId50" Type="http://schemas.openxmlformats.org/officeDocument/2006/relationships/tags" Target="../tags/tag141.xml"/><Relationship Id="rId55" Type="http://schemas.openxmlformats.org/officeDocument/2006/relationships/tags" Target="../tags/tag146.xml"/><Relationship Id="rId76" Type="http://schemas.openxmlformats.org/officeDocument/2006/relationships/tags" Target="../tags/tag167.xml"/><Relationship Id="rId7" Type="http://schemas.openxmlformats.org/officeDocument/2006/relationships/slideLayout" Target="../slideLayouts/slideLayout19.xml"/><Relationship Id="rId71" Type="http://schemas.openxmlformats.org/officeDocument/2006/relationships/tags" Target="../tags/tag162.xml"/><Relationship Id="rId2" Type="http://schemas.openxmlformats.org/officeDocument/2006/relationships/slideLayout" Target="../slideLayouts/slideLayout14.xml"/><Relationship Id="rId29" Type="http://schemas.openxmlformats.org/officeDocument/2006/relationships/tags" Target="../tags/tag120.xml"/><Relationship Id="rId24" Type="http://schemas.openxmlformats.org/officeDocument/2006/relationships/tags" Target="../tags/tag115.xml"/><Relationship Id="rId40" Type="http://schemas.openxmlformats.org/officeDocument/2006/relationships/tags" Target="../tags/tag131.xml"/><Relationship Id="rId45" Type="http://schemas.openxmlformats.org/officeDocument/2006/relationships/tags" Target="../tags/tag136.xml"/><Relationship Id="rId66" Type="http://schemas.openxmlformats.org/officeDocument/2006/relationships/tags" Target="../tags/tag157.xml"/></Relationships>
</file>

<file path=ppt/slideMasters/_rels/slideMaster3.xml.rels><?xml version="1.0" encoding="UTF-8" standalone="yes"?>
<Relationships xmlns="http://schemas.openxmlformats.org/package/2006/relationships"><Relationship Id="rId26" Type="http://schemas.openxmlformats.org/officeDocument/2006/relationships/tags" Target="../tags/tag208.xml"/><Relationship Id="rId21" Type="http://schemas.openxmlformats.org/officeDocument/2006/relationships/tags" Target="../tags/tag203.xml"/><Relationship Id="rId42" Type="http://schemas.openxmlformats.org/officeDocument/2006/relationships/tags" Target="../tags/tag224.xml"/><Relationship Id="rId47" Type="http://schemas.openxmlformats.org/officeDocument/2006/relationships/tags" Target="../tags/tag229.xml"/><Relationship Id="rId63" Type="http://schemas.openxmlformats.org/officeDocument/2006/relationships/tags" Target="../tags/tag245.xml"/><Relationship Id="rId68" Type="http://schemas.openxmlformats.org/officeDocument/2006/relationships/tags" Target="../tags/tag250.xml"/><Relationship Id="rId16" Type="http://schemas.openxmlformats.org/officeDocument/2006/relationships/tags" Target="../tags/tag198.xml"/><Relationship Id="rId11" Type="http://schemas.openxmlformats.org/officeDocument/2006/relationships/slideLayout" Target="../slideLayouts/slideLayout34.xml"/><Relationship Id="rId32" Type="http://schemas.openxmlformats.org/officeDocument/2006/relationships/tags" Target="../tags/tag214.xml"/><Relationship Id="rId37" Type="http://schemas.openxmlformats.org/officeDocument/2006/relationships/tags" Target="../tags/tag219.xml"/><Relationship Id="rId53" Type="http://schemas.openxmlformats.org/officeDocument/2006/relationships/tags" Target="../tags/tag235.xml"/><Relationship Id="rId58" Type="http://schemas.openxmlformats.org/officeDocument/2006/relationships/tags" Target="../tags/tag240.xml"/><Relationship Id="rId74" Type="http://schemas.openxmlformats.org/officeDocument/2006/relationships/tags" Target="../tags/tag256.xml"/><Relationship Id="rId79" Type="http://schemas.openxmlformats.org/officeDocument/2006/relationships/tags" Target="../tags/tag261.xml"/><Relationship Id="rId5" Type="http://schemas.openxmlformats.org/officeDocument/2006/relationships/slideLayout" Target="../slideLayouts/slideLayout28.xml"/><Relationship Id="rId61" Type="http://schemas.openxmlformats.org/officeDocument/2006/relationships/tags" Target="../tags/tag243.xml"/><Relationship Id="rId82" Type="http://schemas.openxmlformats.org/officeDocument/2006/relationships/oleObject" Target="../embeddings/oleObject25.bin"/><Relationship Id="rId19" Type="http://schemas.openxmlformats.org/officeDocument/2006/relationships/tags" Target="../tags/tag201.xml"/><Relationship Id="rId14" Type="http://schemas.openxmlformats.org/officeDocument/2006/relationships/theme" Target="../theme/theme3.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48" Type="http://schemas.openxmlformats.org/officeDocument/2006/relationships/tags" Target="../tags/tag230.xml"/><Relationship Id="rId56" Type="http://schemas.openxmlformats.org/officeDocument/2006/relationships/tags" Target="../tags/tag238.xml"/><Relationship Id="rId64" Type="http://schemas.openxmlformats.org/officeDocument/2006/relationships/tags" Target="../tags/tag246.xml"/><Relationship Id="rId69" Type="http://schemas.openxmlformats.org/officeDocument/2006/relationships/tags" Target="../tags/tag251.xml"/><Relationship Id="rId77" Type="http://schemas.openxmlformats.org/officeDocument/2006/relationships/tags" Target="../tags/tag259.xml"/><Relationship Id="rId8" Type="http://schemas.openxmlformats.org/officeDocument/2006/relationships/slideLayout" Target="../slideLayouts/slideLayout31.xml"/><Relationship Id="rId51" Type="http://schemas.openxmlformats.org/officeDocument/2006/relationships/tags" Target="../tags/tag233.xml"/><Relationship Id="rId72" Type="http://schemas.openxmlformats.org/officeDocument/2006/relationships/tags" Target="../tags/tag254.xml"/><Relationship Id="rId80" Type="http://schemas.openxmlformats.org/officeDocument/2006/relationships/tags" Target="../tags/tag262.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tags" Target="../tags/tag228.xml"/><Relationship Id="rId59" Type="http://schemas.openxmlformats.org/officeDocument/2006/relationships/tags" Target="../tags/tag241.xml"/><Relationship Id="rId67" Type="http://schemas.openxmlformats.org/officeDocument/2006/relationships/tags" Target="../tags/tag249.xml"/><Relationship Id="rId20" Type="http://schemas.openxmlformats.org/officeDocument/2006/relationships/tags" Target="../tags/tag202.xml"/><Relationship Id="rId41" Type="http://schemas.openxmlformats.org/officeDocument/2006/relationships/tags" Target="../tags/tag223.xml"/><Relationship Id="rId54" Type="http://schemas.openxmlformats.org/officeDocument/2006/relationships/tags" Target="../tags/tag236.xml"/><Relationship Id="rId62" Type="http://schemas.openxmlformats.org/officeDocument/2006/relationships/tags" Target="../tags/tag244.xml"/><Relationship Id="rId70" Type="http://schemas.openxmlformats.org/officeDocument/2006/relationships/tags" Target="../tags/tag252.xml"/><Relationship Id="rId75" Type="http://schemas.openxmlformats.org/officeDocument/2006/relationships/tags" Target="../tags/tag257.xml"/><Relationship Id="rId83"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5" Type="http://schemas.openxmlformats.org/officeDocument/2006/relationships/vmlDrawing" Target="../drawings/vmlDrawing25.v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49" Type="http://schemas.openxmlformats.org/officeDocument/2006/relationships/tags" Target="../tags/tag231.xml"/><Relationship Id="rId57" Type="http://schemas.openxmlformats.org/officeDocument/2006/relationships/tags" Target="../tags/tag239.xml"/><Relationship Id="rId10" Type="http://schemas.openxmlformats.org/officeDocument/2006/relationships/slideLayout" Target="../slideLayouts/slideLayout33.xml"/><Relationship Id="rId31" Type="http://schemas.openxmlformats.org/officeDocument/2006/relationships/tags" Target="../tags/tag213.xml"/><Relationship Id="rId44" Type="http://schemas.openxmlformats.org/officeDocument/2006/relationships/tags" Target="../tags/tag226.xml"/><Relationship Id="rId52" Type="http://schemas.openxmlformats.org/officeDocument/2006/relationships/tags" Target="../tags/tag234.xml"/><Relationship Id="rId60" Type="http://schemas.openxmlformats.org/officeDocument/2006/relationships/tags" Target="../tags/tag242.xml"/><Relationship Id="rId65" Type="http://schemas.openxmlformats.org/officeDocument/2006/relationships/tags" Target="../tags/tag247.xml"/><Relationship Id="rId73" Type="http://schemas.openxmlformats.org/officeDocument/2006/relationships/tags" Target="../tags/tag255.xml"/><Relationship Id="rId78" Type="http://schemas.openxmlformats.org/officeDocument/2006/relationships/tags" Target="../tags/tag260.xml"/><Relationship Id="rId81" Type="http://schemas.openxmlformats.org/officeDocument/2006/relationships/tags" Target="../tags/tag26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3" Type="http://schemas.openxmlformats.org/officeDocument/2006/relationships/slideLayout" Target="../slideLayouts/slideLayout36.xml"/><Relationship Id="rId18" Type="http://schemas.openxmlformats.org/officeDocument/2006/relationships/tags" Target="../tags/tag200.xml"/><Relationship Id="rId39" Type="http://schemas.openxmlformats.org/officeDocument/2006/relationships/tags" Target="../tags/tag221.xml"/><Relationship Id="rId34" Type="http://schemas.openxmlformats.org/officeDocument/2006/relationships/tags" Target="../tags/tag216.xml"/><Relationship Id="rId50" Type="http://schemas.openxmlformats.org/officeDocument/2006/relationships/tags" Target="../tags/tag232.xml"/><Relationship Id="rId55" Type="http://schemas.openxmlformats.org/officeDocument/2006/relationships/tags" Target="../tags/tag237.xml"/><Relationship Id="rId76" Type="http://schemas.openxmlformats.org/officeDocument/2006/relationships/tags" Target="../tags/tag258.xml"/><Relationship Id="rId7" Type="http://schemas.openxmlformats.org/officeDocument/2006/relationships/slideLayout" Target="../slideLayouts/slideLayout30.xml"/><Relationship Id="rId71" Type="http://schemas.openxmlformats.org/officeDocument/2006/relationships/tags" Target="../tags/tag253.xml"/><Relationship Id="rId2" Type="http://schemas.openxmlformats.org/officeDocument/2006/relationships/slideLayout" Target="../slideLayouts/slideLayout25.xml"/><Relationship Id="rId29" Type="http://schemas.openxmlformats.org/officeDocument/2006/relationships/tags" Target="../tags/tag211.xml"/><Relationship Id="rId24" Type="http://schemas.openxmlformats.org/officeDocument/2006/relationships/tags" Target="../tags/tag206.xml"/><Relationship Id="rId40" Type="http://schemas.openxmlformats.org/officeDocument/2006/relationships/tags" Target="../tags/tag222.xml"/><Relationship Id="rId45" Type="http://schemas.openxmlformats.org/officeDocument/2006/relationships/tags" Target="../tags/tag227.xml"/><Relationship Id="rId66" Type="http://schemas.openxmlformats.org/officeDocument/2006/relationships/tags" Target="../tags/tag248.xml"/></Relationships>
</file>

<file path=ppt/slideMasters/_rels/slideMaster4.xml.rels><?xml version="1.0" encoding="UTF-8" standalone="yes"?>
<Relationships xmlns="http://schemas.openxmlformats.org/package/2006/relationships"><Relationship Id="rId26" Type="http://schemas.openxmlformats.org/officeDocument/2006/relationships/tags" Target="../tags/tag301.xml"/><Relationship Id="rId21" Type="http://schemas.openxmlformats.org/officeDocument/2006/relationships/tags" Target="../tags/tag296.xml"/><Relationship Id="rId42" Type="http://schemas.openxmlformats.org/officeDocument/2006/relationships/tags" Target="../tags/tag317.xml"/><Relationship Id="rId47" Type="http://schemas.openxmlformats.org/officeDocument/2006/relationships/tags" Target="../tags/tag322.xml"/><Relationship Id="rId63" Type="http://schemas.openxmlformats.org/officeDocument/2006/relationships/tags" Target="../tags/tag338.xml"/><Relationship Id="rId68" Type="http://schemas.openxmlformats.org/officeDocument/2006/relationships/tags" Target="../tags/tag343.xml"/><Relationship Id="rId16" Type="http://schemas.openxmlformats.org/officeDocument/2006/relationships/tags" Target="../tags/tag291.xml"/><Relationship Id="rId11" Type="http://schemas.openxmlformats.org/officeDocument/2006/relationships/slideLayout" Target="../slideLayouts/slideLayout47.xml"/><Relationship Id="rId32" Type="http://schemas.openxmlformats.org/officeDocument/2006/relationships/tags" Target="../tags/tag307.xml"/><Relationship Id="rId37" Type="http://schemas.openxmlformats.org/officeDocument/2006/relationships/tags" Target="../tags/tag312.xml"/><Relationship Id="rId53" Type="http://schemas.openxmlformats.org/officeDocument/2006/relationships/tags" Target="../tags/tag328.xml"/><Relationship Id="rId58" Type="http://schemas.openxmlformats.org/officeDocument/2006/relationships/tags" Target="../tags/tag333.xml"/><Relationship Id="rId74" Type="http://schemas.openxmlformats.org/officeDocument/2006/relationships/tags" Target="../tags/tag349.xml"/><Relationship Id="rId79" Type="http://schemas.openxmlformats.org/officeDocument/2006/relationships/tags" Target="../tags/tag354.xml"/><Relationship Id="rId5" Type="http://schemas.openxmlformats.org/officeDocument/2006/relationships/slideLayout" Target="../slideLayouts/slideLayout41.xml"/><Relationship Id="rId61" Type="http://schemas.openxmlformats.org/officeDocument/2006/relationships/tags" Target="../tags/tag336.xml"/><Relationship Id="rId82" Type="http://schemas.openxmlformats.org/officeDocument/2006/relationships/oleObject" Target="../embeddings/oleObject37.bin"/><Relationship Id="rId19" Type="http://schemas.openxmlformats.org/officeDocument/2006/relationships/tags" Target="../tags/tag294.xml"/><Relationship Id="rId14" Type="http://schemas.openxmlformats.org/officeDocument/2006/relationships/vmlDrawing" Target="../drawings/vmlDrawing37.vml"/><Relationship Id="rId22" Type="http://schemas.openxmlformats.org/officeDocument/2006/relationships/tags" Target="../tags/tag297.xml"/><Relationship Id="rId27" Type="http://schemas.openxmlformats.org/officeDocument/2006/relationships/tags" Target="../tags/tag302.xml"/><Relationship Id="rId30" Type="http://schemas.openxmlformats.org/officeDocument/2006/relationships/tags" Target="../tags/tag305.xml"/><Relationship Id="rId35" Type="http://schemas.openxmlformats.org/officeDocument/2006/relationships/tags" Target="../tags/tag310.xml"/><Relationship Id="rId43" Type="http://schemas.openxmlformats.org/officeDocument/2006/relationships/tags" Target="../tags/tag318.xml"/><Relationship Id="rId48" Type="http://schemas.openxmlformats.org/officeDocument/2006/relationships/tags" Target="../tags/tag323.xml"/><Relationship Id="rId56" Type="http://schemas.openxmlformats.org/officeDocument/2006/relationships/tags" Target="../tags/tag331.xml"/><Relationship Id="rId64" Type="http://schemas.openxmlformats.org/officeDocument/2006/relationships/tags" Target="../tags/tag339.xml"/><Relationship Id="rId69" Type="http://schemas.openxmlformats.org/officeDocument/2006/relationships/tags" Target="../tags/tag344.xml"/><Relationship Id="rId77" Type="http://schemas.openxmlformats.org/officeDocument/2006/relationships/tags" Target="../tags/tag352.xml"/><Relationship Id="rId8" Type="http://schemas.openxmlformats.org/officeDocument/2006/relationships/slideLayout" Target="../slideLayouts/slideLayout44.xml"/><Relationship Id="rId51" Type="http://schemas.openxmlformats.org/officeDocument/2006/relationships/tags" Target="../tags/tag326.xml"/><Relationship Id="rId72" Type="http://schemas.openxmlformats.org/officeDocument/2006/relationships/tags" Target="../tags/tag347.xml"/><Relationship Id="rId80" Type="http://schemas.openxmlformats.org/officeDocument/2006/relationships/tags" Target="../tags/tag355.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tags" Target="../tags/tag292.xml"/><Relationship Id="rId25" Type="http://schemas.openxmlformats.org/officeDocument/2006/relationships/tags" Target="../tags/tag300.xml"/><Relationship Id="rId33" Type="http://schemas.openxmlformats.org/officeDocument/2006/relationships/tags" Target="../tags/tag308.xml"/><Relationship Id="rId38" Type="http://schemas.openxmlformats.org/officeDocument/2006/relationships/tags" Target="../tags/tag313.xml"/><Relationship Id="rId46" Type="http://schemas.openxmlformats.org/officeDocument/2006/relationships/tags" Target="../tags/tag321.xml"/><Relationship Id="rId59" Type="http://schemas.openxmlformats.org/officeDocument/2006/relationships/tags" Target="../tags/tag334.xml"/><Relationship Id="rId67" Type="http://schemas.openxmlformats.org/officeDocument/2006/relationships/tags" Target="../tags/tag342.xml"/><Relationship Id="rId20" Type="http://schemas.openxmlformats.org/officeDocument/2006/relationships/tags" Target="../tags/tag295.xml"/><Relationship Id="rId41" Type="http://schemas.openxmlformats.org/officeDocument/2006/relationships/tags" Target="../tags/tag316.xml"/><Relationship Id="rId54" Type="http://schemas.openxmlformats.org/officeDocument/2006/relationships/tags" Target="../tags/tag329.xml"/><Relationship Id="rId62" Type="http://schemas.openxmlformats.org/officeDocument/2006/relationships/tags" Target="../tags/tag337.xml"/><Relationship Id="rId70" Type="http://schemas.openxmlformats.org/officeDocument/2006/relationships/tags" Target="../tags/tag345.xml"/><Relationship Id="rId75" Type="http://schemas.openxmlformats.org/officeDocument/2006/relationships/tags" Target="../tags/tag350.xml"/><Relationship Id="rId83"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tags" Target="../tags/tag290.xml"/><Relationship Id="rId23" Type="http://schemas.openxmlformats.org/officeDocument/2006/relationships/tags" Target="../tags/tag298.xml"/><Relationship Id="rId28" Type="http://schemas.openxmlformats.org/officeDocument/2006/relationships/tags" Target="../tags/tag303.xml"/><Relationship Id="rId36" Type="http://schemas.openxmlformats.org/officeDocument/2006/relationships/tags" Target="../tags/tag311.xml"/><Relationship Id="rId49" Type="http://schemas.openxmlformats.org/officeDocument/2006/relationships/tags" Target="../tags/tag324.xml"/><Relationship Id="rId57" Type="http://schemas.openxmlformats.org/officeDocument/2006/relationships/tags" Target="../tags/tag332.xml"/><Relationship Id="rId10" Type="http://schemas.openxmlformats.org/officeDocument/2006/relationships/slideLayout" Target="../slideLayouts/slideLayout46.xml"/><Relationship Id="rId31" Type="http://schemas.openxmlformats.org/officeDocument/2006/relationships/tags" Target="../tags/tag306.xml"/><Relationship Id="rId44" Type="http://schemas.openxmlformats.org/officeDocument/2006/relationships/tags" Target="../tags/tag319.xml"/><Relationship Id="rId52" Type="http://schemas.openxmlformats.org/officeDocument/2006/relationships/tags" Target="../tags/tag327.xml"/><Relationship Id="rId60" Type="http://schemas.openxmlformats.org/officeDocument/2006/relationships/tags" Target="../tags/tag335.xml"/><Relationship Id="rId65" Type="http://schemas.openxmlformats.org/officeDocument/2006/relationships/tags" Target="../tags/tag340.xml"/><Relationship Id="rId73" Type="http://schemas.openxmlformats.org/officeDocument/2006/relationships/tags" Target="../tags/tag348.xml"/><Relationship Id="rId78" Type="http://schemas.openxmlformats.org/officeDocument/2006/relationships/tags" Target="../tags/tag353.xml"/><Relationship Id="rId81" Type="http://schemas.openxmlformats.org/officeDocument/2006/relationships/tags" Target="../tags/tag35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theme" Target="../theme/theme4.xml"/><Relationship Id="rId18" Type="http://schemas.openxmlformats.org/officeDocument/2006/relationships/tags" Target="../tags/tag293.xml"/><Relationship Id="rId39" Type="http://schemas.openxmlformats.org/officeDocument/2006/relationships/tags" Target="../tags/tag314.xml"/><Relationship Id="rId34" Type="http://schemas.openxmlformats.org/officeDocument/2006/relationships/tags" Target="../tags/tag309.xml"/><Relationship Id="rId50" Type="http://schemas.openxmlformats.org/officeDocument/2006/relationships/tags" Target="../tags/tag325.xml"/><Relationship Id="rId55" Type="http://schemas.openxmlformats.org/officeDocument/2006/relationships/tags" Target="../tags/tag330.xml"/><Relationship Id="rId76" Type="http://schemas.openxmlformats.org/officeDocument/2006/relationships/tags" Target="../tags/tag351.xml"/><Relationship Id="rId7" Type="http://schemas.openxmlformats.org/officeDocument/2006/relationships/slideLayout" Target="../slideLayouts/slideLayout43.xml"/><Relationship Id="rId71" Type="http://schemas.openxmlformats.org/officeDocument/2006/relationships/tags" Target="../tags/tag346.xml"/><Relationship Id="rId2" Type="http://schemas.openxmlformats.org/officeDocument/2006/relationships/slideLayout" Target="../slideLayouts/slideLayout38.xml"/><Relationship Id="rId29" Type="http://schemas.openxmlformats.org/officeDocument/2006/relationships/tags" Target="../tags/tag304.xml"/><Relationship Id="rId24" Type="http://schemas.openxmlformats.org/officeDocument/2006/relationships/tags" Target="../tags/tag299.xml"/><Relationship Id="rId40" Type="http://schemas.openxmlformats.org/officeDocument/2006/relationships/tags" Target="../tags/tag315.xml"/><Relationship Id="rId45" Type="http://schemas.openxmlformats.org/officeDocument/2006/relationships/tags" Target="../tags/tag320.xml"/><Relationship Id="rId66" Type="http://schemas.openxmlformats.org/officeDocument/2006/relationships/tags" Target="../tags/tag341.xml"/></Relationships>
</file>

<file path=ppt/slideMasters/_rels/slideMaster5.xml.rels><?xml version="1.0" encoding="UTF-8" standalone="yes"?>
<Relationships xmlns="http://schemas.openxmlformats.org/package/2006/relationships"><Relationship Id="rId26" Type="http://schemas.openxmlformats.org/officeDocument/2006/relationships/tags" Target="../tags/tag396.xml"/><Relationship Id="rId21" Type="http://schemas.openxmlformats.org/officeDocument/2006/relationships/tags" Target="../tags/tag391.xml"/><Relationship Id="rId42" Type="http://schemas.openxmlformats.org/officeDocument/2006/relationships/tags" Target="../tags/tag412.xml"/><Relationship Id="rId47" Type="http://schemas.openxmlformats.org/officeDocument/2006/relationships/tags" Target="../tags/tag417.xml"/><Relationship Id="rId63" Type="http://schemas.openxmlformats.org/officeDocument/2006/relationships/tags" Target="../tags/tag433.xml"/><Relationship Id="rId68" Type="http://schemas.openxmlformats.org/officeDocument/2006/relationships/tags" Target="../tags/tag438.xml"/><Relationship Id="rId16" Type="http://schemas.openxmlformats.org/officeDocument/2006/relationships/tags" Target="../tags/tag386.xml"/><Relationship Id="rId11" Type="http://schemas.openxmlformats.org/officeDocument/2006/relationships/slideLayout" Target="../slideLayouts/slideLayout59.xml"/><Relationship Id="rId32" Type="http://schemas.openxmlformats.org/officeDocument/2006/relationships/tags" Target="../tags/tag402.xml"/><Relationship Id="rId37" Type="http://schemas.openxmlformats.org/officeDocument/2006/relationships/tags" Target="../tags/tag407.xml"/><Relationship Id="rId53" Type="http://schemas.openxmlformats.org/officeDocument/2006/relationships/tags" Target="../tags/tag423.xml"/><Relationship Id="rId58" Type="http://schemas.openxmlformats.org/officeDocument/2006/relationships/tags" Target="../tags/tag428.xml"/><Relationship Id="rId74" Type="http://schemas.openxmlformats.org/officeDocument/2006/relationships/tags" Target="../tags/tag444.xml"/><Relationship Id="rId79" Type="http://schemas.openxmlformats.org/officeDocument/2006/relationships/tags" Target="../tags/tag449.xml"/><Relationship Id="rId5" Type="http://schemas.openxmlformats.org/officeDocument/2006/relationships/slideLayout" Target="../slideLayouts/slideLayout53.xml"/><Relationship Id="rId61" Type="http://schemas.openxmlformats.org/officeDocument/2006/relationships/tags" Target="../tags/tag431.xml"/><Relationship Id="rId19" Type="http://schemas.openxmlformats.org/officeDocument/2006/relationships/tags" Target="../tags/tag38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tags" Target="../tags/tag400.xml"/><Relationship Id="rId35" Type="http://schemas.openxmlformats.org/officeDocument/2006/relationships/tags" Target="../tags/tag405.xml"/><Relationship Id="rId43" Type="http://schemas.openxmlformats.org/officeDocument/2006/relationships/tags" Target="../tags/tag413.xml"/><Relationship Id="rId48" Type="http://schemas.openxmlformats.org/officeDocument/2006/relationships/tags" Target="../tags/tag418.xml"/><Relationship Id="rId56" Type="http://schemas.openxmlformats.org/officeDocument/2006/relationships/tags" Target="../tags/tag426.xml"/><Relationship Id="rId64" Type="http://schemas.openxmlformats.org/officeDocument/2006/relationships/tags" Target="../tags/tag434.xml"/><Relationship Id="rId69" Type="http://schemas.openxmlformats.org/officeDocument/2006/relationships/tags" Target="../tags/tag439.xml"/><Relationship Id="rId77" Type="http://schemas.openxmlformats.org/officeDocument/2006/relationships/tags" Target="../tags/tag447.xml"/><Relationship Id="rId8" Type="http://schemas.openxmlformats.org/officeDocument/2006/relationships/slideLayout" Target="../slideLayouts/slideLayout56.xml"/><Relationship Id="rId51" Type="http://schemas.openxmlformats.org/officeDocument/2006/relationships/tags" Target="../tags/tag421.xml"/><Relationship Id="rId72" Type="http://schemas.openxmlformats.org/officeDocument/2006/relationships/tags" Target="../tags/tag442.xml"/><Relationship Id="rId80" Type="http://schemas.openxmlformats.org/officeDocument/2006/relationships/oleObject" Target="../embeddings/oleObject50.bin"/><Relationship Id="rId3" Type="http://schemas.openxmlformats.org/officeDocument/2006/relationships/slideLayout" Target="../slideLayouts/slideLayout51.xml"/><Relationship Id="rId12" Type="http://schemas.openxmlformats.org/officeDocument/2006/relationships/theme" Target="../theme/theme5.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tags" Target="../tags/tag403.xml"/><Relationship Id="rId38" Type="http://schemas.openxmlformats.org/officeDocument/2006/relationships/tags" Target="../tags/tag408.xml"/><Relationship Id="rId46" Type="http://schemas.openxmlformats.org/officeDocument/2006/relationships/tags" Target="../tags/tag416.xml"/><Relationship Id="rId59" Type="http://schemas.openxmlformats.org/officeDocument/2006/relationships/tags" Target="../tags/tag429.xml"/><Relationship Id="rId67" Type="http://schemas.openxmlformats.org/officeDocument/2006/relationships/tags" Target="../tags/tag437.xml"/><Relationship Id="rId20" Type="http://schemas.openxmlformats.org/officeDocument/2006/relationships/tags" Target="../tags/tag390.xml"/><Relationship Id="rId41" Type="http://schemas.openxmlformats.org/officeDocument/2006/relationships/tags" Target="../tags/tag411.xml"/><Relationship Id="rId54" Type="http://schemas.openxmlformats.org/officeDocument/2006/relationships/tags" Target="../tags/tag424.xml"/><Relationship Id="rId62" Type="http://schemas.openxmlformats.org/officeDocument/2006/relationships/tags" Target="../tags/tag432.xml"/><Relationship Id="rId70" Type="http://schemas.openxmlformats.org/officeDocument/2006/relationships/tags" Target="../tags/tag440.xml"/><Relationship Id="rId75" Type="http://schemas.openxmlformats.org/officeDocument/2006/relationships/tags" Target="../tags/tag44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tags" Target="../tags/tag398.xml"/><Relationship Id="rId36" Type="http://schemas.openxmlformats.org/officeDocument/2006/relationships/tags" Target="../tags/tag406.xml"/><Relationship Id="rId49" Type="http://schemas.openxmlformats.org/officeDocument/2006/relationships/tags" Target="../tags/tag419.xml"/><Relationship Id="rId57" Type="http://schemas.openxmlformats.org/officeDocument/2006/relationships/tags" Target="../tags/tag427.xml"/><Relationship Id="rId10" Type="http://schemas.openxmlformats.org/officeDocument/2006/relationships/slideLayout" Target="../slideLayouts/slideLayout58.xml"/><Relationship Id="rId31" Type="http://schemas.openxmlformats.org/officeDocument/2006/relationships/tags" Target="../tags/tag401.xml"/><Relationship Id="rId44" Type="http://schemas.openxmlformats.org/officeDocument/2006/relationships/tags" Target="../tags/tag414.xml"/><Relationship Id="rId52" Type="http://schemas.openxmlformats.org/officeDocument/2006/relationships/tags" Target="../tags/tag422.xml"/><Relationship Id="rId60" Type="http://schemas.openxmlformats.org/officeDocument/2006/relationships/tags" Target="../tags/tag430.xml"/><Relationship Id="rId65" Type="http://schemas.openxmlformats.org/officeDocument/2006/relationships/tags" Target="../tags/tag435.xml"/><Relationship Id="rId73" Type="http://schemas.openxmlformats.org/officeDocument/2006/relationships/tags" Target="../tags/tag443.xml"/><Relationship Id="rId78" Type="http://schemas.openxmlformats.org/officeDocument/2006/relationships/tags" Target="../tags/tag448.xml"/><Relationship Id="rId81"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3" Type="http://schemas.openxmlformats.org/officeDocument/2006/relationships/vmlDrawing" Target="../drawings/vmlDrawing50.vml"/><Relationship Id="rId18" Type="http://schemas.openxmlformats.org/officeDocument/2006/relationships/tags" Target="../tags/tag388.xml"/><Relationship Id="rId39" Type="http://schemas.openxmlformats.org/officeDocument/2006/relationships/tags" Target="../tags/tag409.xml"/><Relationship Id="rId34" Type="http://schemas.openxmlformats.org/officeDocument/2006/relationships/tags" Target="../tags/tag404.xml"/><Relationship Id="rId50" Type="http://schemas.openxmlformats.org/officeDocument/2006/relationships/tags" Target="../tags/tag420.xml"/><Relationship Id="rId55" Type="http://schemas.openxmlformats.org/officeDocument/2006/relationships/tags" Target="../tags/tag425.xml"/><Relationship Id="rId76" Type="http://schemas.openxmlformats.org/officeDocument/2006/relationships/tags" Target="../tags/tag446.xml"/><Relationship Id="rId7" Type="http://schemas.openxmlformats.org/officeDocument/2006/relationships/slideLayout" Target="../slideLayouts/slideLayout55.xml"/><Relationship Id="rId71" Type="http://schemas.openxmlformats.org/officeDocument/2006/relationships/tags" Target="../tags/tag441.xml"/><Relationship Id="rId2" Type="http://schemas.openxmlformats.org/officeDocument/2006/relationships/slideLayout" Target="../slideLayouts/slideLayout50.xml"/><Relationship Id="rId29" Type="http://schemas.openxmlformats.org/officeDocument/2006/relationships/tags" Target="../tags/tag399.xml"/><Relationship Id="rId24" Type="http://schemas.openxmlformats.org/officeDocument/2006/relationships/tags" Target="../tags/tag394.xml"/><Relationship Id="rId40" Type="http://schemas.openxmlformats.org/officeDocument/2006/relationships/tags" Target="../tags/tag410.xml"/><Relationship Id="rId45" Type="http://schemas.openxmlformats.org/officeDocument/2006/relationships/tags" Target="../tags/tag415.xml"/><Relationship Id="rId66" Type="http://schemas.openxmlformats.org/officeDocument/2006/relationships/tags" Target="../tags/tag436.xml"/></Relationships>
</file>

<file path=ppt/slideMasters/_rels/slideMaster6.xml.rels><?xml version="1.0" encoding="UTF-8" standalone="yes"?>
<Relationships xmlns="http://schemas.openxmlformats.org/package/2006/relationships"><Relationship Id="rId26" Type="http://schemas.openxmlformats.org/officeDocument/2006/relationships/tags" Target="../tags/tag485.xml"/><Relationship Id="rId21" Type="http://schemas.openxmlformats.org/officeDocument/2006/relationships/tags" Target="../tags/tag480.xml"/><Relationship Id="rId42" Type="http://schemas.openxmlformats.org/officeDocument/2006/relationships/tags" Target="../tags/tag501.xml"/><Relationship Id="rId47" Type="http://schemas.openxmlformats.org/officeDocument/2006/relationships/tags" Target="../tags/tag506.xml"/><Relationship Id="rId63" Type="http://schemas.openxmlformats.org/officeDocument/2006/relationships/tags" Target="../tags/tag522.xml"/><Relationship Id="rId68" Type="http://schemas.openxmlformats.org/officeDocument/2006/relationships/tags" Target="../tags/tag527.xml"/><Relationship Id="rId16" Type="http://schemas.openxmlformats.org/officeDocument/2006/relationships/tags" Target="../tags/tag475.xml"/><Relationship Id="rId11" Type="http://schemas.openxmlformats.org/officeDocument/2006/relationships/slideLayout" Target="../slideLayouts/slideLayout70.xml"/><Relationship Id="rId32" Type="http://schemas.openxmlformats.org/officeDocument/2006/relationships/tags" Target="../tags/tag491.xml"/><Relationship Id="rId37" Type="http://schemas.openxmlformats.org/officeDocument/2006/relationships/tags" Target="../tags/tag496.xml"/><Relationship Id="rId53" Type="http://schemas.openxmlformats.org/officeDocument/2006/relationships/tags" Target="../tags/tag512.xml"/><Relationship Id="rId58" Type="http://schemas.openxmlformats.org/officeDocument/2006/relationships/tags" Target="../tags/tag517.xml"/><Relationship Id="rId74" Type="http://schemas.openxmlformats.org/officeDocument/2006/relationships/tags" Target="../tags/tag533.xml"/><Relationship Id="rId79" Type="http://schemas.openxmlformats.org/officeDocument/2006/relationships/tags" Target="../tags/tag538.xml"/><Relationship Id="rId5" Type="http://schemas.openxmlformats.org/officeDocument/2006/relationships/slideLayout" Target="../slideLayouts/slideLayout64.xml"/><Relationship Id="rId61" Type="http://schemas.openxmlformats.org/officeDocument/2006/relationships/tags" Target="../tags/tag520.xml"/><Relationship Id="rId82" Type="http://schemas.openxmlformats.org/officeDocument/2006/relationships/oleObject" Target="../embeddings/oleObject60.bin"/><Relationship Id="rId19" Type="http://schemas.openxmlformats.org/officeDocument/2006/relationships/tags" Target="../tags/tag478.xml"/><Relationship Id="rId14" Type="http://schemas.openxmlformats.org/officeDocument/2006/relationships/theme" Target="../theme/theme6.xml"/><Relationship Id="rId22" Type="http://schemas.openxmlformats.org/officeDocument/2006/relationships/tags" Target="../tags/tag481.xml"/><Relationship Id="rId27" Type="http://schemas.openxmlformats.org/officeDocument/2006/relationships/tags" Target="../tags/tag486.xml"/><Relationship Id="rId30" Type="http://schemas.openxmlformats.org/officeDocument/2006/relationships/tags" Target="../tags/tag489.xml"/><Relationship Id="rId35" Type="http://schemas.openxmlformats.org/officeDocument/2006/relationships/tags" Target="../tags/tag494.xml"/><Relationship Id="rId43" Type="http://schemas.openxmlformats.org/officeDocument/2006/relationships/tags" Target="../tags/tag502.xml"/><Relationship Id="rId48" Type="http://schemas.openxmlformats.org/officeDocument/2006/relationships/tags" Target="../tags/tag507.xml"/><Relationship Id="rId56" Type="http://schemas.openxmlformats.org/officeDocument/2006/relationships/tags" Target="../tags/tag515.xml"/><Relationship Id="rId64" Type="http://schemas.openxmlformats.org/officeDocument/2006/relationships/tags" Target="../tags/tag523.xml"/><Relationship Id="rId69" Type="http://schemas.openxmlformats.org/officeDocument/2006/relationships/tags" Target="../tags/tag528.xml"/><Relationship Id="rId77" Type="http://schemas.openxmlformats.org/officeDocument/2006/relationships/tags" Target="../tags/tag536.xml"/><Relationship Id="rId8" Type="http://schemas.openxmlformats.org/officeDocument/2006/relationships/slideLayout" Target="../slideLayouts/slideLayout67.xml"/><Relationship Id="rId51" Type="http://schemas.openxmlformats.org/officeDocument/2006/relationships/tags" Target="../tags/tag510.xml"/><Relationship Id="rId72" Type="http://schemas.openxmlformats.org/officeDocument/2006/relationships/tags" Target="../tags/tag531.xml"/><Relationship Id="rId80" Type="http://schemas.openxmlformats.org/officeDocument/2006/relationships/tags" Target="../tags/tag539.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tags" Target="../tags/tag476.xml"/><Relationship Id="rId25" Type="http://schemas.openxmlformats.org/officeDocument/2006/relationships/tags" Target="../tags/tag484.xml"/><Relationship Id="rId33" Type="http://schemas.openxmlformats.org/officeDocument/2006/relationships/tags" Target="../tags/tag492.xml"/><Relationship Id="rId38" Type="http://schemas.openxmlformats.org/officeDocument/2006/relationships/tags" Target="../tags/tag497.xml"/><Relationship Id="rId46" Type="http://schemas.openxmlformats.org/officeDocument/2006/relationships/tags" Target="../tags/tag505.xml"/><Relationship Id="rId59" Type="http://schemas.openxmlformats.org/officeDocument/2006/relationships/tags" Target="../tags/tag518.xml"/><Relationship Id="rId67" Type="http://schemas.openxmlformats.org/officeDocument/2006/relationships/tags" Target="../tags/tag526.xml"/><Relationship Id="rId20" Type="http://schemas.openxmlformats.org/officeDocument/2006/relationships/tags" Target="../tags/tag479.xml"/><Relationship Id="rId41" Type="http://schemas.openxmlformats.org/officeDocument/2006/relationships/tags" Target="../tags/tag500.xml"/><Relationship Id="rId54" Type="http://schemas.openxmlformats.org/officeDocument/2006/relationships/tags" Target="../tags/tag513.xml"/><Relationship Id="rId62" Type="http://schemas.openxmlformats.org/officeDocument/2006/relationships/tags" Target="../tags/tag521.xml"/><Relationship Id="rId70" Type="http://schemas.openxmlformats.org/officeDocument/2006/relationships/tags" Target="../tags/tag529.xml"/><Relationship Id="rId75" Type="http://schemas.openxmlformats.org/officeDocument/2006/relationships/tags" Target="../tags/tag534.xml"/><Relationship Id="rId83" Type="http://schemas.openxmlformats.org/officeDocument/2006/relationships/image" Target="../media/image1.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5" Type="http://schemas.openxmlformats.org/officeDocument/2006/relationships/vmlDrawing" Target="../drawings/vmlDrawing60.vml"/><Relationship Id="rId23" Type="http://schemas.openxmlformats.org/officeDocument/2006/relationships/tags" Target="../tags/tag482.xml"/><Relationship Id="rId28" Type="http://schemas.openxmlformats.org/officeDocument/2006/relationships/tags" Target="../tags/tag487.xml"/><Relationship Id="rId36" Type="http://schemas.openxmlformats.org/officeDocument/2006/relationships/tags" Target="../tags/tag495.xml"/><Relationship Id="rId49" Type="http://schemas.openxmlformats.org/officeDocument/2006/relationships/tags" Target="../tags/tag508.xml"/><Relationship Id="rId57" Type="http://schemas.openxmlformats.org/officeDocument/2006/relationships/tags" Target="../tags/tag516.xml"/><Relationship Id="rId10" Type="http://schemas.openxmlformats.org/officeDocument/2006/relationships/slideLayout" Target="../slideLayouts/slideLayout69.xml"/><Relationship Id="rId31" Type="http://schemas.openxmlformats.org/officeDocument/2006/relationships/tags" Target="../tags/tag490.xml"/><Relationship Id="rId44" Type="http://schemas.openxmlformats.org/officeDocument/2006/relationships/tags" Target="../tags/tag503.xml"/><Relationship Id="rId52" Type="http://schemas.openxmlformats.org/officeDocument/2006/relationships/tags" Target="../tags/tag511.xml"/><Relationship Id="rId60" Type="http://schemas.openxmlformats.org/officeDocument/2006/relationships/tags" Target="../tags/tag519.xml"/><Relationship Id="rId65" Type="http://schemas.openxmlformats.org/officeDocument/2006/relationships/tags" Target="../tags/tag524.xml"/><Relationship Id="rId73" Type="http://schemas.openxmlformats.org/officeDocument/2006/relationships/tags" Target="../tags/tag532.xml"/><Relationship Id="rId78" Type="http://schemas.openxmlformats.org/officeDocument/2006/relationships/tags" Target="../tags/tag537.xml"/><Relationship Id="rId81" Type="http://schemas.openxmlformats.org/officeDocument/2006/relationships/tags" Target="../tags/tag54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3" Type="http://schemas.openxmlformats.org/officeDocument/2006/relationships/slideLayout" Target="../slideLayouts/slideLayout72.xml"/><Relationship Id="rId18" Type="http://schemas.openxmlformats.org/officeDocument/2006/relationships/tags" Target="../tags/tag477.xml"/><Relationship Id="rId39" Type="http://schemas.openxmlformats.org/officeDocument/2006/relationships/tags" Target="../tags/tag498.xml"/><Relationship Id="rId34" Type="http://schemas.openxmlformats.org/officeDocument/2006/relationships/tags" Target="../tags/tag493.xml"/><Relationship Id="rId50" Type="http://schemas.openxmlformats.org/officeDocument/2006/relationships/tags" Target="../tags/tag509.xml"/><Relationship Id="rId55" Type="http://schemas.openxmlformats.org/officeDocument/2006/relationships/tags" Target="../tags/tag514.xml"/><Relationship Id="rId76" Type="http://schemas.openxmlformats.org/officeDocument/2006/relationships/tags" Target="../tags/tag535.xml"/><Relationship Id="rId7" Type="http://schemas.openxmlformats.org/officeDocument/2006/relationships/slideLayout" Target="../slideLayouts/slideLayout66.xml"/><Relationship Id="rId71" Type="http://schemas.openxmlformats.org/officeDocument/2006/relationships/tags" Target="../tags/tag530.xml"/><Relationship Id="rId2" Type="http://schemas.openxmlformats.org/officeDocument/2006/relationships/slideLayout" Target="../slideLayouts/slideLayout61.xml"/><Relationship Id="rId29" Type="http://schemas.openxmlformats.org/officeDocument/2006/relationships/tags" Target="../tags/tag488.xml"/><Relationship Id="rId24" Type="http://schemas.openxmlformats.org/officeDocument/2006/relationships/tags" Target="../tags/tag483.xml"/><Relationship Id="rId40" Type="http://schemas.openxmlformats.org/officeDocument/2006/relationships/tags" Target="../tags/tag499.xml"/><Relationship Id="rId45" Type="http://schemas.openxmlformats.org/officeDocument/2006/relationships/tags" Target="../tags/tag504.xml"/><Relationship Id="rId66" Type="http://schemas.openxmlformats.org/officeDocument/2006/relationships/tags" Target="../tags/tag5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5"/>
            </p:custDataLst>
          </p:nvPr>
        </p:nvGraphicFramePr>
        <p:xfrm>
          <a:off x="1" y="0"/>
          <a:ext cx="215979" cy="161975"/>
        </p:xfrm>
        <a:graphic>
          <a:graphicData uri="http://schemas.openxmlformats.org/presentationml/2006/ole">
            <mc:AlternateContent xmlns:mc="http://schemas.openxmlformats.org/markup-compatibility/2006">
              <mc:Choice xmlns:v="urn:schemas-microsoft-com:vml" Requires="v">
                <p:oleObj spid="_x0000_s202753"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 y="0"/>
                        <a:ext cx="215979"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6"/>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7"/>
            </p:custDataLst>
          </p:nvPr>
        </p:nvGrpSpPr>
        <p:grpSpPr>
          <a:xfrm>
            <a:off x="1036653" y="4748123"/>
            <a:ext cx="5079595" cy="1337991"/>
            <a:chOff x="5905500" y="3124200"/>
            <a:chExt cx="4978400" cy="1311354"/>
          </a:xfrm>
        </p:grpSpPr>
        <p:grpSp>
          <p:nvGrpSpPr>
            <p:cNvPr id="83" name="Group 82">
              <a:extLst>
                <a:ext uri="{FF2B5EF4-FFF2-40B4-BE49-F238E27FC236}">
                  <a16:creationId xmlns:a16="http://schemas.microsoft.com/office/drawing/2014/main" id="{827DA976-D5BE-4015-A977-74EA452DBA81}"/>
                </a:ext>
              </a:extLst>
            </p:cNvPr>
            <p:cNvGrpSpPr/>
            <p:nvPr>
              <p:custDataLst>
                <p:tags r:id="rId73"/>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8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81"/>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4"/>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9"/>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5"/>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7"/>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2"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2"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8"/>
            </p:custDataLst>
          </p:nvPr>
        </p:nvGrpSpPr>
        <p:grpSpPr>
          <a:xfrm>
            <a:off x="6290145" y="4748125"/>
            <a:ext cx="5079595" cy="1338409"/>
            <a:chOff x="5905500" y="3124200"/>
            <a:chExt cx="4978400" cy="1311765"/>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4"/>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71"/>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2"/>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5"/>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9"/>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70"/>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6"/>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8"/>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2"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2"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grpSp>
      <p:sp>
        <p:nvSpPr>
          <p:cNvPr id="1036" name="Rectangle 286"/>
          <p:cNvSpPr>
            <a:spLocks noGrp="1" noChangeArrowheads="1"/>
          </p:cNvSpPr>
          <p:nvPr>
            <p:ph type="body" idx="1"/>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
        <p:nvSpPr>
          <p:cNvPr id="19" name="Title"/>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r>
              <a:rPr lang="nl-NL" noProof="0"/>
              <a:t>Click </a:t>
            </a:r>
            <a:r>
              <a:rPr lang="nl-NL" noProof="0" err="1"/>
              <a:t>to</a:t>
            </a:r>
            <a:r>
              <a:rPr lang="nl-NL" noProof="0"/>
              <a:t> </a:t>
            </a:r>
            <a:r>
              <a:rPr lang="nl-NL" noProof="0" err="1"/>
              <a:t>edit</a:t>
            </a:r>
            <a:r>
              <a:rPr lang="nl-NL" noProof="0"/>
              <a:t> aster </a:t>
            </a:r>
            <a:r>
              <a:rPr lang="nl-NL" noProof="0" err="1"/>
              <a:t>title</a:t>
            </a:r>
            <a:r>
              <a:rPr lang="nl-NL" noProof="0"/>
              <a:t> </a:t>
            </a:r>
            <a:r>
              <a:rPr lang="nl-NL" noProof="0" err="1"/>
              <a:t>style</a:t>
            </a:r>
            <a:endParaRPr lang="nl-NL" noProof="0"/>
          </a:p>
        </p:txBody>
      </p:sp>
      <p:sp>
        <p:nvSpPr>
          <p:cNvPr id="3" name="Slide Number"/>
          <p:cNvSpPr>
            <a:spLocks/>
          </p:cNvSpPr>
          <p:nvPr/>
        </p:nvSpPr>
        <p:spPr bwMode="gray">
          <a:xfrm>
            <a:off x="11380785" y="6491064"/>
            <a:ext cx="256480" cy="169277"/>
          </a:xfrm>
          <a:prstGeom prst="rect">
            <a:avLst/>
          </a:prstGeom>
        </p:spPr>
        <p:txBody>
          <a:bodyPr vert="horz" wrap="none" lIns="0" tIns="0" rIns="0" bIns="0" rtlCol="0" anchor="ctr">
            <a:spAutoFit/>
          </a:bodyPr>
          <a:lstStyle/>
          <a:p>
            <a:pPr lvl="0" algn="r">
              <a:buClr>
                <a:schemeClr val="tx2"/>
              </a:buClr>
            </a:pPr>
            <a:fld id="{42C328C1-A84F-4A39-A664-DBA00541A8C6}" type="slidenum">
              <a:rPr lang="nl-NL" sz="1100" b="0" noProof="0" smtClean="0">
                <a:solidFill>
                  <a:schemeClr val="tx1"/>
                </a:solidFill>
                <a:latin typeface="+mn-lt"/>
                <a:ea typeface="+mn-ea"/>
                <a:sym typeface="+mn-lt"/>
              </a:rPr>
              <a:pPr lvl="0" algn="r">
                <a:buClr>
                  <a:schemeClr val="tx2"/>
                </a:buClr>
              </a:pPr>
              <a:t>‹nr.›</a:t>
            </a:fld>
            <a:endParaRPr lang="nl-NL" sz="1100" b="0" baseline="0" noProof="0">
              <a:solidFill>
                <a:schemeClr val="tx1"/>
              </a:solidFill>
              <a:latin typeface="+mn-lt"/>
              <a:ea typeface="+mn-ea"/>
              <a:sym typeface="+mn-lt"/>
            </a:endParaRPr>
          </a:p>
        </p:txBody>
      </p:sp>
      <p:sp>
        <p:nvSpPr>
          <p:cNvPr id="93" name="Oval" hidden="1"/>
          <p:cNvSpPr txBox="1">
            <a:spLocks/>
          </p:cNvSpPr>
          <p:nvPr>
            <p:custDataLst>
              <p:tags r:id="rId19"/>
            </p:custDataLst>
          </p:nvPr>
        </p:nvSpPr>
        <p:spPr bwMode="gray">
          <a:xfrm>
            <a:off x="6878925" y="1451181"/>
            <a:ext cx="1554979"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8" tIns="35998" rIns="35998" bIns="35998"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buClr>
                <a:schemeClr val="tx2"/>
              </a:buClr>
            </a:pPr>
            <a:r>
              <a:rPr lang="nl-NL" sz="1600" b="0" err="1">
                <a:solidFill>
                  <a:schemeClr val="tx1"/>
                </a:solidFill>
                <a:latin typeface="+mn-lt"/>
                <a:ea typeface="+mn-ea"/>
                <a:sym typeface="+mn-lt"/>
              </a:rPr>
              <a:t>Text</a:t>
            </a:r>
            <a:endParaRPr lang="nl-NL" sz="1600" b="0">
              <a:solidFill>
                <a:schemeClr val="tx1"/>
              </a:solidFill>
              <a:latin typeface="+mn-lt"/>
              <a:ea typeface="+mn-ea"/>
              <a:sym typeface="+mn-lt"/>
            </a:endParaRPr>
          </a:p>
        </p:txBody>
      </p:sp>
      <p:sp>
        <p:nvSpPr>
          <p:cNvPr id="94" name="Rectangle" hidden="1"/>
          <p:cNvSpPr txBox="1">
            <a:spLocks/>
          </p:cNvSpPr>
          <p:nvPr>
            <p:custDataLst>
              <p:tags r:id="rId20"/>
            </p:custDataLst>
          </p:nvPr>
        </p:nvSpPr>
        <p:spPr bwMode="gray">
          <a:xfrm>
            <a:off x="3524057" y="1451181"/>
            <a:ext cx="1554979" cy="1554955"/>
          </a:xfrm>
          <a:prstGeom prst="rect">
            <a:avLst/>
          </a:prstGeom>
          <a:solidFill>
            <a:schemeClr val="accent1"/>
          </a:solidFill>
          <a:ln w="9525">
            <a:solidFill>
              <a:schemeClr val="tx1"/>
            </a:solidFill>
            <a:miter lim="800000"/>
            <a:headEnd/>
            <a:tailEnd/>
          </a:ln>
          <a:effectLst/>
        </p:spPr>
        <p:txBody>
          <a:bodyPr vert="horz" wrap="square" lIns="71992" tIns="71992" rIns="71992" bIns="7199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err="1">
                <a:latin typeface="+mn-lt"/>
                <a:ea typeface="+mn-ea"/>
                <a:sym typeface="+mn-lt"/>
              </a:rPr>
              <a:t>Text</a:t>
            </a:r>
            <a:endParaRPr lang="nl-NL" sz="1600">
              <a:latin typeface="+mn-lt"/>
              <a:ea typeface="+mn-ea"/>
              <a:sym typeface="+mn-lt"/>
            </a:endParaRPr>
          </a:p>
        </p:txBody>
      </p:sp>
      <p:sp>
        <p:nvSpPr>
          <p:cNvPr id="95" name="RoundedRectangle" hidden="1"/>
          <p:cNvSpPr txBox="1">
            <a:spLocks/>
          </p:cNvSpPr>
          <p:nvPr>
            <p:custDataLst>
              <p:tags r:id="rId21"/>
            </p:custDataLst>
          </p:nvPr>
        </p:nvSpPr>
        <p:spPr bwMode="gray">
          <a:xfrm>
            <a:off x="5217041" y="1451181"/>
            <a:ext cx="1554979" cy="1554955"/>
          </a:xfrm>
          <a:prstGeom prst="roundRect">
            <a:avLst/>
          </a:prstGeom>
          <a:solidFill>
            <a:schemeClr val="accent1"/>
          </a:solidFill>
          <a:ln w="9525">
            <a:solidFill>
              <a:schemeClr val="tx1"/>
            </a:solidFill>
            <a:miter lim="800000"/>
            <a:headEnd/>
            <a:tailEnd/>
          </a:ln>
          <a:effectLst/>
        </p:spPr>
        <p:txBody>
          <a:bodyPr vert="horz" wrap="square" lIns="71992" tIns="71992" rIns="71992" bIns="7199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err="1">
                <a:latin typeface="+mn-lt"/>
                <a:ea typeface="+mn-ea"/>
                <a:sym typeface="+mn-lt"/>
              </a:rPr>
              <a:t>Text</a:t>
            </a:r>
            <a:endParaRPr lang="nl-NL" sz="1600">
              <a:latin typeface="+mn-lt"/>
              <a:ea typeface="+mn-ea"/>
              <a:sym typeface="+mn-lt"/>
            </a:endParaRPr>
          </a:p>
        </p:txBody>
      </p:sp>
      <p:sp>
        <p:nvSpPr>
          <p:cNvPr id="96" name="Arrow" hidden="1"/>
          <p:cNvSpPr txBox="1">
            <a:spLocks/>
          </p:cNvSpPr>
          <p:nvPr>
            <p:custDataLst>
              <p:tags r:id="rId22"/>
            </p:custDataLst>
          </p:nvPr>
        </p:nvSpPr>
        <p:spPr bwMode="gray">
          <a:xfrm>
            <a:off x="3490723" y="4223448"/>
            <a:ext cx="1865975"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2" tIns="71992" rIns="71992" bIns="7199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buClr>
                <a:schemeClr val="tx2"/>
              </a:buClr>
            </a:pPr>
            <a:r>
              <a:rPr lang="nl-NL" sz="1600" b="0" err="1">
                <a:solidFill>
                  <a:schemeClr val="tx1"/>
                </a:solidFill>
                <a:latin typeface="+mn-lt"/>
                <a:ea typeface="+mn-ea"/>
                <a:sym typeface="+mn-lt"/>
              </a:rPr>
              <a:t>Text</a:t>
            </a:r>
            <a:endParaRPr lang="nl-NL" sz="1600" b="0">
              <a:solidFill>
                <a:schemeClr val="tx1"/>
              </a:solidFill>
              <a:latin typeface="+mn-lt"/>
              <a:ea typeface="+mn-ea"/>
              <a:sym typeface="+mn-lt"/>
            </a:endParaRPr>
          </a:p>
        </p:txBody>
      </p:sp>
      <p:sp>
        <p:nvSpPr>
          <p:cNvPr id="97" name="DirArrow" hidden="1"/>
          <p:cNvSpPr>
            <a:spLocks noChangeArrowheads="1"/>
          </p:cNvSpPr>
          <p:nvPr>
            <p:custDataLst>
              <p:tags r:id="rId23"/>
            </p:custDataLst>
          </p:nvPr>
        </p:nvSpPr>
        <p:spPr bwMode="gray">
          <a:xfrm rot="5400000">
            <a:off x="7170384" y="2852711"/>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8" rIns="91430" bIns="45718" anchor="ctr"/>
          <a:lstStyle/>
          <a:p>
            <a:endParaRPr lang="nl-NL" sz="1600">
              <a:latin typeface="+mn-lt"/>
              <a:ea typeface="+mn-ea"/>
              <a:sym typeface="+mn-lt"/>
            </a:endParaRPr>
          </a:p>
        </p:txBody>
      </p:sp>
      <p:sp>
        <p:nvSpPr>
          <p:cNvPr id="98" name="Bracket" hidden="1"/>
          <p:cNvSpPr>
            <a:spLocks noChangeAspect="1"/>
          </p:cNvSpPr>
          <p:nvPr>
            <p:custDataLst>
              <p:tags r:id="rId24"/>
            </p:custDataLst>
          </p:nvPr>
        </p:nvSpPr>
        <p:spPr bwMode="gray">
          <a:xfrm>
            <a:off x="7584101" y="3148305"/>
            <a:ext cx="189515" cy="186594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8" rIns="91430" bIns="45718" anchor="ctr"/>
          <a:lstStyle/>
          <a:p>
            <a:endParaRPr lang="nl-NL" sz="1600" baseline="30000">
              <a:latin typeface="+mn-lt"/>
              <a:ea typeface="+mn-ea"/>
              <a:sym typeface="+mn-lt"/>
            </a:endParaRPr>
          </a:p>
        </p:txBody>
      </p:sp>
      <p:grpSp>
        <p:nvGrpSpPr>
          <p:cNvPr id="99" name="Flow" hidden="1"/>
          <p:cNvGrpSpPr>
            <a:grpSpLocks/>
          </p:cNvGrpSpPr>
          <p:nvPr>
            <p:custDataLst>
              <p:tags r:id="rId25"/>
            </p:custDataLst>
          </p:nvPr>
        </p:nvGrpSpPr>
        <p:grpSpPr bwMode="gray">
          <a:xfrm>
            <a:off x="3492963" y="3148304"/>
            <a:ext cx="1865975" cy="932973"/>
            <a:chOff x="5905500" y="3124200"/>
            <a:chExt cx="1828800" cy="914400"/>
          </a:xfrm>
        </p:grpSpPr>
        <p:sp>
          <p:nvSpPr>
            <p:cNvPr id="100" name="Freeform 99"/>
            <p:cNvSpPr/>
            <p:nvPr>
              <p:custDataLst>
                <p:tags r:id="rId62"/>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1" name="TextBox 100"/>
            <p:cNvSpPr txBox="1"/>
            <p:nvPr>
              <p:custDataLst>
                <p:tags r:id="rId63"/>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02" name="SplitFlow" hidden="1"/>
          <p:cNvGrpSpPr/>
          <p:nvPr>
            <p:custDataLst>
              <p:tags r:id="rId26"/>
            </p:custDataLst>
          </p:nvPr>
        </p:nvGrpSpPr>
        <p:grpSpPr bwMode="gray">
          <a:xfrm>
            <a:off x="5538535" y="3148304"/>
            <a:ext cx="1865975" cy="932973"/>
            <a:chOff x="114300" y="1270000"/>
            <a:chExt cx="1828800" cy="914400"/>
          </a:xfrm>
        </p:grpSpPr>
        <p:sp>
          <p:nvSpPr>
            <p:cNvPr id="103" name="Freeform 102"/>
            <p:cNvSpPr/>
            <p:nvPr>
              <p:custDataLst>
                <p:tags r:id="rId58"/>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4" name="TextBox 103"/>
            <p:cNvSpPr txBox="1"/>
            <p:nvPr>
              <p:custDataLst>
                <p:tags r:id="rId59"/>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05" name="Freeform 104"/>
            <p:cNvSpPr/>
            <p:nvPr>
              <p:custDataLst>
                <p:tags r:id="rId60"/>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6" name="TextBox 105"/>
            <p:cNvSpPr txBox="1"/>
            <p:nvPr>
              <p:custDataLst>
                <p:tags r:id="rId61"/>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23" name="Sticker" hidden="1"/>
          <p:cNvGrpSpPr/>
          <p:nvPr/>
        </p:nvGrpSpPr>
        <p:grpSpPr bwMode="gray">
          <a:xfrm>
            <a:off x="10970400" y="887192"/>
            <a:ext cx="666849" cy="241447"/>
            <a:chOff x="8087210" y="288162"/>
            <a:chExt cx="653565" cy="236638"/>
          </a:xfrm>
        </p:grpSpPr>
        <p:sp>
          <p:nvSpPr>
            <p:cNvPr id="124" name="StickerRectangle"/>
            <p:cNvSpPr>
              <a:spLocks noChangeArrowheads="1"/>
            </p:cNvSpPr>
            <p:nvPr/>
          </p:nvSpPr>
          <p:spPr bwMode="gray">
            <a:xfrm>
              <a:off x="8087210" y="288162"/>
              <a:ext cx="653565" cy="2366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236">
                <a:buClr>
                  <a:schemeClr val="tx2"/>
                </a:buClr>
              </a:pPr>
              <a:r>
                <a:rPr lang="nl-NL" sz="1200" noProof="0">
                  <a:solidFill>
                    <a:schemeClr val="tx1"/>
                  </a:solidFill>
                  <a:latin typeface="+mn-lt"/>
                  <a:ea typeface="+mn-ea"/>
                  <a:sym typeface="+mn-lt"/>
                </a:rPr>
                <a:t>STICKER</a:t>
              </a:r>
            </a:p>
          </p:txBody>
        </p:sp>
        <p:cxnSp>
          <p:nvCxnSpPr>
            <p:cNvPr id="125" name="AutoShape 32"/>
            <p:cNvCxnSpPr>
              <a:cxnSpLocks noChangeShapeType="1"/>
              <a:stCxn id="124" idx="4"/>
              <a:endCxn id="124" idx="6"/>
            </p:cNvCxnSpPr>
            <p:nvPr/>
          </p:nvCxnSpPr>
          <p:spPr bwMode="gray">
            <a:xfrm>
              <a:off x="8087210" y="524800"/>
              <a:ext cx="65356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087210" y="288162"/>
              <a:ext cx="65356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7"/>
            </p:custDataLst>
          </p:nvPr>
        </p:nvGrpSpPr>
        <p:grpSpPr bwMode="gray">
          <a:xfrm>
            <a:off x="9777013" y="4818919"/>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600">
                <a:latin typeface="+mn-lt"/>
                <a:ea typeface="+mn-ea"/>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8"/>
            </p:custDataLst>
          </p:nvPr>
        </p:nvSpPr>
        <p:spPr>
          <a:xfrm>
            <a:off x="511474" y="3485693"/>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nl-NL" sz="1600">
              <a:solidFill>
                <a:schemeClr val="tx1"/>
              </a:solidFill>
              <a:latin typeface="+mn-lt"/>
              <a:ea typeface="+mn-ea"/>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29"/>
            </p:custDataLst>
          </p:nvPr>
        </p:nvGrpSpPr>
        <p:grpSpPr>
          <a:xfrm>
            <a:off x="1041169"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30"/>
            </p:custDataLst>
          </p:nvPr>
        </p:nvGrpSpPr>
        <p:grpSpPr>
          <a:xfrm>
            <a:off x="1888085" y="3498649"/>
            <a:ext cx="1268195"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1"/>
            </p:custDataLst>
          </p:nvPr>
        </p:nvGrpSpPr>
        <p:grpSpPr>
          <a:xfrm>
            <a:off x="9203359" y="2145092"/>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2"/>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3"/>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69" name="Freeform: Shape 168">
              <a:extLst>
                <a:ext uri="{FF2B5EF4-FFF2-40B4-BE49-F238E27FC236}">
                  <a16:creationId xmlns:a16="http://schemas.microsoft.com/office/drawing/2014/main" id="{BB7BED76-2503-4209-8A7E-CA5A477F5F00}"/>
                </a:ext>
              </a:extLst>
            </p:cNvPr>
            <p:cNvSpPr/>
            <p:nvPr>
              <p:custDataLst>
                <p:tags r:id="rId54"/>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5"/>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71" name="Freeform: Shape 170">
              <a:extLst>
                <a:ext uri="{FF2B5EF4-FFF2-40B4-BE49-F238E27FC236}">
                  <a16:creationId xmlns:a16="http://schemas.microsoft.com/office/drawing/2014/main" id="{2D42E41B-DC12-4382-AC13-5867DF745C14}"/>
                </a:ext>
              </a:extLst>
            </p:cNvPr>
            <p:cNvSpPr/>
            <p:nvPr>
              <p:custDataLst>
                <p:tags r:id="rId56"/>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7"/>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2"/>
            </p:custDataLst>
          </p:nvPr>
        </p:nvGrpSpPr>
        <p:grpSpPr>
          <a:xfrm>
            <a:off x="9203357" y="3163188"/>
            <a:ext cx="1865975"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50"/>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51"/>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3"/>
            </p:custDataLst>
          </p:nvPr>
        </p:nvGrpSpPr>
        <p:grpSpPr>
          <a:xfrm>
            <a:off x="11216130" y="2578639"/>
            <a:ext cx="460015" cy="518319"/>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43" y="3020714"/>
            <a:ext cx="2493855" cy="516697"/>
            <a:chOff x="915" y="711"/>
            <a:chExt cx="2686" cy="319"/>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00" b="1">
                  <a:latin typeface="+mn-lt"/>
                  <a:ea typeface="+mn-ea"/>
                  <a:sym typeface="+mn-lt"/>
                </a:rPr>
                <a:t>Titel</a:t>
              </a:r>
            </a:p>
            <a:p>
              <a:r>
                <a:rPr lang="nl-NL" sz="1600" b="0">
                  <a:latin typeface="+mn-lt"/>
                  <a:ea typeface="+mn-ea"/>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07" y="884728"/>
            <a:ext cx="865967" cy="1017725"/>
            <a:chOff x="7941273" y="531813"/>
            <a:chExt cx="848714" cy="997467"/>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1"/>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65" y="884725"/>
            <a:ext cx="1180203" cy="745611"/>
            <a:chOff x="7633298" y="531813"/>
            <a:chExt cx="1156689" cy="730767"/>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3" y="5318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3" y="7985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3" y="1077914"/>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72" y="884731"/>
            <a:ext cx="933997" cy="1333055"/>
            <a:chOff x="7874598" y="531813"/>
            <a:chExt cx="915391"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5"/>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6"/>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7"/>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7"/>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8"/>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3"/>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9"/>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8" y="54998"/>
            <a:ext cx="79326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15" algn="l"/>
              </a:tabLst>
            </a:pPr>
            <a:r>
              <a:rPr lang="nl-NL" sz="1200" cap="all">
                <a:latin typeface="+mn-lt"/>
                <a:ea typeface="+mn-ea"/>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7" y="884731"/>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a:tabLst>
                <a:tab pos="444445" algn="l"/>
              </a:tabLst>
            </a:pPr>
            <a:r>
              <a:rPr lang="nl-NL" sz="1900">
                <a:latin typeface="+mn-lt"/>
                <a:ea typeface="+mn-ea"/>
                <a:sym typeface="+mn-lt"/>
              </a:rPr>
              <a:t>Meeteenheid </a:t>
            </a:r>
          </a:p>
        </p:txBody>
      </p:sp>
      <p:sp>
        <p:nvSpPr>
          <p:cNvPr id="224" name="SlideLogoText">
            <a:extLst>
              <a:ext uri="{FF2B5EF4-FFF2-40B4-BE49-F238E27FC236}">
                <a16:creationId xmlns:a16="http://schemas.microsoft.com/office/drawing/2014/main" id="{51FEF47F-29E7-4DC7-B7B4-DCFFA64CFB5C}"/>
              </a:ext>
            </a:extLst>
          </p:cNvPr>
          <p:cNvSpPr txBox="1"/>
          <p:nvPr userDrawn="1">
            <p:custDataLst>
              <p:tags r:id="rId34"/>
            </p:custDataLst>
          </p:nvPr>
        </p:nvSpPr>
        <p:spPr bwMode="gray">
          <a:xfrm>
            <a:off x="10069017" y="6468604"/>
            <a:ext cx="1396216" cy="169277"/>
          </a:xfrm>
          <a:prstGeom prst="rect">
            <a:avLst/>
          </a:prstGeom>
          <a:noFill/>
        </p:spPr>
        <p:txBody>
          <a:bodyPr wrap="none" lIns="0" tIns="0" rIns="0" bIns="0" rtlCol="0" anchor="b">
            <a:spAutoFit/>
          </a:bodyPr>
          <a:lstStyle/>
          <a:p>
            <a:pPr marL="0" marR="0" lvl="0" indent="0" algn="ctr" defTabSz="914282" rtl="0" eaLnBrk="1" fontAlgn="auto" latinLnBrk="0" hangingPunct="1">
              <a:lnSpc>
                <a:spcPct val="100000"/>
              </a:lnSpc>
              <a:spcBef>
                <a:spcPts val="0"/>
              </a:spcBef>
              <a:spcAft>
                <a:spcPts val="0"/>
              </a:spcAft>
              <a:buClrTx/>
              <a:buSzTx/>
              <a:buFontTx/>
              <a:buNone/>
              <a:tabLst/>
              <a:defRPr/>
            </a:pPr>
            <a:r>
              <a:rPr lang="nl-NL" sz="1100" kern="1200">
                <a:solidFill>
                  <a:schemeClr val="tx1"/>
                </a:solidFill>
                <a:latin typeface="+mn-lt"/>
                <a:ea typeface="+mn-ea"/>
                <a:cs typeface="+mn-cs"/>
                <a:sym typeface="+mn-lt"/>
              </a:rPr>
              <a:t>Het Potentieel Pakken</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43" y="6071657"/>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42" y="6261395"/>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Tree>
    <p:extLst>
      <p:ext uri="{BB962C8B-B14F-4D97-AF65-F5344CB8AC3E}">
        <p14:creationId xmlns:p14="http://schemas.microsoft.com/office/powerpoint/2010/main" val="1231003022"/>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Lst>
  <p:hf sldNum="0" hdr="0"/>
  <p:txStyles>
    <p:titleStyle>
      <a:lvl1pPr algn="l" defTabSz="895236" rtl="0" eaLnBrk="1" fontAlgn="base" hangingPunct="1">
        <a:spcBef>
          <a:spcPct val="0"/>
        </a:spcBef>
        <a:spcAft>
          <a:spcPct val="0"/>
        </a:spcAft>
        <a:tabLst>
          <a:tab pos="444445" algn="l"/>
        </a:tabLst>
        <a:defRPr lang="nl-NL" sz="2800" b="0" baseline="0" noProof="0" dirty="0">
          <a:solidFill>
            <a:schemeClr val="tx2"/>
          </a:solidFill>
          <a:latin typeface="+mj-lt"/>
          <a:ea typeface="+mj-ea"/>
          <a:cs typeface="+mj-cs"/>
          <a:sym typeface="+mj-lt"/>
        </a:defRPr>
      </a:lvl1pPr>
      <a:lvl2pPr algn="l" defTabSz="895236" rtl="0" eaLnBrk="1" fontAlgn="base" hangingPunct="1">
        <a:spcBef>
          <a:spcPct val="0"/>
        </a:spcBef>
        <a:spcAft>
          <a:spcPct val="0"/>
        </a:spcAft>
        <a:defRPr sz="1900" b="1">
          <a:solidFill>
            <a:schemeClr val="tx2"/>
          </a:solidFill>
          <a:latin typeface="Arial" charset="0"/>
        </a:defRPr>
      </a:lvl2pPr>
      <a:lvl3pPr algn="l" defTabSz="895236" rtl="0" eaLnBrk="1" fontAlgn="base" hangingPunct="1">
        <a:spcBef>
          <a:spcPct val="0"/>
        </a:spcBef>
        <a:spcAft>
          <a:spcPct val="0"/>
        </a:spcAft>
        <a:defRPr sz="1900" b="1">
          <a:solidFill>
            <a:schemeClr val="tx2"/>
          </a:solidFill>
          <a:latin typeface="Arial" charset="0"/>
        </a:defRPr>
      </a:lvl3pPr>
      <a:lvl4pPr algn="l" defTabSz="895236" rtl="0" eaLnBrk="1" fontAlgn="base" hangingPunct="1">
        <a:spcBef>
          <a:spcPct val="0"/>
        </a:spcBef>
        <a:spcAft>
          <a:spcPct val="0"/>
        </a:spcAft>
        <a:defRPr sz="1900" b="1">
          <a:solidFill>
            <a:schemeClr val="tx2"/>
          </a:solidFill>
          <a:latin typeface="Arial" charset="0"/>
        </a:defRPr>
      </a:lvl4pPr>
      <a:lvl5pPr algn="l" defTabSz="895236" rtl="0" eaLnBrk="1" fontAlgn="base" hangingPunct="1">
        <a:spcBef>
          <a:spcPct val="0"/>
        </a:spcBef>
        <a:spcAft>
          <a:spcPct val="0"/>
        </a:spcAft>
        <a:defRPr sz="1900" b="1">
          <a:solidFill>
            <a:schemeClr val="tx2"/>
          </a:solidFill>
          <a:latin typeface="Arial" charset="0"/>
        </a:defRPr>
      </a:lvl5pPr>
      <a:lvl6pPr marL="457139" algn="l" defTabSz="895236" rtl="0" eaLnBrk="1" fontAlgn="base" hangingPunct="1">
        <a:spcBef>
          <a:spcPct val="0"/>
        </a:spcBef>
        <a:spcAft>
          <a:spcPct val="0"/>
        </a:spcAft>
        <a:defRPr sz="1900" b="1">
          <a:solidFill>
            <a:schemeClr val="tx2"/>
          </a:solidFill>
          <a:latin typeface="Arial" charset="0"/>
        </a:defRPr>
      </a:lvl6pPr>
      <a:lvl7pPr marL="914282" algn="l" defTabSz="895236" rtl="0" eaLnBrk="1" fontAlgn="base" hangingPunct="1">
        <a:spcBef>
          <a:spcPct val="0"/>
        </a:spcBef>
        <a:spcAft>
          <a:spcPct val="0"/>
        </a:spcAft>
        <a:defRPr sz="1900" b="1">
          <a:solidFill>
            <a:schemeClr val="tx2"/>
          </a:solidFill>
          <a:latin typeface="Arial" charset="0"/>
        </a:defRPr>
      </a:lvl7pPr>
      <a:lvl8pPr marL="1371424" algn="l" defTabSz="895236" rtl="0" eaLnBrk="1" fontAlgn="base" hangingPunct="1">
        <a:spcBef>
          <a:spcPct val="0"/>
        </a:spcBef>
        <a:spcAft>
          <a:spcPct val="0"/>
        </a:spcAft>
        <a:defRPr sz="1900" b="1">
          <a:solidFill>
            <a:schemeClr val="tx2"/>
          </a:solidFill>
          <a:latin typeface="Arial" charset="0"/>
        </a:defRPr>
      </a:lvl8pPr>
      <a:lvl9pPr marL="1828566" algn="l" defTabSz="895236" rtl="0" eaLnBrk="1" fontAlgn="base" hangingPunct="1">
        <a:spcBef>
          <a:spcPct val="0"/>
        </a:spcBef>
        <a:spcAft>
          <a:spcPct val="0"/>
        </a:spcAft>
        <a:defRPr sz="1900" b="1">
          <a:solidFill>
            <a:schemeClr val="tx2"/>
          </a:solidFill>
          <a:latin typeface="Arial" charset="0"/>
        </a:defRPr>
      </a:lvl9pPr>
    </p:titleStyle>
    <p:bodyStyle>
      <a:lvl1pPr marL="0" indent="0" algn="l" defTabSz="895236" rtl="0" eaLnBrk="1" fontAlgn="base" hangingPunct="1">
        <a:spcBef>
          <a:spcPct val="0"/>
        </a:spcBef>
        <a:spcAft>
          <a:spcPct val="0"/>
        </a:spcAft>
        <a:buClr>
          <a:schemeClr val="tx2"/>
        </a:buClr>
        <a:defRPr sz="1600" baseline="0">
          <a:solidFill>
            <a:schemeClr val="tx1"/>
          </a:solidFill>
          <a:latin typeface="+mn-lt"/>
          <a:ea typeface="+mn-ea"/>
          <a:cs typeface="+mn-cs"/>
          <a:sym typeface="+mn-lt"/>
        </a:defRPr>
      </a:lvl1pPr>
      <a:lvl2pPr marL="179976" indent="-179976" algn="l" defTabSz="895236"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2pPr>
      <a:lvl3pPr marL="359950" indent="-179976" algn="l" defTabSz="895236" rtl="0" eaLnBrk="1" fontAlgn="base" hangingPunct="1">
        <a:spcBef>
          <a:spcPct val="0"/>
        </a:spcBef>
        <a:spcAft>
          <a:spcPct val="0"/>
        </a:spcAft>
        <a:buClr>
          <a:schemeClr val="tx1"/>
        </a:buClr>
        <a:buSzPct val="100000"/>
        <a:buFont typeface="Arial" panose="020B0604020202020204" pitchFamily="34" charset="0"/>
        <a:buChar char="–"/>
        <a:defRPr sz="1600" baseline="0">
          <a:solidFill>
            <a:schemeClr val="tx1"/>
          </a:solidFill>
          <a:latin typeface="+mn-lt"/>
          <a:sym typeface="+mn-lt"/>
        </a:defRPr>
      </a:lvl3pPr>
      <a:lvl4pPr marL="539923" indent="-179976" algn="l" defTabSz="895236"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4pPr>
      <a:lvl5pPr marL="719895" indent="-179976" algn="l" defTabSz="895236"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sym typeface="+mn-lt"/>
        </a:defRPr>
      </a:lvl5pPr>
      <a:lvl6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282" rtl="0" eaLnBrk="1" latinLnBrk="0" hangingPunct="1">
        <a:defRPr sz="1900" kern="1200">
          <a:solidFill>
            <a:schemeClr val="tx1"/>
          </a:solidFill>
          <a:latin typeface="+mn-lt"/>
          <a:ea typeface="+mn-ea"/>
          <a:cs typeface="+mn-cs"/>
        </a:defRPr>
      </a:lvl1pPr>
      <a:lvl2pPr marL="457139" algn="l" defTabSz="914282" rtl="0" eaLnBrk="1" latinLnBrk="0" hangingPunct="1">
        <a:defRPr sz="1900" kern="1200">
          <a:solidFill>
            <a:schemeClr val="tx1"/>
          </a:solidFill>
          <a:latin typeface="+mn-lt"/>
          <a:ea typeface="+mn-ea"/>
          <a:cs typeface="+mn-cs"/>
        </a:defRPr>
      </a:lvl2pPr>
      <a:lvl3pPr marL="914282" algn="l" defTabSz="914282" rtl="0" eaLnBrk="1" latinLnBrk="0" hangingPunct="1">
        <a:defRPr sz="1900" kern="1200">
          <a:solidFill>
            <a:schemeClr val="tx1"/>
          </a:solidFill>
          <a:latin typeface="+mn-lt"/>
          <a:ea typeface="+mn-ea"/>
          <a:cs typeface="+mn-cs"/>
        </a:defRPr>
      </a:lvl3pPr>
      <a:lvl4pPr marL="1371424" algn="l" defTabSz="914282" rtl="0" eaLnBrk="1" latinLnBrk="0" hangingPunct="1">
        <a:defRPr sz="1900" kern="1200">
          <a:solidFill>
            <a:schemeClr val="tx1"/>
          </a:solidFill>
          <a:latin typeface="+mn-lt"/>
          <a:ea typeface="+mn-ea"/>
          <a:cs typeface="+mn-cs"/>
        </a:defRPr>
      </a:lvl4pPr>
      <a:lvl5pPr marL="1828566" algn="l" defTabSz="914282" rtl="0" eaLnBrk="1" latinLnBrk="0" hangingPunct="1">
        <a:defRPr sz="1900" kern="1200">
          <a:solidFill>
            <a:schemeClr val="tx1"/>
          </a:solidFill>
          <a:latin typeface="+mn-lt"/>
          <a:ea typeface="+mn-ea"/>
          <a:cs typeface="+mn-cs"/>
        </a:defRPr>
      </a:lvl5pPr>
      <a:lvl6pPr marL="2285710" algn="l" defTabSz="914282" rtl="0" eaLnBrk="1" latinLnBrk="0" hangingPunct="1">
        <a:defRPr sz="1900" kern="1200">
          <a:solidFill>
            <a:schemeClr val="tx1"/>
          </a:solidFill>
          <a:latin typeface="+mn-lt"/>
          <a:ea typeface="+mn-ea"/>
          <a:cs typeface="+mn-cs"/>
        </a:defRPr>
      </a:lvl6pPr>
      <a:lvl7pPr marL="2742849" algn="l" defTabSz="914282" rtl="0" eaLnBrk="1" latinLnBrk="0" hangingPunct="1">
        <a:defRPr sz="1900" kern="1200">
          <a:solidFill>
            <a:schemeClr val="tx1"/>
          </a:solidFill>
          <a:latin typeface="+mn-lt"/>
          <a:ea typeface="+mn-ea"/>
          <a:cs typeface="+mn-cs"/>
        </a:defRPr>
      </a:lvl7pPr>
      <a:lvl8pPr marL="3199987" algn="l" defTabSz="914282" rtl="0" eaLnBrk="1" latinLnBrk="0" hangingPunct="1">
        <a:defRPr sz="1900" kern="1200">
          <a:solidFill>
            <a:schemeClr val="tx1"/>
          </a:solidFill>
          <a:latin typeface="+mn-lt"/>
          <a:ea typeface="+mn-ea"/>
          <a:cs typeface="+mn-cs"/>
        </a:defRPr>
      </a:lvl8pPr>
      <a:lvl9pPr marL="3657127" algn="l" defTabSz="914282"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4"/>
            </p:custDataLst>
            <p:extLst>
              <p:ext uri="{D42A27DB-BD31-4B8C-83A1-F6EECF244321}">
                <p14:modId xmlns:p14="http://schemas.microsoft.com/office/powerpoint/2010/main" val="3283985878"/>
              </p:ext>
            </p:extLst>
          </p:nvPr>
        </p:nvGraphicFramePr>
        <p:xfrm>
          <a:off x="1" y="0"/>
          <a:ext cx="215979" cy="161975"/>
        </p:xfrm>
        <a:graphic>
          <a:graphicData uri="http://schemas.openxmlformats.org/presentationml/2006/ole">
            <mc:AlternateContent xmlns:mc="http://schemas.openxmlformats.org/markup-compatibility/2006">
              <mc:Choice xmlns:v="urn:schemas-microsoft-com:vml" Requires="v">
                <p:oleObj spid="_x0000_s38915"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 y="0"/>
                        <a:ext cx="215979"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5"/>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400" fontAlgn="base">
              <a:spcBef>
                <a:spcPct val="0"/>
              </a:spcBef>
              <a:spcAft>
                <a:spcPct val="0"/>
              </a:spcAft>
            </a:pPr>
            <a:endParaRPr lang="nl-NL" sz="2800" b="0" i="0" baseline="0">
              <a:solidFill>
                <a:srgbClr val="000000"/>
              </a:solidFill>
              <a:latin typeface="Andada" panose="02000000000000000000"/>
              <a:ea typeface="ＭＳ Ｐゴシック" panose="020B0600070205080204" pitchFamily="34" charset="-128"/>
              <a:cs typeface="+mj-cs"/>
              <a:sym typeface="Andada" panose="02000000000000000000"/>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6"/>
            </p:custDataLst>
          </p:nvPr>
        </p:nvGrpSpPr>
        <p:grpSpPr>
          <a:xfrm>
            <a:off x="1036653" y="4748123"/>
            <a:ext cx="5079595" cy="1332991"/>
            <a:chOff x="5905500" y="3124200"/>
            <a:chExt cx="4978400" cy="1306454"/>
          </a:xfrm>
        </p:grpSpPr>
        <p:grpSp>
          <p:nvGrpSpPr>
            <p:cNvPr id="83" name="Group 82">
              <a:extLst>
                <a:ext uri="{FF2B5EF4-FFF2-40B4-BE49-F238E27FC236}">
                  <a16:creationId xmlns:a16="http://schemas.microsoft.com/office/drawing/2014/main" id="{827DA976-D5BE-4015-A977-74EA452DBA81}"/>
                </a:ext>
              </a:extLst>
            </p:cNvPr>
            <p:cNvGrpSpPr/>
            <p:nvPr>
              <p:custDataLst>
                <p:tags r:id="rId72"/>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79"/>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80"/>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3"/>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8"/>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4"/>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5"/>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6"/>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2"/>
              <a:ext cx="1523999" cy="241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nl-NL" err="1">
                  <a:solidFill>
                    <a:srgbClr val="000000"/>
                  </a:solidFill>
                  <a:sym typeface="+mn-lt"/>
                </a:rPr>
                <a:t>Text</a:t>
              </a:r>
              <a:endParaRPr lang="nl-NL">
                <a:solidFill>
                  <a:srgbClr val="000000"/>
                </a:solidFill>
                <a:sym typeface="+mn-lt"/>
              </a:endParaRP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3" y="4189334"/>
              <a:ext cx="1523999" cy="241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nl-NL" err="1">
                  <a:solidFill>
                    <a:srgbClr val="000000"/>
                  </a:solidFill>
                  <a:sym typeface="+mn-lt"/>
                </a:rPr>
                <a:t>Text</a:t>
              </a:r>
              <a:endParaRPr lang="nl-NL">
                <a:solidFill>
                  <a:srgbClr val="000000"/>
                </a:solidFill>
                <a:sym typeface="+mn-lt"/>
              </a:endParaRP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3" y="4189333"/>
              <a:ext cx="1523999" cy="241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nl-NL" err="1">
                  <a:solidFill>
                    <a:srgbClr val="000000"/>
                  </a:solidFill>
                  <a:sym typeface="+mn-lt"/>
                </a:rPr>
                <a:t>Text</a:t>
              </a:r>
              <a:endParaRPr lang="nl-NL">
                <a:solidFill>
                  <a:srgbClr val="000000"/>
                </a:solidFill>
                <a:sym typeface="+mn-lt"/>
              </a:endParaRP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7"/>
            </p:custDataLst>
          </p:nvPr>
        </p:nvGrpSpPr>
        <p:grpSpPr>
          <a:xfrm>
            <a:off x="6290145" y="4748121"/>
            <a:ext cx="5079595" cy="1333409"/>
            <a:chOff x="5905500" y="3124200"/>
            <a:chExt cx="4978400" cy="1306864"/>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3"/>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7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1"/>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4"/>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69"/>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5"/>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7"/>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3999" cy="241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nl-NL" err="1">
                  <a:solidFill>
                    <a:srgbClr val="000000"/>
                  </a:solidFill>
                  <a:sym typeface="+mn-lt"/>
                </a:rPr>
                <a:t>Text</a:t>
              </a:r>
              <a:endParaRPr lang="nl-NL">
                <a:solidFill>
                  <a:srgbClr val="000000"/>
                </a:solidFill>
                <a:sym typeface="+mn-lt"/>
              </a:endParaRP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3" y="4189744"/>
              <a:ext cx="1523999" cy="241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nl-NL" err="1">
                  <a:solidFill>
                    <a:srgbClr val="000000"/>
                  </a:solidFill>
                  <a:sym typeface="+mn-lt"/>
                </a:rPr>
                <a:t>Text</a:t>
              </a:r>
              <a:endParaRPr lang="nl-NL">
                <a:solidFill>
                  <a:srgbClr val="000000"/>
                </a:solidFill>
                <a:sym typeface="+mn-lt"/>
              </a:endParaRP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3" y="4189744"/>
              <a:ext cx="1523999" cy="241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nl-NL" err="1">
                  <a:solidFill>
                    <a:srgbClr val="000000"/>
                  </a:solidFill>
                  <a:sym typeface="+mn-lt"/>
                </a:rPr>
                <a:t>Text</a:t>
              </a:r>
              <a:endParaRPr lang="nl-NL">
                <a:solidFill>
                  <a:srgbClr val="000000"/>
                </a:solidFill>
                <a:sym typeface="+mn-lt"/>
              </a:endParaRPr>
            </a:p>
          </p:txBody>
        </p:sp>
      </p:grpSp>
      <p:sp>
        <p:nvSpPr>
          <p:cNvPr id="1036" name="Rectangle 286"/>
          <p:cNvSpPr>
            <a:spLocks noGrp="1" noChangeArrowheads="1"/>
          </p:cNvSpPr>
          <p:nvPr>
            <p:ph type="body" idx="1"/>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
        <p:nvSpPr>
          <p:cNvPr id="19" name="Title"/>
          <p:cNvSpPr>
            <a:spLocks noGrp="1" noChangeArrowheads="1"/>
          </p:cNvSpPr>
          <p:nvPr>
            <p:ph type="title"/>
          </p:nvPr>
        </p:nvSpPr>
        <p:spPr bwMode="gray">
          <a:xfrm>
            <a:off x="554736" y="472847"/>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r>
              <a:rPr lang="nl-NL" noProof="0"/>
              <a:t>Click </a:t>
            </a:r>
            <a:r>
              <a:rPr lang="nl-NL" noProof="0" err="1"/>
              <a:t>to</a:t>
            </a:r>
            <a:r>
              <a:rPr lang="nl-NL" noProof="0"/>
              <a:t> </a:t>
            </a:r>
            <a:r>
              <a:rPr lang="nl-NL" noProof="0" err="1"/>
              <a:t>edit</a:t>
            </a:r>
            <a:r>
              <a:rPr lang="nl-NL" noProof="0"/>
              <a:t> aster </a:t>
            </a:r>
            <a:r>
              <a:rPr lang="nl-NL" noProof="0" err="1"/>
              <a:t>title</a:t>
            </a:r>
            <a:r>
              <a:rPr lang="nl-NL" noProof="0"/>
              <a:t> </a:t>
            </a:r>
            <a:r>
              <a:rPr lang="nl-NL" noProof="0" err="1"/>
              <a:t>style</a:t>
            </a:r>
            <a:endParaRPr lang="nl-NL" noProof="0"/>
          </a:p>
        </p:txBody>
      </p:sp>
      <p:sp>
        <p:nvSpPr>
          <p:cNvPr id="3" name="Slide Number"/>
          <p:cNvSpPr>
            <a:spLocks/>
          </p:cNvSpPr>
          <p:nvPr/>
        </p:nvSpPr>
        <p:spPr bwMode="gray">
          <a:xfrm>
            <a:off x="11380787" y="6491062"/>
            <a:ext cx="256480" cy="169277"/>
          </a:xfrm>
          <a:prstGeom prst="rect">
            <a:avLst/>
          </a:prstGeom>
        </p:spPr>
        <p:txBody>
          <a:bodyPr vert="horz" wrap="none" lIns="0" tIns="0" rIns="0" bIns="0" rtlCol="0" anchor="ctr">
            <a:spAutoFit/>
          </a:bodyPr>
          <a:lstStyle/>
          <a:p>
            <a:pPr algn="r" defTabSz="914400" fontAlgn="base">
              <a:spcBef>
                <a:spcPct val="0"/>
              </a:spcBef>
              <a:spcAft>
                <a:spcPct val="0"/>
              </a:spcAft>
              <a:buClr>
                <a:srgbClr val="003C54"/>
              </a:buClr>
            </a:pPr>
            <a:fld id="{42C328C1-A84F-4A39-A664-DBA00541A8C6}" type="slidenum">
              <a:rPr lang="nl-NL" sz="1100" smtClean="0">
                <a:solidFill>
                  <a:srgbClr val="000000"/>
                </a:solidFill>
                <a:sym typeface="+mn-lt"/>
              </a:rPr>
              <a:pPr algn="r" defTabSz="914400" fontAlgn="base">
                <a:spcBef>
                  <a:spcPct val="0"/>
                </a:spcBef>
                <a:spcAft>
                  <a:spcPct val="0"/>
                </a:spcAft>
                <a:buClr>
                  <a:srgbClr val="003C54"/>
                </a:buClr>
              </a:pPr>
              <a:t>‹nr.›</a:t>
            </a:fld>
            <a:endParaRPr lang="nl-NL" sz="1100">
              <a:solidFill>
                <a:srgbClr val="000000"/>
              </a:solidFill>
              <a:sym typeface="+mn-lt"/>
            </a:endParaRPr>
          </a:p>
        </p:txBody>
      </p:sp>
      <p:sp>
        <p:nvSpPr>
          <p:cNvPr id="93" name="Oval" hidden="1"/>
          <p:cNvSpPr txBox="1">
            <a:spLocks/>
          </p:cNvSpPr>
          <p:nvPr>
            <p:custDataLst>
              <p:tags r:id="rId18"/>
            </p:custDataLst>
          </p:nvPr>
        </p:nvSpPr>
        <p:spPr bwMode="gray">
          <a:xfrm>
            <a:off x="6878924" y="1451181"/>
            <a:ext cx="1554979"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8" tIns="35998" rIns="35998" bIns="35998"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fontAlgn="base">
              <a:spcBef>
                <a:spcPct val="0"/>
              </a:spcBef>
              <a:spcAft>
                <a:spcPct val="0"/>
              </a:spcAft>
              <a:buClr>
                <a:srgbClr val="003C54"/>
              </a:buClr>
            </a:pPr>
            <a:r>
              <a:rPr lang="nl-NL" err="1">
                <a:solidFill>
                  <a:srgbClr val="000000"/>
                </a:solidFill>
                <a:sym typeface="+mn-lt"/>
              </a:rPr>
              <a:t>Text</a:t>
            </a:r>
            <a:endParaRPr lang="nl-NL">
              <a:solidFill>
                <a:srgbClr val="000000"/>
              </a:solidFill>
              <a:sym typeface="+mn-lt"/>
            </a:endParaRPr>
          </a:p>
        </p:txBody>
      </p:sp>
      <p:sp>
        <p:nvSpPr>
          <p:cNvPr id="94" name="Rectangle" hidden="1"/>
          <p:cNvSpPr txBox="1">
            <a:spLocks/>
          </p:cNvSpPr>
          <p:nvPr>
            <p:custDataLst>
              <p:tags r:id="rId19"/>
            </p:custDataLst>
          </p:nvPr>
        </p:nvSpPr>
        <p:spPr bwMode="gray">
          <a:xfrm>
            <a:off x="3524057" y="1451181"/>
            <a:ext cx="1554979" cy="1554955"/>
          </a:xfrm>
          <a:prstGeom prst="rect">
            <a:avLst/>
          </a:prstGeom>
          <a:solidFill>
            <a:schemeClr val="accent1"/>
          </a:solidFill>
          <a:ln w="9525">
            <a:solidFill>
              <a:schemeClr val="tx1"/>
            </a:solidFill>
            <a:miter lim="800000"/>
            <a:headEnd/>
            <a:tailEnd/>
          </a:ln>
          <a:effectLst/>
        </p:spPr>
        <p:txBody>
          <a:bodyPr vert="horz" wrap="square" lIns="71996" tIns="71996" rIns="71996" bIns="71996"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err="1">
                <a:solidFill>
                  <a:srgbClr val="000000"/>
                </a:solidFill>
                <a:sym typeface="+mn-lt"/>
              </a:rPr>
              <a:t>Text</a:t>
            </a:r>
            <a:endParaRPr lang="nl-NL">
              <a:solidFill>
                <a:srgbClr val="000000"/>
              </a:solidFill>
              <a:sym typeface="+mn-lt"/>
            </a:endParaRPr>
          </a:p>
        </p:txBody>
      </p:sp>
      <p:sp>
        <p:nvSpPr>
          <p:cNvPr id="95" name="RoundedRectangle" hidden="1"/>
          <p:cNvSpPr txBox="1">
            <a:spLocks/>
          </p:cNvSpPr>
          <p:nvPr>
            <p:custDataLst>
              <p:tags r:id="rId20"/>
            </p:custDataLst>
          </p:nvPr>
        </p:nvSpPr>
        <p:spPr bwMode="gray">
          <a:xfrm>
            <a:off x="5217041" y="1451181"/>
            <a:ext cx="1554979" cy="1554955"/>
          </a:xfrm>
          <a:prstGeom prst="roundRect">
            <a:avLst/>
          </a:prstGeom>
          <a:solidFill>
            <a:schemeClr val="accent1"/>
          </a:solidFill>
          <a:ln w="9525">
            <a:solidFill>
              <a:schemeClr val="tx1"/>
            </a:solidFill>
            <a:miter lim="800000"/>
            <a:headEnd/>
            <a:tailEnd/>
          </a:ln>
          <a:effectLst/>
        </p:spPr>
        <p:txBody>
          <a:bodyPr vert="horz" wrap="square" lIns="71996" tIns="71996" rIns="71996" bIns="71996"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err="1">
                <a:solidFill>
                  <a:srgbClr val="000000"/>
                </a:solidFill>
                <a:sym typeface="+mn-lt"/>
              </a:rPr>
              <a:t>Text</a:t>
            </a:r>
            <a:endParaRPr lang="nl-NL">
              <a:solidFill>
                <a:srgbClr val="000000"/>
              </a:solidFill>
              <a:sym typeface="+mn-lt"/>
            </a:endParaRPr>
          </a:p>
        </p:txBody>
      </p:sp>
      <p:sp>
        <p:nvSpPr>
          <p:cNvPr id="96" name="Arrow" hidden="1"/>
          <p:cNvSpPr txBox="1">
            <a:spLocks/>
          </p:cNvSpPr>
          <p:nvPr>
            <p:custDataLst>
              <p:tags r:id="rId21"/>
            </p:custDataLst>
          </p:nvPr>
        </p:nvSpPr>
        <p:spPr bwMode="gray">
          <a:xfrm>
            <a:off x="3490717" y="4223447"/>
            <a:ext cx="1865973"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6" tIns="71996" rIns="71996" bIns="71996"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err="1">
                <a:solidFill>
                  <a:srgbClr val="000000"/>
                </a:solidFill>
                <a:sym typeface="+mn-lt"/>
              </a:rPr>
              <a:t>Text</a:t>
            </a:r>
            <a:endParaRPr lang="nl-NL">
              <a:solidFill>
                <a:srgbClr val="000000"/>
              </a:solidFill>
              <a:sym typeface="+mn-lt"/>
            </a:endParaRPr>
          </a:p>
        </p:txBody>
      </p:sp>
      <p:sp>
        <p:nvSpPr>
          <p:cNvPr id="97" name="DirArrow" hidden="1"/>
          <p:cNvSpPr>
            <a:spLocks noChangeArrowheads="1"/>
          </p:cNvSpPr>
          <p:nvPr>
            <p:custDataLst>
              <p:tags r:id="rId22"/>
            </p:custDataLst>
          </p:nvPr>
        </p:nvSpPr>
        <p:spPr bwMode="gray">
          <a:xfrm rot="5400000">
            <a:off x="7170378" y="2852711"/>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14" tIns="60957" rIns="121914" bIns="60957" anchor="ctr"/>
          <a:lstStyle/>
          <a:p>
            <a:pPr defTabSz="914400" fontAlgn="base">
              <a:spcBef>
                <a:spcPct val="0"/>
              </a:spcBef>
              <a:spcAft>
                <a:spcPct val="0"/>
              </a:spcAft>
            </a:pPr>
            <a:endParaRPr lang="nl-NL" sz="1600">
              <a:solidFill>
                <a:srgbClr val="000000"/>
              </a:solidFill>
              <a:sym typeface="+mn-lt"/>
            </a:endParaRPr>
          </a:p>
        </p:txBody>
      </p:sp>
      <p:sp>
        <p:nvSpPr>
          <p:cNvPr id="98" name="Bracket" hidden="1"/>
          <p:cNvSpPr>
            <a:spLocks noChangeAspect="1"/>
          </p:cNvSpPr>
          <p:nvPr>
            <p:custDataLst>
              <p:tags r:id="rId23"/>
            </p:custDataLst>
          </p:nvPr>
        </p:nvSpPr>
        <p:spPr bwMode="gray">
          <a:xfrm>
            <a:off x="7584101" y="3148304"/>
            <a:ext cx="189515" cy="186594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14" tIns="60957" rIns="121914" bIns="60957" anchor="ctr"/>
          <a:lstStyle/>
          <a:p>
            <a:pPr defTabSz="914400" fontAlgn="base">
              <a:spcBef>
                <a:spcPct val="0"/>
              </a:spcBef>
              <a:spcAft>
                <a:spcPct val="0"/>
              </a:spcAft>
            </a:pPr>
            <a:endParaRPr lang="nl-NL" sz="1600" baseline="30000">
              <a:solidFill>
                <a:srgbClr val="000000"/>
              </a:solidFill>
              <a:sym typeface="+mn-lt"/>
            </a:endParaRPr>
          </a:p>
        </p:txBody>
      </p:sp>
      <p:grpSp>
        <p:nvGrpSpPr>
          <p:cNvPr id="99" name="Flow" hidden="1"/>
          <p:cNvGrpSpPr>
            <a:grpSpLocks/>
          </p:cNvGrpSpPr>
          <p:nvPr>
            <p:custDataLst>
              <p:tags r:id="rId24"/>
            </p:custDataLst>
          </p:nvPr>
        </p:nvGrpSpPr>
        <p:grpSpPr bwMode="gray">
          <a:xfrm>
            <a:off x="3492960" y="3148304"/>
            <a:ext cx="1865973" cy="932973"/>
            <a:chOff x="5905500" y="3124200"/>
            <a:chExt cx="1828800" cy="914400"/>
          </a:xfrm>
        </p:grpSpPr>
        <p:sp>
          <p:nvSpPr>
            <p:cNvPr id="100" name="Freeform 99"/>
            <p:cNvSpPr/>
            <p:nvPr>
              <p:custDataLst>
                <p:tags r:id="rId61"/>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01" name="TextBox 100"/>
            <p:cNvSpPr txBox="1"/>
            <p:nvPr>
              <p:custDataLst>
                <p:tags r:id="rId62"/>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102" name="SplitFlow" hidden="1"/>
          <p:cNvGrpSpPr/>
          <p:nvPr>
            <p:custDataLst>
              <p:tags r:id="rId25"/>
            </p:custDataLst>
          </p:nvPr>
        </p:nvGrpSpPr>
        <p:grpSpPr bwMode="gray">
          <a:xfrm>
            <a:off x="5538531" y="3148304"/>
            <a:ext cx="1865973" cy="932973"/>
            <a:chOff x="114300" y="1270000"/>
            <a:chExt cx="1828800" cy="914400"/>
          </a:xfrm>
        </p:grpSpPr>
        <p:sp>
          <p:nvSpPr>
            <p:cNvPr id="103" name="Freeform 102"/>
            <p:cNvSpPr/>
            <p:nvPr>
              <p:custDataLst>
                <p:tags r:id="rId57"/>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04" name="TextBox 103"/>
            <p:cNvSpPr txBox="1"/>
            <p:nvPr>
              <p:custDataLst>
                <p:tags r:id="rId58"/>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sp>
          <p:nvSpPr>
            <p:cNvPr id="105" name="Freeform 104"/>
            <p:cNvSpPr/>
            <p:nvPr>
              <p:custDataLst>
                <p:tags r:id="rId59"/>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06" name="TextBox 105"/>
            <p:cNvSpPr txBox="1"/>
            <p:nvPr>
              <p:custDataLst>
                <p:tags r:id="rId60"/>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123" name="Sticker" hidden="1"/>
          <p:cNvGrpSpPr/>
          <p:nvPr/>
        </p:nvGrpSpPr>
        <p:grpSpPr bwMode="gray">
          <a:xfrm>
            <a:off x="10970417" y="887183"/>
            <a:ext cx="666849" cy="241448"/>
            <a:chOff x="8087211" y="288156"/>
            <a:chExt cx="653564" cy="236640"/>
          </a:xfrm>
        </p:grpSpPr>
        <p:sp>
          <p:nvSpPr>
            <p:cNvPr id="124" name="StickerRectangle"/>
            <p:cNvSpPr>
              <a:spLocks noChangeArrowheads="1"/>
            </p:cNvSpPr>
            <p:nvPr/>
          </p:nvSpPr>
          <p:spPr bwMode="gray">
            <a:xfrm>
              <a:off x="8087211" y="288156"/>
              <a:ext cx="653564" cy="23664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272" fontAlgn="base">
                <a:spcBef>
                  <a:spcPct val="0"/>
                </a:spcBef>
                <a:spcAft>
                  <a:spcPct val="0"/>
                </a:spcAft>
                <a:buClr>
                  <a:srgbClr val="003C54"/>
                </a:buClr>
              </a:pPr>
              <a:r>
                <a:rPr lang="nl-NL" sz="1200">
                  <a:solidFill>
                    <a:srgbClr val="000000"/>
                  </a:solidFill>
                  <a:sym typeface="+mn-lt"/>
                </a:rPr>
                <a:t>STICKER</a:t>
              </a:r>
            </a:p>
          </p:txBody>
        </p:sp>
        <p:cxnSp>
          <p:nvCxnSpPr>
            <p:cNvPr id="125" name="AutoShape 32"/>
            <p:cNvCxnSpPr>
              <a:cxnSpLocks noChangeShapeType="1"/>
              <a:stCxn id="124" idx="4"/>
              <a:endCxn id="124" idx="6"/>
            </p:cNvCxnSpPr>
            <p:nvPr/>
          </p:nvCxnSpPr>
          <p:spPr bwMode="gray">
            <a:xfrm>
              <a:off x="8087211" y="524796"/>
              <a:ext cx="653564"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087211" y="288156"/>
              <a:ext cx="653564"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6"/>
            </p:custDataLst>
          </p:nvPr>
        </p:nvGrpSpPr>
        <p:grpSpPr bwMode="gray">
          <a:xfrm>
            <a:off x="9777012" y="4818914"/>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7"/>
            </p:custDataLst>
          </p:nvPr>
        </p:nvSpPr>
        <p:spPr>
          <a:xfrm>
            <a:off x="511470" y="3485692"/>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defTabSz="914400" fontAlgn="base">
              <a:spcBef>
                <a:spcPct val="0"/>
              </a:spcBef>
              <a:spcAft>
                <a:spcPct val="0"/>
              </a:spcAft>
            </a:pPr>
            <a:endParaRPr lang="nl-NL" sz="1600">
              <a:solidFill>
                <a:srgbClr val="000000"/>
              </a:solidFill>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28"/>
            </p:custDataLst>
          </p:nvPr>
        </p:nvGrpSpPr>
        <p:grpSpPr>
          <a:xfrm>
            <a:off x="1041169"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29"/>
            </p:custDataLst>
          </p:nvPr>
        </p:nvGrpSpPr>
        <p:grpSpPr>
          <a:xfrm>
            <a:off x="1888088" y="3498649"/>
            <a:ext cx="1268193"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0"/>
            </p:custDataLst>
          </p:nvPr>
        </p:nvGrpSpPr>
        <p:grpSpPr>
          <a:xfrm>
            <a:off x="9203354" y="2145092"/>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1"/>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2"/>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sp>
          <p:nvSpPr>
            <p:cNvPr id="169" name="Freeform: Shape 168">
              <a:extLst>
                <a:ext uri="{FF2B5EF4-FFF2-40B4-BE49-F238E27FC236}">
                  <a16:creationId xmlns:a16="http://schemas.microsoft.com/office/drawing/2014/main" id="{BB7BED76-2503-4209-8A7E-CA5A477F5F00}"/>
                </a:ext>
              </a:extLst>
            </p:cNvPr>
            <p:cNvSpPr/>
            <p:nvPr>
              <p:custDataLst>
                <p:tags r:id="rId53"/>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4"/>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sp>
          <p:nvSpPr>
            <p:cNvPr id="171" name="Freeform: Shape 170">
              <a:extLst>
                <a:ext uri="{FF2B5EF4-FFF2-40B4-BE49-F238E27FC236}">
                  <a16:creationId xmlns:a16="http://schemas.microsoft.com/office/drawing/2014/main" id="{2D42E41B-DC12-4382-AC13-5867DF745C14}"/>
                </a:ext>
              </a:extLst>
            </p:cNvPr>
            <p:cNvSpPr/>
            <p:nvPr>
              <p:custDataLst>
                <p:tags r:id="rId55"/>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6"/>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1"/>
            </p:custDataLst>
          </p:nvPr>
        </p:nvGrpSpPr>
        <p:grpSpPr>
          <a:xfrm>
            <a:off x="9203352" y="3163187"/>
            <a:ext cx="1865973"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49"/>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nl-NL" sz="1600">
                <a:solidFill>
                  <a:srgbClr val="000000"/>
                </a:solidFill>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50"/>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b="1" err="1">
                  <a:solidFill>
                    <a:srgbClr val="000000"/>
                  </a:solidFill>
                  <a:sym typeface="+mn-lt"/>
                </a:rPr>
                <a:t>Text</a:t>
              </a:r>
              <a:endParaRPr lang="nl-NL" b="1">
                <a:solidFill>
                  <a:srgbClr val="000000"/>
                </a:solidFill>
                <a:sym typeface="+mn-lt"/>
              </a:endParaRP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2"/>
            </p:custDataLst>
          </p:nvPr>
        </p:nvGrpSpPr>
        <p:grpSpPr>
          <a:xfrm>
            <a:off x="11216126" y="2578635"/>
            <a:ext cx="460015" cy="518319"/>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NL" sz="1600">
                <a:solidFill>
                  <a:srgbClr val="000000"/>
                </a:solidFill>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39" y="3010992"/>
            <a:ext cx="2493855" cy="526416"/>
            <a:chOff x="915" y="705"/>
            <a:chExt cx="2686" cy="325"/>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nl-NL" sz="1600" b="1">
                  <a:solidFill>
                    <a:srgbClr val="000000"/>
                  </a:solidFill>
                  <a:sym typeface="+mn-lt"/>
                </a:rPr>
                <a:t>Titel</a:t>
              </a:r>
            </a:p>
            <a:p>
              <a:pPr defTabSz="914400" fontAlgn="base">
                <a:spcBef>
                  <a:spcPct val="0"/>
                </a:spcBef>
                <a:spcAft>
                  <a:spcPct val="0"/>
                </a:spcAft>
              </a:pPr>
              <a:r>
                <a:rPr lang="nl-NL" sz="1600">
                  <a:solidFill>
                    <a:srgbClr val="000000"/>
                  </a:solidFill>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09" y="884727"/>
            <a:ext cx="857619" cy="1013975"/>
            <a:chOff x="7941273" y="531813"/>
            <a:chExt cx="840531" cy="993790"/>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86531"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86531"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2"/>
              <a:ext cx="586531"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86531"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73" y="884725"/>
            <a:ext cx="1171855" cy="741859"/>
            <a:chOff x="7633298" y="531813"/>
            <a:chExt cx="1148507" cy="727090"/>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nl-NL" sz="1200">
                <a:solidFill>
                  <a:srgbClr val="000000"/>
                </a:solidFill>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nl-NL" sz="1200">
                <a:solidFill>
                  <a:srgbClr val="000000"/>
                </a:solidFill>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nl-NL" sz="1200">
                <a:solidFill>
                  <a:srgbClr val="000000"/>
                </a:solidFill>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3" y="531813"/>
              <a:ext cx="586532"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2" y="798513"/>
              <a:ext cx="586531"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2" y="1077914"/>
              <a:ext cx="586531"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67" y="884727"/>
            <a:ext cx="925648" cy="1333053"/>
            <a:chOff x="7874598" y="531813"/>
            <a:chExt cx="907208"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4"/>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8"/>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5"/>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6"/>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6"/>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4"/>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7"/>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1"/>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2"/>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2"/>
              <a:ext cx="58653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8653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8653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8653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8653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72" fontAlgn="base">
                <a:spcBef>
                  <a:spcPct val="0"/>
                </a:spcBef>
                <a:spcAft>
                  <a:spcPct val="0"/>
                </a:spcAft>
                <a:buClr>
                  <a:srgbClr val="003C54"/>
                </a:buClr>
              </a:pPr>
              <a:r>
                <a:rPr lang="nl-NL" sz="1200">
                  <a:solidFill>
                    <a:srgbClr val="000000"/>
                  </a:solidFill>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8"/>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40"/>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200">
                  <a:solidFill>
                    <a:srgbClr val="000000"/>
                  </a:solidFill>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9" y="54994"/>
            <a:ext cx="777991"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tabLst>
                <a:tab pos="447635" algn="l"/>
              </a:tabLst>
            </a:pPr>
            <a:r>
              <a:rPr lang="nl-NL" sz="1200" cap="all">
                <a:solidFill>
                  <a:srgbClr val="000000"/>
                </a:solidFill>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6" y="884729"/>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tabLst>
                <a:tab pos="444461" algn="l"/>
              </a:tabLst>
            </a:pPr>
            <a:r>
              <a:rPr lang="nl-NL">
                <a:solidFill>
                  <a:srgbClr val="000000"/>
                </a:solidFill>
                <a:sym typeface="+mn-lt"/>
              </a:rPr>
              <a:t>Meeteenheid </a:t>
            </a:r>
          </a:p>
        </p:txBody>
      </p:sp>
      <p:sp>
        <p:nvSpPr>
          <p:cNvPr id="224" name="SlideLogoText">
            <a:extLst>
              <a:ext uri="{FF2B5EF4-FFF2-40B4-BE49-F238E27FC236}">
                <a16:creationId xmlns:a16="http://schemas.microsoft.com/office/drawing/2014/main" id="{51FEF47F-29E7-4DC7-B7B4-DCFFA64CFB5C}"/>
              </a:ext>
            </a:extLst>
          </p:cNvPr>
          <p:cNvSpPr txBox="1"/>
          <p:nvPr userDrawn="1">
            <p:custDataLst>
              <p:tags r:id="rId33"/>
            </p:custDataLst>
          </p:nvPr>
        </p:nvSpPr>
        <p:spPr bwMode="gray">
          <a:xfrm>
            <a:off x="10069017" y="6468604"/>
            <a:ext cx="1396216" cy="169277"/>
          </a:xfrm>
          <a:prstGeom prst="rect">
            <a:avLst/>
          </a:prstGeom>
          <a:noFill/>
        </p:spPr>
        <p:txBody>
          <a:bodyPr wrap="none" lIns="0" tIns="0" rIns="0" bIns="0" rtlCol="0" anchor="b">
            <a:spAutoFit/>
          </a:bodyPr>
          <a:lstStyle/>
          <a:p>
            <a:pPr algn="ctr" defTabSz="914321">
              <a:defRPr/>
            </a:pPr>
            <a:r>
              <a:rPr lang="nl-NL" sz="1100">
                <a:solidFill>
                  <a:srgbClr val="000000"/>
                </a:solidFill>
                <a:sym typeface="+mn-lt"/>
              </a:rPr>
              <a:t>Het Potentieel Pakken</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39" y="6071656"/>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2" indent="-95242" fontAlgn="base">
              <a:spcBef>
                <a:spcPct val="0"/>
              </a:spcBef>
              <a:spcAft>
                <a:spcPct val="0"/>
              </a:spcAft>
            </a:pPr>
            <a:r>
              <a:rPr lang="nl-NL" sz="900">
                <a:solidFill>
                  <a:srgbClr val="000000"/>
                </a:solidFill>
                <a:sym typeface="+mn-lt"/>
              </a:rPr>
              <a:t>1 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38" y="6261395"/>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72" indent="-304772" defTabSz="895272" fontAlgn="base">
              <a:spcBef>
                <a:spcPct val="0"/>
              </a:spcBef>
              <a:spcAft>
                <a:spcPct val="0"/>
              </a:spcAft>
            </a:pPr>
            <a:r>
              <a:rPr lang="nl-NL" sz="900">
                <a:solidFill>
                  <a:srgbClr val="000000"/>
                </a:solidFill>
                <a:sym typeface="+mn-lt"/>
              </a:rPr>
              <a:t>Bron: Bron </a:t>
            </a:r>
          </a:p>
        </p:txBody>
      </p:sp>
    </p:spTree>
    <p:extLst>
      <p:ext uri="{BB962C8B-B14F-4D97-AF65-F5344CB8AC3E}">
        <p14:creationId xmlns:p14="http://schemas.microsoft.com/office/powerpoint/2010/main" val="206732618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9" r:id="rId10"/>
    <p:sldLayoutId id="2147483782" r:id="rId11"/>
  </p:sldLayoutIdLst>
  <p:hf sldNum="0" hdr="0"/>
  <p:txStyles>
    <p:titleStyle>
      <a:lvl1pPr algn="l" defTabSz="895272" rtl="0" eaLnBrk="1" fontAlgn="base" hangingPunct="1">
        <a:spcBef>
          <a:spcPct val="0"/>
        </a:spcBef>
        <a:spcAft>
          <a:spcPct val="0"/>
        </a:spcAft>
        <a:tabLst>
          <a:tab pos="444461" algn="l"/>
        </a:tabLst>
        <a:defRPr lang="nl-NL" sz="2800" b="0" baseline="0" noProof="0" dirty="0">
          <a:solidFill>
            <a:schemeClr val="tx2"/>
          </a:solidFill>
          <a:latin typeface="+mj-lt"/>
          <a:ea typeface="+mj-ea"/>
          <a:cs typeface="+mj-cs"/>
          <a:sym typeface="+mj-lt"/>
        </a:defRPr>
      </a:lvl1pPr>
      <a:lvl2pPr algn="l" defTabSz="895272" rtl="0" eaLnBrk="1" fontAlgn="base" hangingPunct="1">
        <a:spcBef>
          <a:spcPct val="0"/>
        </a:spcBef>
        <a:spcAft>
          <a:spcPct val="0"/>
        </a:spcAft>
        <a:defRPr sz="1900" b="1">
          <a:solidFill>
            <a:schemeClr val="tx2"/>
          </a:solidFill>
          <a:latin typeface="Arial" charset="0"/>
        </a:defRPr>
      </a:lvl2pPr>
      <a:lvl3pPr algn="l" defTabSz="895272" rtl="0" eaLnBrk="1" fontAlgn="base" hangingPunct="1">
        <a:spcBef>
          <a:spcPct val="0"/>
        </a:spcBef>
        <a:spcAft>
          <a:spcPct val="0"/>
        </a:spcAft>
        <a:defRPr sz="1900" b="1">
          <a:solidFill>
            <a:schemeClr val="tx2"/>
          </a:solidFill>
          <a:latin typeface="Arial" charset="0"/>
        </a:defRPr>
      </a:lvl3pPr>
      <a:lvl4pPr algn="l" defTabSz="895272" rtl="0" eaLnBrk="1" fontAlgn="base" hangingPunct="1">
        <a:spcBef>
          <a:spcPct val="0"/>
        </a:spcBef>
        <a:spcAft>
          <a:spcPct val="0"/>
        </a:spcAft>
        <a:defRPr sz="1900" b="1">
          <a:solidFill>
            <a:schemeClr val="tx2"/>
          </a:solidFill>
          <a:latin typeface="Arial" charset="0"/>
        </a:defRPr>
      </a:lvl4pPr>
      <a:lvl5pPr algn="l" defTabSz="895272" rtl="0" eaLnBrk="1" fontAlgn="base" hangingPunct="1">
        <a:spcBef>
          <a:spcPct val="0"/>
        </a:spcBef>
        <a:spcAft>
          <a:spcPct val="0"/>
        </a:spcAft>
        <a:defRPr sz="1900" b="1">
          <a:solidFill>
            <a:schemeClr val="tx2"/>
          </a:solidFill>
          <a:latin typeface="Arial" charset="0"/>
        </a:defRPr>
      </a:lvl5pPr>
      <a:lvl6pPr marL="457162" algn="l" defTabSz="895272" rtl="0" eaLnBrk="1" fontAlgn="base" hangingPunct="1">
        <a:spcBef>
          <a:spcPct val="0"/>
        </a:spcBef>
        <a:spcAft>
          <a:spcPct val="0"/>
        </a:spcAft>
        <a:defRPr sz="1900" b="1">
          <a:solidFill>
            <a:schemeClr val="tx2"/>
          </a:solidFill>
          <a:latin typeface="Arial" charset="0"/>
        </a:defRPr>
      </a:lvl6pPr>
      <a:lvl7pPr marL="914321" algn="l" defTabSz="895272" rtl="0" eaLnBrk="1" fontAlgn="base" hangingPunct="1">
        <a:spcBef>
          <a:spcPct val="0"/>
        </a:spcBef>
        <a:spcAft>
          <a:spcPct val="0"/>
        </a:spcAft>
        <a:defRPr sz="1900" b="1">
          <a:solidFill>
            <a:schemeClr val="tx2"/>
          </a:solidFill>
          <a:latin typeface="Arial" charset="0"/>
        </a:defRPr>
      </a:lvl7pPr>
      <a:lvl8pPr marL="1371480" algn="l" defTabSz="895272" rtl="0" eaLnBrk="1" fontAlgn="base" hangingPunct="1">
        <a:spcBef>
          <a:spcPct val="0"/>
        </a:spcBef>
        <a:spcAft>
          <a:spcPct val="0"/>
        </a:spcAft>
        <a:defRPr sz="1900" b="1">
          <a:solidFill>
            <a:schemeClr val="tx2"/>
          </a:solidFill>
          <a:latin typeface="Arial" charset="0"/>
        </a:defRPr>
      </a:lvl8pPr>
      <a:lvl9pPr marL="1828642" algn="l" defTabSz="895272" rtl="0" eaLnBrk="1" fontAlgn="base" hangingPunct="1">
        <a:spcBef>
          <a:spcPct val="0"/>
        </a:spcBef>
        <a:spcAft>
          <a:spcPct val="0"/>
        </a:spcAft>
        <a:defRPr sz="1900" b="1">
          <a:solidFill>
            <a:schemeClr val="tx2"/>
          </a:solidFill>
          <a:latin typeface="Arial" charset="0"/>
        </a:defRPr>
      </a:lvl9pPr>
    </p:titleStyle>
    <p:bodyStyle>
      <a:lvl1pPr marL="0" indent="0" algn="l" defTabSz="895272" rtl="0" eaLnBrk="1" fontAlgn="base" hangingPunct="1">
        <a:spcBef>
          <a:spcPct val="0"/>
        </a:spcBef>
        <a:spcAft>
          <a:spcPct val="0"/>
        </a:spcAft>
        <a:buClr>
          <a:schemeClr val="tx2"/>
        </a:buClr>
        <a:defRPr sz="1600" baseline="0">
          <a:solidFill>
            <a:schemeClr val="tx1"/>
          </a:solidFill>
          <a:latin typeface="+mn-lt"/>
          <a:ea typeface="+mn-ea"/>
          <a:cs typeface="+mn-cs"/>
          <a:sym typeface="+mn-lt"/>
        </a:defRPr>
      </a:lvl1pPr>
      <a:lvl2pPr marL="179982" indent="-179982" algn="l" defTabSz="895272"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2pPr>
      <a:lvl3pPr marL="359963" indent="-179982" algn="l" defTabSz="895272" rtl="0" eaLnBrk="1" fontAlgn="base" hangingPunct="1">
        <a:spcBef>
          <a:spcPct val="0"/>
        </a:spcBef>
        <a:spcAft>
          <a:spcPct val="0"/>
        </a:spcAft>
        <a:buClr>
          <a:schemeClr val="tx1"/>
        </a:buClr>
        <a:buSzPct val="100000"/>
        <a:buFont typeface="Arial" panose="020B0604020202020204" pitchFamily="34" charset="0"/>
        <a:buChar char="–"/>
        <a:defRPr sz="1600" baseline="0">
          <a:solidFill>
            <a:schemeClr val="tx1"/>
          </a:solidFill>
          <a:latin typeface="+mn-lt"/>
          <a:sym typeface="+mn-lt"/>
        </a:defRPr>
      </a:lvl3pPr>
      <a:lvl4pPr marL="539944" indent="-179982" algn="l" defTabSz="895272"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4pPr>
      <a:lvl5pPr marL="719925" indent="-179982" algn="l" defTabSz="895272"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sym typeface="+mn-lt"/>
        </a:defRPr>
      </a:lvl5pPr>
      <a:lvl6pPr marL="749744" indent="-130163" algn="l" defTabSz="8952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44" indent="-130163" algn="l" defTabSz="8952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44" indent="-130163" algn="l" defTabSz="8952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44" indent="-130163" algn="l" defTabSz="8952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21" rtl="0" eaLnBrk="1" latinLnBrk="0" hangingPunct="1">
        <a:defRPr sz="1900" kern="1200">
          <a:solidFill>
            <a:schemeClr val="tx1"/>
          </a:solidFill>
          <a:latin typeface="+mn-lt"/>
          <a:ea typeface="+mn-ea"/>
          <a:cs typeface="+mn-cs"/>
        </a:defRPr>
      </a:lvl1pPr>
      <a:lvl2pPr marL="457162" algn="l" defTabSz="914321" rtl="0" eaLnBrk="1" latinLnBrk="0" hangingPunct="1">
        <a:defRPr sz="1900" kern="1200">
          <a:solidFill>
            <a:schemeClr val="tx1"/>
          </a:solidFill>
          <a:latin typeface="+mn-lt"/>
          <a:ea typeface="+mn-ea"/>
          <a:cs typeface="+mn-cs"/>
        </a:defRPr>
      </a:lvl2pPr>
      <a:lvl3pPr marL="914321" algn="l" defTabSz="914321" rtl="0" eaLnBrk="1" latinLnBrk="0" hangingPunct="1">
        <a:defRPr sz="1900" kern="1200">
          <a:solidFill>
            <a:schemeClr val="tx1"/>
          </a:solidFill>
          <a:latin typeface="+mn-lt"/>
          <a:ea typeface="+mn-ea"/>
          <a:cs typeface="+mn-cs"/>
        </a:defRPr>
      </a:lvl3pPr>
      <a:lvl4pPr marL="1371480" algn="l" defTabSz="914321" rtl="0" eaLnBrk="1" latinLnBrk="0" hangingPunct="1">
        <a:defRPr sz="1900" kern="1200">
          <a:solidFill>
            <a:schemeClr val="tx1"/>
          </a:solidFill>
          <a:latin typeface="+mn-lt"/>
          <a:ea typeface="+mn-ea"/>
          <a:cs typeface="+mn-cs"/>
        </a:defRPr>
      </a:lvl4pPr>
      <a:lvl5pPr marL="1828642" algn="l" defTabSz="914321" rtl="0" eaLnBrk="1" latinLnBrk="0" hangingPunct="1">
        <a:defRPr sz="1900" kern="1200">
          <a:solidFill>
            <a:schemeClr val="tx1"/>
          </a:solidFill>
          <a:latin typeface="+mn-lt"/>
          <a:ea typeface="+mn-ea"/>
          <a:cs typeface="+mn-cs"/>
        </a:defRPr>
      </a:lvl5pPr>
      <a:lvl6pPr marL="2285802" algn="l" defTabSz="914321" rtl="0" eaLnBrk="1" latinLnBrk="0" hangingPunct="1">
        <a:defRPr sz="1900" kern="1200">
          <a:solidFill>
            <a:schemeClr val="tx1"/>
          </a:solidFill>
          <a:latin typeface="+mn-lt"/>
          <a:ea typeface="+mn-ea"/>
          <a:cs typeface="+mn-cs"/>
        </a:defRPr>
      </a:lvl6pPr>
      <a:lvl7pPr marL="2742962" algn="l" defTabSz="914321" rtl="0" eaLnBrk="1" latinLnBrk="0" hangingPunct="1">
        <a:defRPr sz="1900" kern="1200">
          <a:solidFill>
            <a:schemeClr val="tx1"/>
          </a:solidFill>
          <a:latin typeface="+mn-lt"/>
          <a:ea typeface="+mn-ea"/>
          <a:cs typeface="+mn-cs"/>
        </a:defRPr>
      </a:lvl7pPr>
      <a:lvl8pPr marL="3200123" algn="l" defTabSz="914321" rtl="0" eaLnBrk="1" latinLnBrk="0" hangingPunct="1">
        <a:defRPr sz="1900" kern="1200">
          <a:solidFill>
            <a:schemeClr val="tx1"/>
          </a:solidFill>
          <a:latin typeface="+mn-lt"/>
          <a:ea typeface="+mn-ea"/>
          <a:cs typeface="+mn-cs"/>
        </a:defRPr>
      </a:lvl8pPr>
      <a:lvl9pPr marL="3657283" algn="l" defTabSz="91432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6"/>
            </p:custDataLst>
          </p:nvPr>
        </p:nvGraphicFramePr>
        <p:xfrm>
          <a:off x="1" y="0"/>
          <a:ext cx="215979" cy="161975"/>
        </p:xfrm>
        <a:graphic>
          <a:graphicData uri="http://schemas.openxmlformats.org/presentationml/2006/ole">
            <mc:AlternateContent xmlns:mc="http://schemas.openxmlformats.org/markup-compatibility/2006">
              <mc:Choice xmlns:v="urn:schemas-microsoft-com:vml" Requires="v">
                <p:oleObj spid="_x0000_s51203"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 y="0"/>
                        <a:ext cx="215979"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7"/>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332" fontAlgn="base">
              <a:spcBef>
                <a:spcPct val="0"/>
              </a:spcBef>
              <a:spcAft>
                <a:spcPct val="0"/>
              </a:spcAft>
            </a:pPr>
            <a:endParaRPr lang="en-US" sz="2800" b="0" i="0" baseline="0" err="1">
              <a:solidFill>
                <a:srgbClr val="000000"/>
              </a:solidFill>
              <a:latin typeface="Gill Sans Nova Medium" panose="020B0502020204020203"/>
              <a:ea typeface="ＭＳ Ｐゴシック" panose="020B0600070205080204" pitchFamily="34" charset="-128"/>
              <a:cs typeface="+mj-cs"/>
              <a:sym typeface="Gill Sans Nova Medium" panose="020B0502020204020203"/>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8"/>
            </p:custDataLst>
          </p:nvPr>
        </p:nvGrpSpPr>
        <p:grpSpPr>
          <a:xfrm>
            <a:off x="1036653" y="4748126"/>
            <a:ext cx="5079595" cy="1332992"/>
            <a:chOff x="5905500" y="3124200"/>
            <a:chExt cx="4978400" cy="1306453"/>
          </a:xfrm>
        </p:grpSpPr>
        <p:grpSp>
          <p:nvGrpSpPr>
            <p:cNvPr id="83" name="Group 82">
              <a:extLst>
                <a:ext uri="{FF2B5EF4-FFF2-40B4-BE49-F238E27FC236}">
                  <a16:creationId xmlns:a16="http://schemas.microsoft.com/office/drawing/2014/main" id="{827DA976-D5BE-4015-A977-74EA452DBA81}"/>
                </a:ext>
              </a:extLst>
            </p:cNvPr>
            <p:cNvGrpSpPr/>
            <p:nvPr>
              <p:custDataLst>
                <p:tags r:id="rId73"/>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8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81"/>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4"/>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9"/>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5"/>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7"/>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1"/>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3" y="4189333"/>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3" y="418933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9"/>
            </p:custDataLst>
          </p:nvPr>
        </p:nvGrpSpPr>
        <p:grpSpPr>
          <a:xfrm>
            <a:off x="6290145" y="4748119"/>
            <a:ext cx="5079595" cy="1333409"/>
            <a:chOff x="5905500" y="3124200"/>
            <a:chExt cx="4978400" cy="1306863"/>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4"/>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71"/>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2"/>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5"/>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9"/>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70"/>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6"/>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8"/>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3"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3"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grpSp>
      <p:sp>
        <p:nvSpPr>
          <p:cNvPr id="1036" name="Rectangle 286"/>
          <p:cNvSpPr>
            <a:spLocks noGrp="1" noChangeArrowheads="1"/>
          </p:cNvSpPr>
          <p:nvPr>
            <p:ph type="body" idx="1"/>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9" name="Title"/>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r>
              <a:rPr lang="en-US" noProof="0"/>
              <a:t>Click to edit aster title style</a:t>
            </a:r>
            <a:endParaRPr lang="nl-NL" noProof="0"/>
          </a:p>
        </p:txBody>
      </p:sp>
      <p:sp>
        <p:nvSpPr>
          <p:cNvPr id="93" name="Oval" hidden="1"/>
          <p:cNvSpPr txBox="1">
            <a:spLocks/>
          </p:cNvSpPr>
          <p:nvPr>
            <p:custDataLst>
              <p:tags r:id="rId20"/>
            </p:custDataLst>
          </p:nvPr>
        </p:nvSpPr>
        <p:spPr bwMode="gray">
          <a:xfrm>
            <a:off x="6878925" y="1451181"/>
            <a:ext cx="1554979"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8" tIns="35998" rIns="35998" bIns="35998"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4" name="Rectangle" hidden="1"/>
          <p:cNvSpPr txBox="1">
            <a:spLocks/>
          </p:cNvSpPr>
          <p:nvPr>
            <p:custDataLst>
              <p:tags r:id="rId21"/>
            </p:custDataLst>
          </p:nvPr>
        </p:nvSpPr>
        <p:spPr bwMode="gray">
          <a:xfrm>
            <a:off x="3524057" y="1451181"/>
            <a:ext cx="1554979" cy="1554955"/>
          </a:xfrm>
          <a:prstGeom prst="rect">
            <a:avLst/>
          </a:prstGeom>
          <a:solidFill>
            <a:schemeClr val="accent1"/>
          </a:solidFill>
          <a:ln w="9525">
            <a:solidFill>
              <a:schemeClr val="tx1"/>
            </a:solidFill>
            <a:miter lim="800000"/>
            <a:headEnd/>
            <a:tailEnd/>
          </a:ln>
          <a:effectLst/>
        </p:spPr>
        <p:txBody>
          <a:bodyPr vert="horz" wrap="square" lIns="71993" tIns="71993" rIns="71993" bIns="71993"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5" name="RoundedRectangle" hidden="1"/>
          <p:cNvSpPr txBox="1">
            <a:spLocks/>
          </p:cNvSpPr>
          <p:nvPr>
            <p:custDataLst>
              <p:tags r:id="rId22"/>
            </p:custDataLst>
          </p:nvPr>
        </p:nvSpPr>
        <p:spPr bwMode="gray">
          <a:xfrm>
            <a:off x="5217041" y="1451181"/>
            <a:ext cx="1554979" cy="1554955"/>
          </a:xfrm>
          <a:prstGeom prst="roundRect">
            <a:avLst/>
          </a:prstGeom>
          <a:solidFill>
            <a:schemeClr val="accent1"/>
          </a:solidFill>
          <a:ln w="9525">
            <a:solidFill>
              <a:schemeClr val="tx1"/>
            </a:solidFill>
            <a:miter lim="800000"/>
            <a:headEnd/>
            <a:tailEnd/>
          </a:ln>
          <a:effectLst/>
        </p:spPr>
        <p:txBody>
          <a:bodyPr vert="horz" wrap="square" lIns="71993" tIns="71993" rIns="71993" bIns="71993"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err="1">
                <a:solidFill>
                  <a:srgbClr val="000000"/>
                </a:solidFill>
                <a:latin typeface="Gill Sans Nova Light" panose="020B0402020204020203" pitchFamily="34" charset="0"/>
                <a:sym typeface="+mn-lt"/>
              </a:rPr>
              <a:t>Text</a:t>
            </a:r>
            <a:endParaRPr lang="nl-NL">
              <a:solidFill>
                <a:srgbClr val="000000"/>
              </a:solidFill>
              <a:latin typeface="Gill Sans Nova Light" panose="020B0402020204020203" pitchFamily="34" charset="0"/>
              <a:sym typeface="+mn-lt"/>
            </a:endParaRPr>
          </a:p>
        </p:txBody>
      </p:sp>
      <p:sp>
        <p:nvSpPr>
          <p:cNvPr id="96" name="Arrow" hidden="1"/>
          <p:cNvSpPr txBox="1">
            <a:spLocks/>
          </p:cNvSpPr>
          <p:nvPr>
            <p:custDataLst>
              <p:tags r:id="rId23"/>
            </p:custDataLst>
          </p:nvPr>
        </p:nvSpPr>
        <p:spPr bwMode="gray">
          <a:xfrm>
            <a:off x="3490717" y="4223448"/>
            <a:ext cx="1865973"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3" tIns="71993" rIns="71993" bIns="71993"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7" name="DirArrow" hidden="1"/>
          <p:cNvSpPr>
            <a:spLocks noChangeArrowheads="1"/>
          </p:cNvSpPr>
          <p:nvPr>
            <p:custDataLst>
              <p:tags r:id="rId24"/>
            </p:custDataLst>
          </p:nvPr>
        </p:nvSpPr>
        <p:spPr bwMode="gray">
          <a:xfrm rot="5400000">
            <a:off x="7170381" y="2852711"/>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09" tIns="60954" rIns="121909" bIns="60954" anchor="ctr"/>
          <a:lstStyle/>
          <a:p>
            <a:pPr defTabSz="914332" fontAlgn="base">
              <a:spcBef>
                <a:spcPct val="0"/>
              </a:spcBef>
              <a:spcAft>
                <a:spcPct val="0"/>
              </a:spcAft>
            </a:pPr>
            <a:endParaRPr lang="en-US" sz="1600">
              <a:solidFill>
                <a:srgbClr val="000000"/>
              </a:solidFill>
              <a:latin typeface="Gill Sans Nova Light" panose="020B0402020204020203" pitchFamily="34" charset="0"/>
              <a:sym typeface="+mn-lt"/>
            </a:endParaRPr>
          </a:p>
        </p:txBody>
      </p:sp>
      <p:sp>
        <p:nvSpPr>
          <p:cNvPr id="98" name="Bracket" hidden="1"/>
          <p:cNvSpPr>
            <a:spLocks noChangeAspect="1"/>
          </p:cNvSpPr>
          <p:nvPr>
            <p:custDataLst>
              <p:tags r:id="rId25"/>
            </p:custDataLst>
          </p:nvPr>
        </p:nvSpPr>
        <p:spPr bwMode="gray">
          <a:xfrm>
            <a:off x="7584101" y="3148305"/>
            <a:ext cx="189515" cy="186594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09" tIns="60954" rIns="121909" bIns="60954" anchor="ctr"/>
          <a:lstStyle/>
          <a:p>
            <a:pPr defTabSz="914332" fontAlgn="base">
              <a:spcBef>
                <a:spcPct val="0"/>
              </a:spcBef>
              <a:spcAft>
                <a:spcPct val="0"/>
              </a:spcAft>
            </a:pPr>
            <a:endParaRPr lang="en-US" sz="1600" baseline="30000">
              <a:solidFill>
                <a:srgbClr val="000000"/>
              </a:solidFill>
              <a:latin typeface="Gill Sans Nova Light" panose="020B0402020204020203" pitchFamily="34" charset="0"/>
              <a:sym typeface="+mn-lt"/>
            </a:endParaRPr>
          </a:p>
        </p:txBody>
      </p:sp>
      <p:grpSp>
        <p:nvGrpSpPr>
          <p:cNvPr id="99" name="Flow" hidden="1"/>
          <p:cNvGrpSpPr>
            <a:grpSpLocks/>
          </p:cNvGrpSpPr>
          <p:nvPr>
            <p:custDataLst>
              <p:tags r:id="rId26"/>
            </p:custDataLst>
          </p:nvPr>
        </p:nvGrpSpPr>
        <p:grpSpPr bwMode="gray">
          <a:xfrm>
            <a:off x="3492960" y="3148304"/>
            <a:ext cx="1865973" cy="932973"/>
            <a:chOff x="5905500" y="3124200"/>
            <a:chExt cx="1828800" cy="914400"/>
          </a:xfrm>
        </p:grpSpPr>
        <p:sp>
          <p:nvSpPr>
            <p:cNvPr id="100" name="Freeform 99"/>
            <p:cNvSpPr/>
            <p:nvPr>
              <p:custDataLst>
                <p:tags r:id="rId62"/>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01" name="TextBox 100"/>
            <p:cNvSpPr txBox="1"/>
            <p:nvPr>
              <p:custDataLst>
                <p:tags r:id="rId63"/>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02" name="SplitFlow" hidden="1"/>
          <p:cNvGrpSpPr/>
          <p:nvPr>
            <p:custDataLst>
              <p:tags r:id="rId27"/>
            </p:custDataLst>
          </p:nvPr>
        </p:nvGrpSpPr>
        <p:grpSpPr bwMode="gray">
          <a:xfrm>
            <a:off x="5538532" y="3148304"/>
            <a:ext cx="1865973" cy="932973"/>
            <a:chOff x="114300" y="1270000"/>
            <a:chExt cx="1828800" cy="914400"/>
          </a:xfrm>
        </p:grpSpPr>
        <p:sp>
          <p:nvSpPr>
            <p:cNvPr id="103" name="Freeform 102"/>
            <p:cNvSpPr/>
            <p:nvPr>
              <p:custDataLst>
                <p:tags r:id="rId58"/>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de-DE" sz="1600" err="1">
                <a:solidFill>
                  <a:srgbClr val="000000"/>
                </a:solidFill>
                <a:latin typeface="Gill Sans Nova Light" panose="020B0402020204020203" pitchFamily="34" charset="0"/>
                <a:sym typeface="+mn-lt"/>
              </a:endParaRPr>
            </a:p>
          </p:txBody>
        </p:sp>
        <p:sp>
          <p:nvSpPr>
            <p:cNvPr id="104" name="TextBox 103"/>
            <p:cNvSpPr txBox="1"/>
            <p:nvPr>
              <p:custDataLst>
                <p:tags r:id="rId59"/>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05" name="Freeform 104"/>
            <p:cNvSpPr/>
            <p:nvPr>
              <p:custDataLst>
                <p:tags r:id="rId60"/>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de-DE" sz="1600" err="1">
                <a:solidFill>
                  <a:srgbClr val="000000"/>
                </a:solidFill>
                <a:latin typeface="Gill Sans Nova Light" panose="020B0402020204020203" pitchFamily="34" charset="0"/>
                <a:sym typeface="+mn-lt"/>
              </a:endParaRPr>
            </a:p>
          </p:txBody>
        </p:sp>
        <p:sp>
          <p:nvSpPr>
            <p:cNvPr id="106" name="TextBox 105"/>
            <p:cNvSpPr txBox="1"/>
            <p:nvPr>
              <p:custDataLst>
                <p:tags r:id="rId61"/>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23" name="Sticker" hidden="1"/>
          <p:cNvGrpSpPr/>
          <p:nvPr/>
        </p:nvGrpSpPr>
        <p:grpSpPr bwMode="gray">
          <a:xfrm>
            <a:off x="11093836" y="887190"/>
            <a:ext cx="543417" cy="241447"/>
            <a:chOff x="8208184" y="288160"/>
            <a:chExt cx="532591" cy="236638"/>
          </a:xfrm>
        </p:grpSpPr>
        <p:sp>
          <p:nvSpPr>
            <p:cNvPr id="124" name="StickerRectangle"/>
            <p:cNvSpPr>
              <a:spLocks noChangeArrowheads="1"/>
            </p:cNvSpPr>
            <p:nvPr/>
          </p:nvSpPr>
          <p:spPr bwMode="gray">
            <a:xfrm>
              <a:off x="8208184" y="288160"/>
              <a:ext cx="532591" cy="2366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228" fontAlgn="base">
                <a:spcBef>
                  <a:spcPct val="0"/>
                </a:spcBef>
                <a:spcAft>
                  <a:spcPct val="0"/>
                </a:spcAft>
                <a:buClr>
                  <a:srgbClr val="003C54"/>
                </a:buClr>
              </a:pPr>
              <a:r>
                <a:rPr lang="da-DK" sz="1200">
                  <a:solidFill>
                    <a:srgbClr val="000000"/>
                  </a:solidFill>
                  <a:latin typeface="Gill Sans Nova Light" panose="020B0402020204020203" pitchFamily="34" charset="0"/>
                  <a:sym typeface="+mn-lt"/>
                </a:rPr>
                <a:t>STICKER</a:t>
              </a:r>
            </a:p>
          </p:txBody>
        </p:sp>
        <p:cxnSp>
          <p:nvCxnSpPr>
            <p:cNvPr id="125" name="AutoShape 32"/>
            <p:cNvCxnSpPr>
              <a:cxnSpLocks noChangeShapeType="1"/>
              <a:stCxn id="124" idx="4"/>
              <a:endCxn id="124" idx="6"/>
            </p:cNvCxnSpPr>
            <p:nvPr/>
          </p:nvCxnSpPr>
          <p:spPr bwMode="gray">
            <a:xfrm>
              <a:off x="8208184" y="524798"/>
              <a:ext cx="532591"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208184" y="288160"/>
              <a:ext cx="532591"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8"/>
            </p:custDataLst>
          </p:nvPr>
        </p:nvGrpSpPr>
        <p:grpSpPr bwMode="gray">
          <a:xfrm>
            <a:off x="9777013" y="4818917"/>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32" fontAlgn="base">
                <a:spcBef>
                  <a:spcPct val="0"/>
                </a:spcBef>
                <a:spcAft>
                  <a:spcPct val="0"/>
                </a:spcAft>
              </a:pPr>
              <a:endParaRPr lang="en-US" sz="1600">
                <a:solidFill>
                  <a:srgbClr val="000000"/>
                </a:solidFill>
                <a:latin typeface="Gill Sans Nova Light" panose="020B0402020204020203" pitchFamily="34" charset="0"/>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9"/>
            </p:custDataLst>
          </p:nvPr>
        </p:nvSpPr>
        <p:spPr>
          <a:xfrm>
            <a:off x="511473" y="3485693"/>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30"/>
            </p:custDataLst>
          </p:nvPr>
        </p:nvGrpSpPr>
        <p:grpSpPr>
          <a:xfrm>
            <a:off x="1041169"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31"/>
            </p:custDataLst>
          </p:nvPr>
        </p:nvGrpSpPr>
        <p:grpSpPr>
          <a:xfrm>
            <a:off x="1888090" y="3498649"/>
            <a:ext cx="1268193"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2"/>
            </p:custDataLst>
          </p:nvPr>
        </p:nvGrpSpPr>
        <p:grpSpPr>
          <a:xfrm>
            <a:off x="9203357" y="2145092"/>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2"/>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3"/>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69" name="Freeform: Shape 168">
              <a:extLst>
                <a:ext uri="{FF2B5EF4-FFF2-40B4-BE49-F238E27FC236}">
                  <a16:creationId xmlns:a16="http://schemas.microsoft.com/office/drawing/2014/main" id="{BB7BED76-2503-4209-8A7E-CA5A477F5F00}"/>
                </a:ext>
              </a:extLst>
            </p:cNvPr>
            <p:cNvSpPr/>
            <p:nvPr>
              <p:custDataLst>
                <p:tags r:id="rId54"/>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5"/>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71" name="Freeform: Shape 170">
              <a:extLst>
                <a:ext uri="{FF2B5EF4-FFF2-40B4-BE49-F238E27FC236}">
                  <a16:creationId xmlns:a16="http://schemas.microsoft.com/office/drawing/2014/main" id="{2D42E41B-DC12-4382-AC13-5867DF745C14}"/>
                </a:ext>
              </a:extLst>
            </p:cNvPr>
            <p:cNvSpPr/>
            <p:nvPr>
              <p:custDataLst>
                <p:tags r:id="rId56"/>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7"/>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3"/>
            </p:custDataLst>
          </p:nvPr>
        </p:nvGrpSpPr>
        <p:grpSpPr>
          <a:xfrm>
            <a:off x="9203352" y="3163188"/>
            <a:ext cx="1865973"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50"/>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51"/>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4"/>
            </p:custDataLst>
          </p:nvPr>
        </p:nvGrpSpPr>
        <p:grpSpPr>
          <a:xfrm>
            <a:off x="11216129" y="2578638"/>
            <a:ext cx="460015" cy="518319"/>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42" y="3010992"/>
            <a:ext cx="2493855" cy="526416"/>
            <a:chOff x="915" y="705"/>
            <a:chExt cx="2686" cy="325"/>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332" fontAlgn="base">
                <a:spcBef>
                  <a:spcPct val="0"/>
                </a:spcBef>
                <a:spcAft>
                  <a:spcPct val="0"/>
                </a:spcAft>
              </a:pPr>
              <a:r>
                <a:rPr lang="nl-NL" sz="1600">
                  <a:solidFill>
                    <a:srgbClr val="000000"/>
                  </a:solidFill>
                  <a:latin typeface="Gill Sans Nova Light" panose="020B0402020204020203" pitchFamily="34" charset="0"/>
                  <a:sym typeface="+mn-lt"/>
                </a:rPr>
                <a:t>Titel</a:t>
              </a:r>
            </a:p>
            <a:p>
              <a:pPr defTabSz="914332" fontAlgn="base">
                <a:spcBef>
                  <a:spcPct val="0"/>
                </a:spcBef>
                <a:spcAft>
                  <a:spcPct val="0"/>
                </a:spcAft>
              </a:pPr>
              <a:r>
                <a:rPr lang="nl-NL" sz="1600">
                  <a:solidFill>
                    <a:srgbClr val="000000"/>
                  </a:solidFill>
                  <a:latin typeface="Gill Sans Nova Light" panose="020B0402020204020203" pitchFamily="34" charset="0"/>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13" y="884727"/>
            <a:ext cx="826627" cy="1013976"/>
            <a:chOff x="7941273" y="531813"/>
            <a:chExt cx="810157" cy="993791"/>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72" y="884727"/>
            <a:ext cx="1140861" cy="741860"/>
            <a:chOff x="7633298" y="531813"/>
            <a:chExt cx="1118131" cy="727091"/>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2" y="5318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1" y="7985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1" y="1077914"/>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67" y="884728"/>
            <a:ext cx="894656" cy="1333053"/>
            <a:chOff x="7874598" y="531813"/>
            <a:chExt cx="876833"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5"/>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6"/>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7"/>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7"/>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8"/>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2"/>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9"/>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7" y="54995"/>
            <a:ext cx="664712"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332" fontAlgn="base">
              <a:spcBef>
                <a:spcPct val="0"/>
              </a:spcBef>
              <a:spcAft>
                <a:spcPct val="0"/>
              </a:spcAft>
              <a:tabLst>
                <a:tab pos="447611" algn="l"/>
              </a:tabLst>
            </a:pPr>
            <a:r>
              <a:rPr lang="nl-NL" sz="1200" cap="all">
                <a:solidFill>
                  <a:srgbClr val="000000"/>
                </a:solidFill>
                <a:latin typeface="Gill Sans Nova Light" panose="020B0402020204020203" pitchFamily="34" charset="0"/>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6" y="884731"/>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tabLst>
                <a:tab pos="444440" algn="l"/>
              </a:tabLst>
            </a:pPr>
            <a:r>
              <a:rPr lang="nl-NL" sz="1900">
                <a:solidFill>
                  <a:srgbClr val="000000"/>
                </a:solidFill>
                <a:latin typeface="Gill Sans Nova Light" panose="020B0402020204020203" pitchFamily="34" charset="0"/>
                <a:sym typeface="+mn-lt"/>
              </a:rPr>
              <a:t>Meeteenheid </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42" y="6071656"/>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41" y="6261395"/>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Tree>
    <p:extLst>
      <p:ext uri="{BB962C8B-B14F-4D97-AF65-F5344CB8AC3E}">
        <p14:creationId xmlns:p14="http://schemas.microsoft.com/office/powerpoint/2010/main" val="370798145"/>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6" r:id="rId7"/>
    <p:sldLayoutId id="2147483727" r:id="rId8"/>
    <p:sldLayoutId id="2147483728" r:id="rId9"/>
    <p:sldLayoutId id="2147483729" r:id="rId10"/>
    <p:sldLayoutId id="2147483730" r:id="rId11"/>
    <p:sldLayoutId id="2147483731" r:id="rId12"/>
    <p:sldLayoutId id="2147483732" r:id="rId13"/>
  </p:sldLayoutIdLst>
  <p:hf sldNum="0" hdr="0"/>
  <p:txStyles>
    <p:titleStyle>
      <a:lvl1pPr algn="l" defTabSz="895228" rtl="0" eaLnBrk="1" fontAlgn="base" hangingPunct="1">
        <a:spcBef>
          <a:spcPct val="0"/>
        </a:spcBef>
        <a:spcAft>
          <a:spcPct val="0"/>
        </a:spcAft>
        <a:tabLst>
          <a:tab pos="444440" algn="l"/>
        </a:tabLst>
        <a:defRPr lang="nl-NL" sz="2800" b="0" i="0" baseline="0" noProof="0" dirty="0">
          <a:solidFill>
            <a:schemeClr val="tx2"/>
          </a:solidFill>
          <a:latin typeface="Gill Sans Nova Medium" panose="020B0502020204020203" pitchFamily="34" charset="0"/>
          <a:ea typeface="+mj-ea"/>
          <a:cs typeface="+mj-cs"/>
          <a:sym typeface="+mj-lt"/>
        </a:defRPr>
      </a:lvl1pPr>
      <a:lvl2pPr algn="l" defTabSz="895228" rtl="0" eaLnBrk="1" fontAlgn="base" hangingPunct="1">
        <a:spcBef>
          <a:spcPct val="0"/>
        </a:spcBef>
        <a:spcAft>
          <a:spcPct val="0"/>
        </a:spcAft>
        <a:defRPr sz="1900" b="1">
          <a:solidFill>
            <a:schemeClr val="tx2"/>
          </a:solidFill>
          <a:latin typeface="Arial" charset="0"/>
        </a:defRPr>
      </a:lvl2pPr>
      <a:lvl3pPr algn="l" defTabSz="895228" rtl="0" eaLnBrk="1" fontAlgn="base" hangingPunct="1">
        <a:spcBef>
          <a:spcPct val="0"/>
        </a:spcBef>
        <a:spcAft>
          <a:spcPct val="0"/>
        </a:spcAft>
        <a:defRPr sz="1900" b="1">
          <a:solidFill>
            <a:schemeClr val="tx2"/>
          </a:solidFill>
          <a:latin typeface="Arial" charset="0"/>
        </a:defRPr>
      </a:lvl3pPr>
      <a:lvl4pPr algn="l" defTabSz="895228" rtl="0" eaLnBrk="1" fontAlgn="base" hangingPunct="1">
        <a:spcBef>
          <a:spcPct val="0"/>
        </a:spcBef>
        <a:spcAft>
          <a:spcPct val="0"/>
        </a:spcAft>
        <a:defRPr sz="1900" b="1">
          <a:solidFill>
            <a:schemeClr val="tx2"/>
          </a:solidFill>
          <a:latin typeface="Arial" charset="0"/>
        </a:defRPr>
      </a:lvl4pPr>
      <a:lvl5pPr algn="l" defTabSz="895228" rtl="0" eaLnBrk="1" fontAlgn="base" hangingPunct="1">
        <a:spcBef>
          <a:spcPct val="0"/>
        </a:spcBef>
        <a:spcAft>
          <a:spcPct val="0"/>
        </a:spcAft>
        <a:defRPr sz="1900" b="1">
          <a:solidFill>
            <a:schemeClr val="tx2"/>
          </a:solidFill>
          <a:latin typeface="Arial" charset="0"/>
        </a:defRPr>
      </a:lvl5pPr>
      <a:lvl6pPr marL="457139" algn="l" defTabSz="895228" rtl="0" eaLnBrk="1" fontAlgn="base" hangingPunct="1">
        <a:spcBef>
          <a:spcPct val="0"/>
        </a:spcBef>
        <a:spcAft>
          <a:spcPct val="0"/>
        </a:spcAft>
        <a:defRPr sz="1900" b="1">
          <a:solidFill>
            <a:schemeClr val="tx2"/>
          </a:solidFill>
          <a:latin typeface="Arial" charset="0"/>
        </a:defRPr>
      </a:lvl6pPr>
      <a:lvl7pPr marL="914276" algn="l" defTabSz="895228" rtl="0" eaLnBrk="1" fontAlgn="base" hangingPunct="1">
        <a:spcBef>
          <a:spcPct val="0"/>
        </a:spcBef>
        <a:spcAft>
          <a:spcPct val="0"/>
        </a:spcAft>
        <a:defRPr sz="1900" b="1">
          <a:solidFill>
            <a:schemeClr val="tx2"/>
          </a:solidFill>
          <a:latin typeface="Arial" charset="0"/>
        </a:defRPr>
      </a:lvl7pPr>
      <a:lvl8pPr marL="1371412" algn="l" defTabSz="895228" rtl="0" eaLnBrk="1" fontAlgn="base" hangingPunct="1">
        <a:spcBef>
          <a:spcPct val="0"/>
        </a:spcBef>
        <a:spcAft>
          <a:spcPct val="0"/>
        </a:spcAft>
        <a:defRPr sz="1900" b="1">
          <a:solidFill>
            <a:schemeClr val="tx2"/>
          </a:solidFill>
          <a:latin typeface="Arial" charset="0"/>
        </a:defRPr>
      </a:lvl8pPr>
      <a:lvl9pPr marL="1828552" algn="l" defTabSz="895228" rtl="0" eaLnBrk="1" fontAlgn="base" hangingPunct="1">
        <a:spcBef>
          <a:spcPct val="0"/>
        </a:spcBef>
        <a:spcAft>
          <a:spcPct val="0"/>
        </a:spcAft>
        <a:defRPr sz="1900" b="1">
          <a:solidFill>
            <a:schemeClr val="tx2"/>
          </a:solidFill>
          <a:latin typeface="Arial" charset="0"/>
        </a:defRPr>
      </a:lvl9pPr>
    </p:titleStyle>
    <p:bodyStyle>
      <a:lvl1pPr marL="0" indent="0" algn="l" defTabSz="895228" rtl="0" eaLnBrk="1" fontAlgn="base" hangingPunct="1">
        <a:spcBef>
          <a:spcPct val="0"/>
        </a:spcBef>
        <a:spcAft>
          <a:spcPct val="0"/>
        </a:spcAft>
        <a:buClr>
          <a:schemeClr val="tx2"/>
        </a:buClr>
        <a:defRPr sz="1600" b="0" i="0" baseline="0">
          <a:solidFill>
            <a:schemeClr val="tx1"/>
          </a:solidFill>
          <a:latin typeface="Gill Sans Nova Light" panose="020B0402020204020203" pitchFamily="34" charset="0"/>
          <a:ea typeface="+mn-ea"/>
          <a:cs typeface="+mn-cs"/>
          <a:sym typeface="+mn-lt"/>
        </a:defRPr>
      </a:lvl1pPr>
      <a:lvl2pPr marL="179974" indent="-179974" algn="l" defTabSz="895228" rtl="0" eaLnBrk="1" fontAlgn="base" hangingPunct="1">
        <a:spcBef>
          <a:spcPct val="0"/>
        </a:spcBef>
        <a:spcAft>
          <a:spcPct val="0"/>
        </a:spcAft>
        <a:buClr>
          <a:schemeClr val="tx1"/>
        </a:buClr>
        <a:buSzPct val="100000"/>
        <a:buFont typeface="Arial" pitchFamily="34" charset="0"/>
        <a:buChar char="•"/>
        <a:defRPr sz="1600" b="0" i="0" baseline="0">
          <a:solidFill>
            <a:schemeClr val="tx1"/>
          </a:solidFill>
          <a:latin typeface="Gill Sans Nova Light" panose="020B0402020204020203" pitchFamily="34" charset="0"/>
          <a:sym typeface="+mn-lt"/>
        </a:defRPr>
      </a:lvl2pPr>
      <a:lvl3pPr marL="359946" indent="-179974" algn="l" defTabSz="895228" rtl="0" eaLnBrk="1" fontAlgn="base" hangingPunct="1">
        <a:spcBef>
          <a:spcPct val="0"/>
        </a:spcBef>
        <a:spcAft>
          <a:spcPct val="0"/>
        </a:spcAft>
        <a:buClr>
          <a:schemeClr val="tx1"/>
        </a:buClr>
        <a:buSzPct val="100000"/>
        <a:buFont typeface="Arial" panose="020B0604020202020204" pitchFamily="34" charset="0"/>
        <a:buChar char="–"/>
        <a:defRPr sz="1600" b="0" i="0" baseline="0">
          <a:solidFill>
            <a:schemeClr val="tx1"/>
          </a:solidFill>
          <a:latin typeface="Gill Sans Nova Light" panose="020B0402020204020203" pitchFamily="34" charset="0"/>
          <a:sym typeface="+mn-lt"/>
        </a:defRPr>
      </a:lvl3pPr>
      <a:lvl4pPr marL="539917" indent="-179974" algn="l" defTabSz="895228" rtl="0" eaLnBrk="1" fontAlgn="base" hangingPunct="1">
        <a:spcBef>
          <a:spcPct val="0"/>
        </a:spcBef>
        <a:spcAft>
          <a:spcPct val="0"/>
        </a:spcAft>
        <a:buClr>
          <a:schemeClr val="tx1"/>
        </a:buClr>
        <a:buSzPct val="100000"/>
        <a:buFont typeface="Arial" pitchFamily="34" charset="0"/>
        <a:buChar char="»"/>
        <a:defRPr sz="1600" b="0" i="0" baseline="0">
          <a:solidFill>
            <a:schemeClr val="tx1"/>
          </a:solidFill>
          <a:latin typeface="Gill Sans Nova Light" panose="020B0402020204020203" pitchFamily="34" charset="0"/>
          <a:sym typeface="+mn-lt"/>
        </a:defRPr>
      </a:lvl4pPr>
      <a:lvl5pPr marL="719889" indent="-179974" algn="l" defTabSz="895228" rtl="0" eaLnBrk="1" fontAlgn="base" hangingPunct="1">
        <a:spcBef>
          <a:spcPct val="0"/>
        </a:spcBef>
        <a:spcAft>
          <a:spcPct val="0"/>
        </a:spcAft>
        <a:buClr>
          <a:schemeClr val="tx2"/>
        </a:buClr>
        <a:buSzPct val="100000"/>
        <a:buFont typeface="Arial" panose="020B0604020202020204" pitchFamily="34" charset="0"/>
        <a:buChar char="›"/>
        <a:defRPr sz="1600" b="0" i="0" baseline="0">
          <a:solidFill>
            <a:schemeClr val="tx1"/>
          </a:solidFill>
          <a:latin typeface="Gill Sans Nova Light" panose="020B0402020204020203" pitchFamily="34" charset="0"/>
          <a:sym typeface="+mn-lt"/>
        </a:defRPr>
      </a:lvl5pPr>
      <a:lvl6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276" rtl="0" eaLnBrk="1" latinLnBrk="0" hangingPunct="1">
        <a:defRPr sz="1900" kern="1200">
          <a:solidFill>
            <a:schemeClr val="tx1"/>
          </a:solidFill>
          <a:latin typeface="+mn-lt"/>
          <a:ea typeface="+mn-ea"/>
          <a:cs typeface="+mn-cs"/>
        </a:defRPr>
      </a:lvl1pPr>
      <a:lvl2pPr marL="457139" algn="l" defTabSz="914276" rtl="0" eaLnBrk="1" latinLnBrk="0" hangingPunct="1">
        <a:defRPr sz="1900" kern="1200">
          <a:solidFill>
            <a:schemeClr val="tx1"/>
          </a:solidFill>
          <a:latin typeface="+mn-lt"/>
          <a:ea typeface="+mn-ea"/>
          <a:cs typeface="+mn-cs"/>
        </a:defRPr>
      </a:lvl2pPr>
      <a:lvl3pPr marL="914276" algn="l" defTabSz="914276" rtl="0" eaLnBrk="1" latinLnBrk="0" hangingPunct="1">
        <a:defRPr sz="1900" kern="1200">
          <a:solidFill>
            <a:schemeClr val="tx1"/>
          </a:solidFill>
          <a:latin typeface="+mn-lt"/>
          <a:ea typeface="+mn-ea"/>
          <a:cs typeface="+mn-cs"/>
        </a:defRPr>
      </a:lvl3pPr>
      <a:lvl4pPr marL="1371412" algn="l" defTabSz="914276" rtl="0" eaLnBrk="1" latinLnBrk="0" hangingPunct="1">
        <a:defRPr sz="1900" kern="1200">
          <a:solidFill>
            <a:schemeClr val="tx1"/>
          </a:solidFill>
          <a:latin typeface="+mn-lt"/>
          <a:ea typeface="+mn-ea"/>
          <a:cs typeface="+mn-cs"/>
        </a:defRPr>
      </a:lvl4pPr>
      <a:lvl5pPr marL="1828552" algn="l" defTabSz="914276" rtl="0" eaLnBrk="1" latinLnBrk="0" hangingPunct="1">
        <a:defRPr sz="1900" kern="1200">
          <a:solidFill>
            <a:schemeClr val="tx1"/>
          </a:solidFill>
          <a:latin typeface="+mn-lt"/>
          <a:ea typeface="+mn-ea"/>
          <a:cs typeface="+mn-cs"/>
        </a:defRPr>
      </a:lvl5pPr>
      <a:lvl6pPr marL="2285690" algn="l" defTabSz="914276" rtl="0" eaLnBrk="1" latinLnBrk="0" hangingPunct="1">
        <a:defRPr sz="1900" kern="1200">
          <a:solidFill>
            <a:schemeClr val="tx1"/>
          </a:solidFill>
          <a:latin typeface="+mn-lt"/>
          <a:ea typeface="+mn-ea"/>
          <a:cs typeface="+mn-cs"/>
        </a:defRPr>
      </a:lvl6pPr>
      <a:lvl7pPr marL="2742826" algn="l" defTabSz="914276" rtl="0" eaLnBrk="1" latinLnBrk="0" hangingPunct="1">
        <a:defRPr sz="1900" kern="1200">
          <a:solidFill>
            <a:schemeClr val="tx1"/>
          </a:solidFill>
          <a:latin typeface="+mn-lt"/>
          <a:ea typeface="+mn-ea"/>
          <a:cs typeface="+mn-cs"/>
        </a:defRPr>
      </a:lvl7pPr>
      <a:lvl8pPr marL="3199963" algn="l" defTabSz="914276" rtl="0" eaLnBrk="1" latinLnBrk="0" hangingPunct="1">
        <a:defRPr sz="1900" kern="1200">
          <a:solidFill>
            <a:schemeClr val="tx1"/>
          </a:solidFill>
          <a:latin typeface="+mn-lt"/>
          <a:ea typeface="+mn-ea"/>
          <a:cs typeface="+mn-cs"/>
        </a:defRPr>
      </a:lvl8pPr>
      <a:lvl9pPr marL="3657099" algn="l" defTabSz="914276"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5"/>
            </p:custDataLst>
            <p:extLst>
              <p:ext uri="{D42A27DB-BD31-4B8C-83A1-F6EECF244321}">
                <p14:modId xmlns:p14="http://schemas.microsoft.com/office/powerpoint/2010/main" val="1807199412"/>
              </p:ext>
            </p:ext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65539"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 y="0"/>
                        <a:ext cx="215979" cy="16197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6"/>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a:ea typeface="ＭＳ Ｐゴシック" panose="020B0600070205080204" pitchFamily="34" charset="-128"/>
              <a:cs typeface="+mj-cs"/>
              <a:sym typeface="Andada" panose="02000000000000000000"/>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7"/>
            </p:custDataLst>
          </p:nvPr>
        </p:nvGrpSpPr>
        <p:grpSpPr>
          <a:xfrm>
            <a:off x="1036653" y="4748118"/>
            <a:ext cx="5079595" cy="1337990"/>
            <a:chOff x="5905500" y="3124200"/>
            <a:chExt cx="4978400" cy="1311354"/>
          </a:xfrm>
        </p:grpSpPr>
        <p:grpSp>
          <p:nvGrpSpPr>
            <p:cNvPr id="83" name="Group 82">
              <a:extLst>
                <a:ext uri="{FF2B5EF4-FFF2-40B4-BE49-F238E27FC236}">
                  <a16:creationId xmlns:a16="http://schemas.microsoft.com/office/drawing/2014/main" id="{827DA976-D5BE-4015-A977-74EA452DBA81}"/>
                </a:ext>
              </a:extLst>
            </p:cNvPr>
            <p:cNvGrpSpPr/>
            <p:nvPr>
              <p:custDataLst>
                <p:tags r:id="rId73"/>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8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81"/>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4"/>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9"/>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5"/>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7"/>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2"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2"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8"/>
            </p:custDataLst>
          </p:nvPr>
        </p:nvGrpSpPr>
        <p:grpSpPr>
          <a:xfrm>
            <a:off x="6290145" y="4748118"/>
            <a:ext cx="5079595" cy="1338409"/>
            <a:chOff x="5905500" y="3124200"/>
            <a:chExt cx="4978400" cy="1311765"/>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4"/>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71"/>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2"/>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5"/>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9"/>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70"/>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6"/>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8"/>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2"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2"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grpSp>
      <p:sp>
        <p:nvSpPr>
          <p:cNvPr id="1036" name="Rectangle 286"/>
          <p:cNvSpPr>
            <a:spLocks noGrp="1" noChangeArrowheads="1"/>
          </p:cNvSpPr>
          <p:nvPr>
            <p:ph type="body" idx="1"/>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
        <p:nvSpPr>
          <p:cNvPr id="19" name="Title"/>
          <p:cNvSpPr>
            <a:spLocks noGrp="1" noChangeArrowheads="1"/>
          </p:cNvSpPr>
          <p:nvPr>
            <p:ph type="title"/>
          </p:nvPr>
        </p:nvSpPr>
        <p:spPr bwMode="gray">
          <a:xfrm>
            <a:off x="554737" y="472846"/>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3" name="Slide Number"/>
          <p:cNvSpPr>
            <a:spLocks/>
          </p:cNvSpPr>
          <p:nvPr/>
        </p:nvSpPr>
        <p:spPr bwMode="gray">
          <a:xfrm>
            <a:off x="11476978" y="6497191"/>
            <a:ext cx="160287" cy="157014"/>
          </a:xfrm>
          <a:prstGeom prst="rect">
            <a:avLst/>
          </a:prstGeom>
        </p:spPr>
        <p:txBody>
          <a:bodyPr vert="horz" wrap="none" lIns="0" tIns="0" rIns="0" bIns="0" rtlCol="0" anchor="ctr">
            <a:spAutoFit/>
          </a:bodyPr>
          <a:lstStyle/>
          <a:p>
            <a:pPr lvl="0" algn="r">
              <a:buClr>
                <a:schemeClr val="tx2"/>
              </a:buClr>
            </a:pPr>
            <a:fld id="{42C328C1-A84F-4A39-A664-DBA00541A8C6}" type="slidenum">
              <a:rPr lang="nl-NL" sz="1000" b="0" noProof="0" smtClean="0">
                <a:solidFill>
                  <a:schemeClr val="tx1"/>
                </a:solidFill>
                <a:latin typeface="+mn-lt"/>
                <a:ea typeface="+mn-ea"/>
                <a:sym typeface="+mn-lt"/>
              </a:rPr>
              <a:pPr lvl="0" algn="r">
                <a:buClr>
                  <a:schemeClr val="tx2"/>
                </a:buClr>
              </a:pPr>
              <a:t>‹nr.›</a:t>
            </a:fld>
            <a:endParaRPr lang="nl-NL" sz="1000" b="0" baseline="0" noProof="0">
              <a:solidFill>
                <a:schemeClr val="tx1"/>
              </a:solidFill>
              <a:latin typeface="+mn-lt"/>
              <a:ea typeface="+mn-ea"/>
              <a:sym typeface="+mn-lt"/>
            </a:endParaRPr>
          </a:p>
        </p:txBody>
      </p:sp>
      <p:sp>
        <p:nvSpPr>
          <p:cNvPr id="93" name="Oval" hidden="1"/>
          <p:cNvSpPr txBox="1">
            <a:spLocks/>
          </p:cNvSpPr>
          <p:nvPr>
            <p:custDataLst>
              <p:tags r:id="rId19"/>
            </p:custDataLst>
          </p:nvPr>
        </p:nvSpPr>
        <p:spPr bwMode="gray">
          <a:xfrm>
            <a:off x="6878923" y="1451179"/>
            <a:ext cx="1554978"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buClr>
                <a:schemeClr val="tx2"/>
              </a:buClr>
            </a:pPr>
            <a:r>
              <a:rPr lang="nl-NL" sz="1600" b="0" err="1">
                <a:solidFill>
                  <a:schemeClr val="tx1"/>
                </a:solidFill>
                <a:latin typeface="+mn-lt"/>
                <a:ea typeface="+mn-ea"/>
                <a:sym typeface="+mn-lt"/>
              </a:rPr>
              <a:t>Text</a:t>
            </a:r>
            <a:endParaRPr lang="nl-NL" sz="1600" b="0">
              <a:solidFill>
                <a:schemeClr val="tx1"/>
              </a:solidFill>
              <a:latin typeface="+mn-lt"/>
              <a:ea typeface="+mn-ea"/>
              <a:sym typeface="+mn-lt"/>
            </a:endParaRPr>
          </a:p>
        </p:txBody>
      </p:sp>
      <p:sp>
        <p:nvSpPr>
          <p:cNvPr id="94" name="Rectangle" hidden="1"/>
          <p:cNvSpPr txBox="1">
            <a:spLocks/>
          </p:cNvSpPr>
          <p:nvPr>
            <p:custDataLst>
              <p:tags r:id="rId20"/>
            </p:custDataLst>
          </p:nvPr>
        </p:nvSpPr>
        <p:spPr bwMode="gray">
          <a:xfrm>
            <a:off x="3524058" y="1451179"/>
            <a:ext cx="1554978" cy="1554955"/>
          </a:xfrm>
          <a:prstGeom prst="rect">
            <a:avLst/>
          </a:prstGeom>
          <a:solidFill>
            <a:schemeClr val="accent1"/>
          </a:solidFill>
          <a:ln w="9525">
            <a:solidFill>
              <a:schemeClr val="tx1"/>
            </a:solidFill>
            <a:miter lim="800000"/>
            <a:headEnd/>
            <a:tailEnd/>
          </a:ln>
          <a:effectLst/>
        </p:spPr>
        <p:txBody>
          <a:bodyPr vert="horz" wrap="square" lIns="71999" tIns="71999" rIns="71999" bIns="71999"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err="1">
                <a:latin typeface="+mn-lt"/>
                <a:ea typeface="+mn-ea"/>
                <a:sym typeface="+mn-lt"/>
              </a:rPr>
              <a:t>Text</a:t>
            </a:r>
            <a:endParaRPr lang="nl-NL" sz="1600">
              <a:latin typeface="+mn-lt"/>
              <a:ea typeface="+mn-ea"/>
              <a:sym typeface="+mn-lt"/>
            </a:endParaRPr>
          </a:p>
        </p:txBody>
      </p:sp>
      <p:sp>
        <p:nvSpPr>
          <p:cNvPr id="95" name="RoundedRectangle" hidden="1"/>
          <p:cNvSpPr txBox="1">
            <a:spLocks/>
          </p:cNvSpPr>
          <p:nvPr>
            <p:custDataLst>
              <p:tags r:id="rId21"/>
            </p:custDataLst>
          </p:nvPr>
        </p:nvSpPr>
        <p:spPr bwMode="gray">
          <a:xfrm>
            <a:off x="5217040" y="1451179"/>
            <a:ext cx="1554978" cy="1554955"/>
          </a:xfrm>
          <a:prstGeom prst="roundRect">
            <a:avLst/>
          </a:prstGeom>
          <a:solidFill>
            <a:schemeClr val="accent1"/>
          </a:solidFill>
          <a:ln w="9525">
            <a:solidFill>
              <a:schemeClr val="tx1"/>
            </a:solidFill>
            <a:miter lim="800000"/>
            <a:headEnd/>
            <a:tailEnd/>
          </a:ln>
          <a:effectLst/>
        </p:spPr>
        <p:txBody>
          <a:bodyPr vert="horz" wrap="square" lIns="71999" tIns="71999" rIns="71999" bIns="71999"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err="1">
                <a:latin typeface="+mn-lt"/>
                <a:ea typeface="+mn-ea"/>
                <a:sym typeface="+mn-lt"/>
              </a:rPr>
              <a:t>Text</a:t>
            </a:r>
            <a:endParaRPr lang="nl-NL" sz="1600">
              <a:latin typeface="+mn-lt"/>
              <a:ea typeface="+mn-ea"/>
              <a:sym typeface="+mn-lt"/>
            </a:endParaRPr>
          </a:p>
        </p:txBody>
      </p:sp>
      <p:sp>
        <p:nvSpPr>
          <p:cNvPr id="96" name="Arrow" hidden="1"/>
          <p:cNvSpPr txBox="1">
            <a:spLocks/>
          </p:cNvSpPr>
          <p:nvPr>
            <p:custDataLst>
              <p:tags r:id="rId22"/>
            </p:custDataLst>
          </p:nvPr>
        </p:nvSpPr>
        <p:spPr bwMode="gray">
          <a:xfrm>
            <a:off x="3490717" y="4223445"/>
            <a:ext cx="1865974"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9" tIns="71999" rIns="71999" bIns="71999"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buClr>
                <a:schemeClr val="tx2"/>
              </a:buClr>
            </a:pPr>
            <a:r>
              <a:rPr lang="nl-NL" sz="1600" b="0" err="1">
                <a:solidFill>
                  <a:schemeClr val="tx1"/>
                </a:solidFill>
                <a:latin typeface="+mn-lt"/>
                <a:ea typeface="+mn-ea"/>
                <a:sym typeface="+mn-lt"/>
              </a:rPr>
              <a:t>Text</a:t>
            </a:r>
            <a:endParaRPr lang="nl-NL" sz="1600" b="0">
              <a:solidFill>
                <a:schemeClr val="tx1"/>
              </a:solidFill>
              <a:latin typeface="+mn-lt"/>
              <a:ea typeface="+mn-ea"/>
              <a:sym typeface="+mn-lt"/>
            </a:endParaRPr>
          </a:p>
        </p:txBody>
      </p:sp>
      <p:sp>
        <p:nvSpPr>
          <p:cNvPr id="97" name="DirArrow" hidden="1"/>
          <p:cNvSpPr>
            <a:spLocks noChangeArrowheads="1"/>
          </p:cNvSpPr>
          <p:nvPr>
            <p:custDataLst>
              <p:tags r:id="rId23"/>
            </p:custDataLst>
          </p:nvPr>
        </p:nvSpPr>
        <p:spPr bwMode="gray">
          <a:xfrm rot="5400000">
            <a:off x="7170377" y="2852710"/>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00">
              <a:latin typeface="+mn-lt"/>
              <a:ea typeface="+mn-ea"/>
              <a:sym typeface="+mn-lt"/>
            </a:endParaRPr>
          </a:p>
        </p:txBody>
      </p:sp>
      <p:sp>
        <p:nvSpPr>
          <p:cNvPr id="98" name="Bracket" hidden="1"/>
          <p:cNvSpPr>
            <a:spLocks noChangeAspect="1"/>
          </p:cNvSpPr>
          <p:nvPr>
            <p:custDataLst>
              <p:tags r:id="rId24"/>
            </p:custDataLst>
          </p:nvPr>
        </p:nvSpPr>
        <p:spPr bwMode="gray">
          <a:xfrm>
            <a:off x="7584102" y="3148303"/>
            <a:ext cx="189514" cy="186594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632" baseline="30000">
              <a:latin typeface="+mn-lt"/>
              <a:ea typeface="+mn-ea"/>
              <a:sym typeface="+mn-lt"/>
            </a:endParaRPr>
          </a:p>
        </p:txBody>
      </p:sp>
      <p:grpSp>
        <p:nvGrpSpPr>
          <p:cNvPr id="99" name="Flow" hidden="1"/>
          <p:cNvGrpSpPr>
            <a:grpSpLocks/>
          </p:cNvGrpSpPr>
          <p:nvPr>
            <p:custDataLst>
              <p:tags r:id="rId25"/>
            </p:custDataLst>
          </p:nvPr>
        </p:nvGrpSpPr>
        <p:grpSpPr bwMode="gray">
          <a:xfrm>
            <a:off x="3492958" y="3148304"/>
            <a:ext cx="1865974" cy="932973"/>
            <a:chOff x="5905500" y="3124200"/>
            <a:chExt cx="1828800" cy="914400"/>
          </a:xfrm>
        </p:grpSpPr>
        <p:sp>
          <p:nvSpPr>
            <p:cNvPr id="100" name="Freeform 99"/>
            <p:cNvSpPr/>
            <p:nvPr>
              <p:custDataLst>
                <p:tags r:id="rId62"/>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1" name="TextBox 100"/>
            <p:cNvSpPr txBox="1"/>
            <p:nvPr>
              <p:custDataLst>
                <p:tags r:id="rId63"/>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02" name="SplitFlow" hidden="1"/>
          <p:cNvGrpSpPr/>
          <p:nvPr>
            <p:custDataLst>
              <p:tags r:id="rId26"/>
            </p:custDataLst>
          </p:nvPr>
        </p:nvGrpSpPr>
        <p:grpSpPr bwMode="gray">
          <a:xfrm>
            <a:off x="5538529" y="3148304"/>
            <a:ext cx="1865974" cy="932973"/>
            <a:chOff x="114300" y="1270000"/>
            <a:chExt cx="1828800" cy="914400"/>
          </a:xfrm>
        </p:grpSpPr>
        <p:sp>
          <p:nvSpPr>
            <p:cNvPr id="103" name="Freeform 102"/>
            <p:cNvSpPr/>
            <p:nvPr>
              <p:custDataLst>
                <p:tags r:id="rId58"/>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4" name="TextBox 103"/>
            <p:cNvSpPr txBox="1"/>
            <p:nvPr>
              <p:custDataLst>
                <p:tags r:id="rId59"/>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05" name="Freeform 104"/>
            <p:cNvSpPr/>
            <p:nvPr>
              <p:custDataLst>
                <p:tags r:id="rId60"/>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6" name="TextBox 105"/>
            <p:cNvSpPr txBox="1"/>
            <p:nvPr>
              <p:custDataLst>
                <p:tags r:id="rId61"/>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23" name="Sticker" hidden="1"/>
          <p:cNvGrpSpPr/>
          <p:nvPr/>
        </p:nvGrpSpPr>
        <p:grpSpPr bwMode="gray">
          <a:xfrm>
            <a:off x="10956854" y="884726"/>
            <a:ext cx="680405" cy="246351"/>
            <a:chOff x="8073925" y="285750"/>
            <a:chExt cx="666850" cy="241448"/>
          </a:xfrm>
        </p:grpSpPr>
        <p:sp>
          <p:nvSpPr>
            <p:cNvPr id="124" name="StickerRectangle"/>
            <p:cNvSpPr>
              <a:spLocks noChangeArrowheads="1"/>
            </p:cNvSpPr>
            <p:nvPr/>
          </p:nvSpPr>
          <p:spPr bwMode="gray">
            <a:xfrm>
              <a:off x="8073925" y="285750"/>
              <a:ext cx="666850" cy="24144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347">
                <a:buClr>
                  <a:schemeClr val="tx2"/>
                </a:buClr>
              </a:pPr>
              <a:r>
                <a:rPr lang="nl-NL" sz="1200" noProof="0">
                  <a:solidFill>
                    <a:schemeClr val="tx1"/>
                  </a:solidFill>
                  <a:latin typeface="+mn-lt"/>
                  <a:ea typeface="+mn-ea"/>
                  <a:sym typeface="+mn-lt"/>
                </a:rPr>
                <a:t>STICKER</a:t>
              </a:r>
            </a:p>
          </p:txBody>
        </p:sp>
        <p:cxnSp>
          <p:nvCxnSpPr>
            <p:cNvPr id="125" name="AutoShape 32"/>
            <p:cNvCxnSpPr>
              <a:cxnSpLocks noChangeShapeType="1"/>
              <a:stCxn id="124" idx="4"/>
              <a:endCxn id="124" idx="6"/>
            </p:cNvCxnSpPr>
            <p:nvPr/>
          </p:nvCxnSpPr>
          <p:spPr bwMode="gray">
            <a:xfrm>
              <a:off x="8073925" y="527198"/>
              <a:ext cx="66685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073925" y="285750"/>
              <a:ext cx="66685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7"/>
            </p:custDataLst>
          </p:nvPr>
        </p:nvGrpSpPr>
        <p:grpSpPr bwMode="gray">
          <a:xfrm>
            <a:off x="9777010" y="4818912"/>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632">
                <a:latin typeface="+mn-lt"/>
                <a:ea typeface="+mn-ea"/>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8"/>
            </p:custDataLst>
          </p:nvPr>
        </p:nvSpPr>
        <p:spPr>
          <a:xfrm>
            <a:off x="511467" y="3485691"/>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29"/>
            </p:custDataLst>
          </p:nvPr>
        </p:nvGrpSpPr>
        <p:grpSpPr>
          <a:xfrm>
            <a:off x="1041167"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30"/>
            </p:custDataLst>
          </p:nvPr>
        </p:nvGrpSpPr>
        <p:grpSpPr>
          <a:xfrm>
            <a:off x="1888084" y="3498649"/>
            <a:ext cx="1268194"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1"/>
            </p:custDataLst>
          </p:nvPr>
        </p:nvGrpSpPr>
        <p:grpSpPr>
          <a:xfrm>
            <a:off x="9203352" y="2145091"/>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2"/>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3"/>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69" name="Freeform: Shape 168">
              <a:extLst>
                <a:ext uri="{FF2B5EF4-FFF2-40B4-BE49-F238E27FC236}">
                  <a16:creationId xmlns:a16="http://schemas.microsoft.com/office/drawing/2014/main" id="{BB7BED76-2503-4209-8A7E-CA5A477F5F00}"/>
                </a:ext>
              </a:extLst>
            </p:cNvPr>
            <p:cNvSpPr/>
            <p:nvPr>
              <p:custDataLst>
                <p:tags r:id="rId54"/>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5"/>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71" name="Freeform: Shape 170">
              <a:extLst>
                <a:ext uri="{FF2B5EF4-FFF2-40B4-BE49-F238E27FC236}">
                  <a16:creationId xmlns:a16="http://schemas.microsoft.com/office/drawing/2014/main" id="{2D42E41B-DC12-4382-AC13-5867DF745C14}"/>
                </a:ext>
              </a:extLst>
            </p:cNvPr>
            <p:cNvSpPr/>
            <p:nvPr>
              <p:custDataLst>
                <p:tags r:id="rId56"/>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7"/>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2"/>
            </p:custDataLst>
          </p:nvPr>
        </p:nvGrpSpPr>
        <p:grpSpPr>
          <a:xfrm>
            <a:off x="9203351" y="3163186"/>
            <a:ext cx="1865974"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50"/>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51"/>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3"/>
            </p:custDataLst>
          </p:nvPr>
        </p:nvGrpSpPr>
        <p:grpSpPr>
          <a:xfrm>
            <a:off x="11216124" y="2578634"/>
            <a:ext cx="460014" cy="518318"/>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a:solidFill>
                  <a:schemeClr val="tx1"/>
                </a:solidFill>
                <a:latin typeface="+mn-lt"/>
                <a:ea typeface="+mn-ea"/>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37" y="3006133"/>
            <a:ext cx="2493855" cy="531275"/>
            <a:chOff x="915" y="702"/>
            <a:chExt cx="2686" cy="328"/>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32" b="1">
                  <a:latin typeface="+mn-lt"/>
                  <a:ea typeface="+mn-ea"/>
                  <a:sym typeface="+mn-lt"/>
                </a:rPr>
                <a:t>Titel</a:t>
              </a:r>
            </a:p>
            <a:p>
              <a:r>
                <a:rPr lang="nl-NL" sz="1632" b="0">
                  <a:latin typeface="+mn-lt"/>
                  <a:ea typeface="+mn-ea"/>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01" y="884726"/>
            <a:ext cx="865967" cy="1017725"/>
            <a:chOff x="7941273" y="531813"/>
            <a:chExt cx="848714" cy="997467"/>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1"/>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65" y="884725"/>
            <a:ext cx="1180202" cy="745610"/>
            <a:chOff x="7633298" y="531813"/>
            <a:chExt cx="1156689" cy="730767"/>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3" y="5318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3" y="7985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3" y="1077914"/>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70" y="884725"/>
            <a:ext cx="933997" cy="1333054"/>
            <a:chOff x="7874598" y="531813"/>
            <a:chExt cx="915391"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5"/>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6"/>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7"/>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7"/>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8"/>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3"/>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a:buClr>
                  <a:schemeClr val="tx2"/>
                </a:buClr>
              </a:pPr>
              <a:r>
                <a:rPr lang="nl-NL" sz="1200">
                  <a:latin typeface="+mn-lt"/>
                  <a:ea typeface="+mn-ea"/>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9"/>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7" y="54992"/>
            <a:ext cx="79326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73" algn="l"/>
              </a:tabLst>
            </a:pPr>
            <a:r>
              <a:rPr lang="nl-NL" sz="1200" cap="all">
                <a:latin typeface="+mn-lt"/>
                <a:ea typeface="+mn-ea"/>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7" y="884726"/>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a:tabLst>
                <a:tab pos="444498" algn="l"/>
              </a:tabLst>
            </a:pPr>
            <a:r>
              <a:rPr lang="nl-NL" sz="1800">
                <a:latin typeface="+mn-lt"/>
                <a:ea typeface="+mn-ea"/>
                <a:sym typeface="+mn-lt"/>
              </a:rPr>
              <a:t>Meeteenheid </a:t>
            </a:r>
          </a:p>
        </p:txBody>
      </p:sp>
      <p:sp>
        <p:nvSpPr>
          <p:cNvPr id="224" name="SlideLogoText">
            <a:extLst>
              <a:ext uri="{FF2B5EF4-FFF2-40B4-BE49-F238E27FC236}">
                <a16:creationId xmlns:a16="http://schemas.microsoft.com/office/drawing/2014/main" id="{51FEF47F-29E7-4DC7-B7B4-DCFFA64CFB5C}"/>
              </a:ext>
            </a:extLst>
          </p:cNvPr>
          <p:cNvSpPr txBox="1"/>
          <p:nvPr userDrawn="1">
            <p:custDataLst>
              <p:tags r:id="rId34"/>
            </p:custDataLst>
          </p:nvPr>
        </p:nvSpPr>
        <p:spPr bwMode="gray">
          <a:xfrm>
            <a:off x="10124336" y="6480866"/>
            <a:ext cx="1285571" cy="157014"/>
          </a:xfrm>
          <a:prstGeom prst="rect">
            <a:avLst/>
          </a:prstGeom>
          <a:noFill/>
        </p:spPr>
        <p:txBody>
          <a:bodyPr wrap="none" lIns="0" tIns="0" rIns="0" bIns="0" rtlCol="0" anchor="b">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lang="nl-NL" sz="1000" kern="1200">
                <a:solidFill>
                  <a:schemeClr val="tx1"/>
                </a:solidFill>
                <a:latin typeface="+mn-lt"/>
                <a:ea typeface="+mn-ea"/>
                <a:cs typeface="+mn-cs"/>
                <a:sym typeface="+mn-lt"/>
              </a:rPr>
              <a:t>Het Potentieel Pakken</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38" y="6071657"/>
            <a:ext cx="1108252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50" indent="-95250"/>
            <a:r>
              <a:rPr lang="nl-NL" sz="900">
                <a:latin typeface="+mn-lt"/>
                <a:ea typeface="+mn-ea"/>
                <a:sym typeface="+mn-lt"/>
              </a:rPr>
              <a:t>1 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36" y="6261395"/>
            <a:ext cx="1108252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98" indent="-304798" defTabSz="895347">
              <a:tabLst/>
            </a:pPr>
            <a:r>
              <a:rPr lang="nl-NL" sz="900" baseline="0" noProof="0">
                <a:latin typeface="+mn-lt"/>
                <a:ea typeface="+mn-ea"/>
                <a:sym typeface="+mn-lt"/>
              </a:rPr>
              <a:t>Bron: Bron </a:t>
            </a:r>
          </a:p>
        </p:txBody>
      </p:sp>
    </p:spTree>
    <p:extLst>
      <p:ext uri="{BB962C8B-B14F-4D97-AF65-F5344CB8AC3E}">
        <p14:creationId xmlns:p14="http://schemas.microsoft.com/office/powerpoint/2010/main" val="371312091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9" r:id="rId11"/>
    <p:sldLayoutId id="2147483750" r:id="rId12"/>
  </p:sldLayoutIdLst>
  <p:hf sldNum="0" hdr="0"/>
  <p:txStyles>
    <p:titleStyle>
      <a:lvl1pPr algn="l" defTabSz="895347" rtl="0" eaLnBrk="1" fontAlgn="base" hangingPunct="1">
        <a:spcBef>
          <a:spcPct val="0"/>
        </a:spcBef>
        <a:spcAft>
          <a:spcPct val="0"/>
        </a:spcAft>
        <a:tabLst>
          <a:tab pos="444498" algn="l"/>
        </a:tabLst>
        <a:defRPr lang="nl-NL" sz="2800" b="0" baseline="0" noProof="0" dirty="0">
          <a:solidFill>
            <a:schemeClr val="tx2"/>
          </a:solidFill>
          <a:latin typeface="+mj-lt"/>
          <a:ea typeface="+mj-ea"/>
          <a:cs typeface="+mj-cs"/>
          <a:sym typeface="+mj-lt"/>
        </a:defRPr>
      </a:lvl1pPr>
      <a:lvl2pPr algn="l" defTabSz="895347" rtl="0" eaLnBrk="1" fontAlgn="base" hangingPunct="1">
        <a:spcBef>
          <a:spcPct val="0"/>
        </a:spcBef>
        <a:spcAft>
          <a:spcPct val="0"/>
        </a:spcAft>
        <a:defRPr sz="1900" b="1">
          <a:solidFill>
            <a:schemeClr val="tx2"/>
          </a:solidFill>
          <a:latin typeface="Arial" charset="0"/>
        </a:defRPr>
      </a:lvl2pPr>
      <a:lvl3pPr algn="l" defTabSz="895347" rtl="0" eaLnBrk="1" fontAlgn="base" hangingPunct="1">
        <a:spcBef>
          <a:spcPct val="0"/>
        </a:spcBef>
        <a:spcAft>
          <a:spcPct val="0"/>
        </a:spcAft>
        <a:defRPr sz="1900" b="1">
          <a:solidFill>
            <a:schemeClr val="tx2"/>
          </a:solidFill>
          <a:latin typeface="Arial" charset="0"/>
        </a:defRPr>
      </a:lvl3pPr>
      <a:lvl4pPr algn="l" defTabSz="895347" rtl="0" eaLnBrk="1" fontAlgn="base" hangingPunct="1">
        <a:spcBef>
          <a:spcPct val="0"/>
        </a:spcBef>
        <a:spcAft>
          <a:spcPct val="0"/>
        </a:spcAft>
        <a:defRPr sz="1900" b="1">
          <a:solidFill>
            <a:schemeClr val="tx2"/>
          </a:solidFill>
          <a:latin typeface="Arial" charset="0"/>
        </a:defRPr>
      </a:lvl4pPr>
      <a:lvl5pPr algn="l" defTabSz="895347" rtl="0" eaLnBrk="1" fontAlgn="base" hangingPunct="1">
        <a:spcBef>
          <a:spcPct val="0"/>
        </a:spcBef>
        <a:spcAft>
          <a:spcPct val="0"/>
        </a:spcAft>
        <a:defRPr sz="1900" b="1">
          <a:solidFill>
            <a:schemeClr val="tx2"/>
          </a:solidFill>
          <a:latin typeface="Arial" charset="0"/>
        </a:defRPr>
      </a:lvl5pPr>
      <a:lvl6pPr marL="457198" algn="l" defTabSz="895347" rtl="0" eaLnBrk="1" fontAlgn="base" hangingPunct="1">
        <a:spcBef>
          <a:spcPct val="0"/>
        </a:spcBef>
        <a:spcAft>
          <a:spcPct val="0"/>
        </a:spcAft>
        <a:defRPr sz="1900" b="1">
          <a:solidFill>
            <a:schemeClr val="tx2"/>
          </a:solidFill>
          <a:latin typeface="Arial" charset="0"/>
        </a:defRPr>
      </a:lvl6pPr>
      <a:lvl7pPr marL="914396" algn="l" defTabSz="895347" rtl="0" eaLnBrk="1" fontAlgn="base" hangingPunct="1">
        <a:spcBef>
          <a:spcPct val="0"/>
        </a:spcBef>
        <a:spcAft>
          <a:spcPct val="0"/>
        </a:spcAft>
        <a:defRPr sz="1900" b="1">
          <a:solidFill>
            <a:schemeClr val="tx2"/>
          </a:solidFill>
          <a:latin typeface="Arial" charset="0"/>
        </a:defRPr>
      </a:lvl7pPr>
      <a:lvl8pPr marL="1371594" algn="l" defTabSz="895347" rtl="0" eaLnBrk="1" fontAlgn="base" hangingPunct="1">
        <a:spcBef>
          <a:spcPct val="0"/>
        </a:spcBef>
        <a:spcAft>
          <a:spcPct val="0"/>
        </a:spcAft>
        <a:defRPr sz="1900" b="1">
          <a:solidFill>
            <a:schemeClr val="tx2"/>
          </a:solidFill>
          <a:latin typeface="Arial" charset="0"/>
        </a:defRPr>
      </a:lvl8pPr>
      <a:lvl9pPr marL="1828793" algn="l" defTabSz="895347" rtl="0" eaLnBrk="1" fontAlgn="base" hangingPunct="1">
        <a:spcBef>
          <a:spcPct val="0"/>
        </a:spcBef>
        <a:spcAft>
          <a:spcPct val="0"/>
        </a:spcAft>
        <a:defRPr sz="1900" b="1">
          <a:solidFill>
            <a:schemeClr val="tx2"/>
          </a:solidFill>
          <a:latin typeface="Arial" charset="0"/>
        </a:defRPr>
      </a:lvl9pPr>
    </p:titleStyle>
    <p:bodyStyle>
      <a:lvl1pPr marL="0" indent="0" algn="l" defTabSz="895347" rtl="0" eaLnBrk="1" fontAlgn="base" hangingPunct="1">
        <a:spcBef>
          <a:spcPct val="0"/>
        </a:spcBef>
        <a:spcAft>
          <a:spcPct val="0"/>
        </a:spcAft>
        <a:buClr>
          <a:schemeClr val="tx2"/>
        </a:buClr>
        <a:defRPr sz="1600" baseline="0">
          <a:solidFill>
            <a:schemeClr val="tx1"/>
          </a:solidFill>
          <a:latin typeface="+mn-lt"/>
          <a:ea typeface="+mn-ea"/>
          <a:cs typeface="+mn-cs"/>
          <a:sym typeface="+mn-lt"/>
        </a:defRPr>
      </a:lvl1pPr>
      <a:lvl2pPr marL="179996" indent="-179996" algn="l" defTabSz="895347"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2pPr>
      <a:lvl3pPr marL="359992" indent="-179996" algn="l" defTabSz="895347" rtl="0" eaLnBrk="1" fontAlgn="base" hangingPunct="1">
        <a:spcBef>
          <a:spcPct val="0"/>
        </a:spcBef>
        <a:spcAft>
          <a:spcPct val="0"/>
        </a:spcAft>
        <a:buClr>
          <a:schemeClr val="tx1"/>
        </a:buClr>
        <a:buSzPct val="100000"/>
        <a:buFont typeface="Arial" panose="020B0604020202020204" pitchFamily="34" charset="0"/>
        <a:buChar char="–"/>
        <a:defRPr sz="1600" baseline="0">
          <a:solidFill>
            <a:schemeClr val="tx1"/>
          </a:solidFill>
          <a:latin typeface="+mn-lt"/>
          <a:sym typeface="+mn-lt"/>
        </a:defRPr>
      </a:lvl3pPr>
      <a:lvl4pPr marL="539989" indent="-179996" algn="l" defTabSz="895347"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4pPr>
      <a:lvl5pPr marL="719985" indent="-179996" algn="l" defTabSz="895347"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sym typeface="+mn-lt"/>
        </a:defRPr>
      </a:lvl5pPr>
      <a:lvl6pPr marL="749805" indent="-130175" algn="l" defTabSz="8953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5" indent="-130175" algn="l" defTabSz="8953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5" indent="-130175" algn="l" defTabSz="8953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5" indent="-130175" algn="l" defTabSz="89534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96" rtl="0" eaLnBrk="1" latinLnBrk="0" hangingPunct="1">
        <a:defRPr sz="1800" kern="1200">
          <a:solidFill>
            <a:schemeClr val="tx1"/>
          </a:solidFill>
          <a:latin typeface="+mn-lt"/>
          <a:ea typeface="+mn-ea"/>
          <a:cs typeface="+mn-cs"/>
        </a:defRPr>
      </a:lvl1pPr>
      <a:lvl2pPr marL="457198" algn="l" defTabSz="914396" rtl="0" eaLnBrk="1" latinLnBrk="0" hangingPunct="1">
        <a:defRPr sz="1800" kern="1200">
          <a:solidFill>
            <a:schemeClr val="tx1"/>
          </a:solidFill>
          <a:latin typeface="+mn-lt"/>
          <a:ea typeface="+mn-ea"/>
          <a:cs typeface="+mn-cs"/>
        </a:defRPr>
      </a:lvl2pPr>
      <a:lvl3pPr marL="914396" algn="l" defTabSz="914396" rtl="0" eaLnBrk="1" latinLnBrk="0" hangingPunct="1">
        <a:defRPr sz="1800" kern="1200">
          <a:solidFill>
            <a:schemeClr val="tx1"/>
          </a:solidFill>
          <a:latin typeface="+mn-lt"/>
          <a:ea typeface="+mn-ea"/>
          <a:cs typeface="+mn-cs"/>
        </a:defRPr>
      </a:lvl3pPr>
      <a:lvl4pPr marL="1371594" algn="l" defTabSz="914396" rtl="0" eaLnBrk="1" latinLnBrk="0" hangingPunct="1">
        <a:defRPr sz="1800" kern="1200">
          <a:solidFill>
            <a:schemeClr val="tx1"/>
          </a:solidFill>
          <a:latin typeface="+mn-lt"/>
          <a:ea typeface="+mn-ea"/>
          <a:cs typeface="+mn-cs"/>
        </a:defRPr>
      </a:lvl4pPr>
      <a:lvl5pPr marL="1828793" algn="l" defTabSz="914396" rtl="0" eaLnBrk="1" latinLnBrk="0" hangingPunct="1">
        <a:defRPr sz="1800" kern="1200">
          <a:solidFill>
            <a:schemeClr val="tx1"/>
          </a:solidFill>
          <a:latin typeface="+mn-lt"/>
          <a:ea typeface="+mn-ea"/>
          <a:cs typeface="+mn-cs"/>
        </a:defRPr>
      </a:lvl5pPr>
      <a:lvl6pPr marL="2285991" algn="l" defTabSz="914396" rtl="0" eaLnBrk="1" latinLnBrk="0" hangingPunct="1">
        <a:defRPr sz="1800" kern="1200">
          <a:solidFill>
            <a:schemeClr val="tx1"/>
          </a:solidFill>
          <a:latin typeface="+mn-lt"/>
          <a:ea typeface="+mn-ea"/>
          <a:cs typeface="+mn-cs"/>
        </a:defRPr>
      </a:lvl6pPr>
      <a:lvl7pPr marL="2743189" algn="l" defTabSz="914396" rtl="0" eaLnBrk="1" latinLnBrk="0" hangingPunct="1">
        <a:defRPr sz="1800" kern="1200">
          <a:solidFill>
            <a:schemeClr val="tx1"/>
          </a:solidFill>
          <a:latin typeface="+mn-lt"/>
          <a:ea typeface="+mn-ea"/>
          <a:cs typeface="+mn-cs"/>
        </a:defRPr>
      </a:lvl7pPr>
      <a:lvl8pPr marL="3200387" algn="l" defTabSz="914396" rtl="0" eaLnBrk="1" latinLnBrk="0" hangingPunct="1">
        <a:defRPr sz="1800" kern="1200">
          <a:solidFill>
            <a:schemeClr val="tx1"/>
          </a:solidFill>
          <a:latin typeface="+mn-lt"/>
          <a:ea typeface="+mn-ea"/>
          <a:cs typeface="+mn-cs"/>
        </a:defRPr>
      </a:lvl8pPr>
      <a:lvl9pPr marL="3657586" algn="l" defTabSz="91439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4"/>
            </p:custDataLst>
          </p:nvPr>
        </p:nvGraphicFramePr>
        <p:xfrm>
          <a:off x="1" y="0"/>
          <a:ext cx="215979" cy="161975"/>
        </p:xfrm>
        <a:graphic>
          <a:graphicData uri="http://schemas.openxmlformats.org/presentationml/2006/ole">
            <mc:AlternateContent xmlns:mc="http://schemas.openxmlformats.org/markup-compatibility/2006">
              <mc:Choice xmlns:v="urn:schemas-microsoft-com:vml" Requires="v">
                <p:oleObj spid="_x0000_s78851"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 y="0"/>
                        <a:ext cx="215979"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5"/>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332" fontAlgn="base">
              <a:spcBef>
                <a:spcPct val="0"/>
              </a:spcBef>
              <a:spcAft>
                <a:spcPct val="0"/>
              </a:spcAft>
            </a:pPr>
            <a:endParaRPr lang="en-US" sz="2800" b="0" i="0" baseline="0" err="1">
              <a:solidFill>
                <a:srgbClr val="000000"/>
              </a:solidFill>
              <a:latin typeface="Gill Sans Nova Medium" panose="020B0502020204020203"/>
              <a:ea typeface="ＭＳ Ｐゴシック" panose="020B0600070205080204" pitchFamily="34" charset="-128"/>
              <a:cs typeface="+mj-cs"/>
              <a:sym typeface="Gill Sans Nova Medium" panose="020B0502020204020203"/>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6"/>
            </p:custDataLst>
          </p:nvPr>
        </p:nvGrpSpPr>
        <p:grpSpPr>
          <a:xfrm>
            <a:off x="1036653" y="4748126"/>
            <a:ext cx="5079595" cy="1332992"/>
            <a:chOff x="5905500" y="3124200"/>
            <a:chExt cx="4978400" cy="1306453"/>
          </a:xfrm>
        </p:grpSpPr>
        <p:grpSp>
          <p:nvGrpSpPr>
            <p:cNvPr id="83" name="Group 82">
              <a:extLst>
                <a:ext uri="{FF2B5EF4-FFF2-40B4-BE49-F238E27FC236}">
                  <a16:creationId xmlns:a16="http://schemas.microsoft.com/office/drawing/2014/main" id="{827DA976-D5BE-4015-A977-74EA452DBA81}"/>
                </a:ext>
              </a:extLst>
            </p:cNvPr>
            <p:cNvGrpSpPr/>
            <p:nvPr>
              <p:custDataLst>
                <p:tags r:id="rId71"/>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78"/>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79"/>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2"/>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7"/>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3"/>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4"/>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5"/>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1"/>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3" y="4189333"/>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3" y="418933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7"/>
            </p:custDataLst>
          </p:nvPr>
        </p:nvGrpSpPr>
        <p:grpSpPr>
          <a:xfrm>
            <a:off x="6290145" y="4748119"/>
            <a:ext cx="5079595" cy="1333409"/>
            <a:chOff x="5905500" y="3124200"/>
            <a:chExt cx="4978400" cy="1306863"/>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2"/>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69"/>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0"/>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3"/>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68"/>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4"/>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5"/>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6"/>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3"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3"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grpSp>
      <p:sp>
        <p:nvSpPr>
          <p:cNvPr id="1036" name="Rectangle 286"/>
          <p:cNvSpPr>
            <a:spLocks noGrp="1" noChangeArrowheads="1"/>
          </p:cNvSpPr>
          <p:nvPr>
            <p:ph type="body" idx="1"/>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9" name="Title"/>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r>
              <a:rPr lang="en-US" noProof="0"/>
              <a:t>Click to edit aster title style</a:t>
            </a:r>
            <a:endParaRPr lang="nl-NL" noProof="0"/>
          </a:p>
        </p:txBody>
      </p:sp>
      <p:sp>
        <p:nvSpPr>
          <p:cNvPr id="93" name="Oval" hidden="1"/>
          <p:cNvSpPr txBox="1">
            <a:spLocks/>
          </p:cNvSpPr>
          <p:nvPr>
            <p:custDataLst>
              <p:tags r:id="rId18"/>
            </p:custDataLst>
          </p:nvPr>
        </p:nvSpPr>
        <p:spPr bwMode="gray">
          <a:xfrm>
            <a:off x="6878925" y="1451181"/>
            <a:ext cx="1554979"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8" tIns="35998" rIns="35998" bIns="35998"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4" name="Rectangle" hidden="1"/>
          <p:cNvSpPr txBox="1">
            <a:spLocks/>
          </p:cNvSpPr>
          <p:nvPr>
            <p:custDataLst>
              <p:tags r:id="rId19"/>
            </p:custDataLst>
          </p:nvPr>
        </p:nvSpPr>
        <p:spPr bwMode="gray">
          <a:xfrm>
            <a:off x="3524057" y="1451181"/>
            <a:ext cx="1554979" cy="1554955"/>
          </a:xfrm>
          <a:prstGeom prst="rect">
            <a:avLst/>
          </a:prstGeom>
          <a:solidFill>
            <a:schemeClr val="accent1"/>
          </a:solidFill>
          <a:ln w="9525">
            <a:solidFill>
              <a:schemeClr val="tx1"/>
            </a:solidFill>
            <a:miter lim="800000"/>
            <a:headEnd/>
            <a:tailEnd/>
          </a:ln>
          <a:effectLst/>
        </p:spPr>
        <p:txBody>
          <a:bodyPr vert="horz" wrap="square" lIns="71993" tIns="71993" rIns="71993" bIns="71993"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5" name="RoundedRectangle" hidden="1"/>
          <p:cNvSpPr txBox="1">
            <a:spLocks/>
          </p:cNvSpPr>
          <p:nvPr>
            <p:custDataLst>
              <p:tags r:id="rId20"/>
            </p:custDataLst>
          </p:nvPr>
        </p:nvSpPr>
        <p:spPr bwMode="gray">
          <a:xfrm>
            <a:off x="5217041" y="1451181"/>
            <a:ext cx="1554979" cy="1554955"/>
          </a:xfrm>
          <a:prstGeom prst="roundRect">
            <a:avLst/>
          </a:prstGeom>
          <a:solidFill>
            <a:schemeClr val="accent1"/>
          </a:solidFill>
          <a:ln w="9525">
            <a:solidFill>
              <a:schemeClr val="tx1"/>
            </a:solidFill>
            <a:miter lim="800000"/>
            <a:headEnd/>
            <a:tailEnd/>
          </a:ln>
          <a:effectLst/>
        </p:spPr>
        <p:txBody>
          <a:bodyPr vert="horz" wrap="square" lIns="71993" tIns="71993" rIns="71993" bIns="71993"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err="1">
                <a:solidFill>
                  <a:srgbClr val="000000"/>
                </a:solidFill>
                <a:latin typeface="Gill Sans Nova Light" panose="020B0402020204020203" pitchFamily="34" charset="0"/>
                <a:sym typeface="+mn-lt"/>
              </a:rPr>
              <a:t>Text</a:t>
            </a:r>
            <a:endParaRPr lang="nl-NL">
              <a:solidFill>
                <a:srgbClr val="000000"/>
              </a:solidFill>
              <a:latin typeface="Gill Sans Nova Light" panose="020B0402020204020203" pitchFamily="34" charset="0"/>
              <a:sym typeface="+mn-lt"/>
            </a:endParaRPr>
          </a:p>
        </p:txBody>
      </p:sp>
      <p:sp>
        <p:nvSpPr>
          <p:cNvPr id="96" name="Arrow" hidden="1"/>
          <p:cNvSpPr txBox="1">
            <a:spLocks/>
          </p:cNvSpPr>
          <p:nvPr>
            <p:custDataLst>
              <p:tags r:id="rId21"/>
            </p:custDataLst>
          </p:nvPr>
        </p:nvSpPr>
        <p:spPr bwMode="gray">
          <a:xfrm>
            <a:off x="3490717" y="4223448"/>
            <a:ext cx="1865973"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3" tIns="71993" rIns="71993" bIns="71993"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7" name="DirArrow" hidden="1"/>
          <p:cNvSpPr>
            <a:spLocks noChangeArrowheads="1"/>
          </p:cNvSpPr>
          <p:nvPr>
            <p:custDataLst>
              <p:tags r:id="rId22"/>
            </p:custDataLst>
          </p:nvPr>
        </p:nvSpPr>
        <p:spPr bwMode="gray">
          <a:xfrm rot="5400000">
            <a:off x="7170381" y="2852711"/>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09" tIns="60954" rIns="121909" bIns="60954" anchor="ctr"/>
          <a:lstStyle/>
          <a:p>
            <a:pPr defTabSz="914332" fontAlgn="base">
              <a:spcBef>
                <a:spcPct val="0"/>
              </a:spcBef>
              <a:spcAft>
                <a:spcPct val="0"/>
              </a:spcAft>
            </a:pPr>
            <a:endParaRPr lang="en-US" sz="1600">
              <a:solidFill>
                <a:srgbClr val="000000"/>
              </a:solidFill>
              <a:latin typeface="Gill Sans Nova Light" panose="020B0402020204020203" pitchFamily="34" charset="0"/>
              <a:sym typeface="+mn-lt"/>
            </a:endParaRPr>
          </a:p>
        </p:txBody>
      </p:sp>
      <p:sp>
        <p:nvSpPr>
          <p:cNvPr id="98" name="Bracket" hidden="1"/>
          <p:cNvSpPr>
            <a:spLocks noChangeAspect="1"/>
          </p:cNvSpPr>
          <p:nvPr>
            <p:custDataLst>
              <p:tags r:id="rId23"/>
            </p:custDataLst>
          </p:nvPr>
        </p:nvSpPr>
        <p:spPr bwMode="gray">
          <a:xfrm>
            <a:off x="7584101" y="3148305"/>
            <a:ext cx="189515" cy="186594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09" tIns="60954" rIns="121909" bIns="60954" anchor="ctr"/>
          <a:lstStyle/>
          <a:p>
            <a:pPr defTabSz="914332" fontAlgn="base">
              <a:spcBef>
                <a:spcPct val="0"/>
              </a:spcBef>
              <a:spcAft>
                <a:spcPct val="0"/>
              </a:spcAft>
            </a:pPr>
            <a:endParaRPr lang="en-US" sz="1600" baseline="30000">
              <a:solidFill>
                <a:srgbClr val="000000"/>
              </a:solidFill>
              <a:latin typeface="Gill Sans Nova Light" panose="020B0402020204020203" pitchFamily="34" charset="0"/>
              <a:sym typeface="+mn-lt"/>
            </a:endParaRPr>
          </a:p>
        </p:txBody>
      </p:sp>
      <p:grpSp>
        <p:nvGrpSpPr>
          <p:cNvPr id="99" name="Flow" hidden="1"/>
          <p:cNvGrpSpPr>
            <a:grpSpLocks/>
          </p:cNvGrpSpPr>
          <p:nvPr>
            <p:custDataLst>
              <p:tags r:id="rId24"/>
            </p:custDataLst>
          </p:nvPr>
        </p:nvGrpSpPr>
        <p:grpSpPr bwMode="gray">
          <a:xfrm>
            <a:off x="3492960" y="3148304"/>
            <a:ext cx="1865973" cy="932973"/>
            <a:chOff x="5905500" y="3124200"/>
            <a:chExt cx="1828800" cy="914400"/>
          </a:xfrm>
        </p:grpSpPr>
        <p:sp>
          <p:nvSpPr>
            <p:cNvPr id="100" name="Freeform 99"/>
            <p:cNvSpPr/>
            <p:nvPr>
              <p:custDataLst>
                <p:tags r:id="rId6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01" name="TextBox 100"/>
            <p:cNvSpPr txBox="1"/>
            <p:nvPr>
              <p:custDataLst>
                <p:tags r:id="rId61"/>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02" name="SplitFlow" hidden="1"/>
          <p:cNvGrpSpPr/>
          <p:nvPr>
            <p:custDataLst>
              <p:tags r:id="rId25"/>
            </p:custDataLst>
          </p:nvPr>
        </p:nvGrpSpPr>
        <p:grpSpPr bwMode="gray">
          <a:xfrm>
            <a:off x="5538532" y="3148304"/>
            <a:ext cx="1865973" cy="932973"/>
            <a:chOff x="114300" y="1270000"/>
            <a:chExt cx="1828800" cy="914400"/>
          </a:xfrm>
        </p:grpSpPr>
        <p:sp>
          <p:nvSpPr>
            <p:cNvPr id="103" name="Freeform 102"/>
            <p:cNvSpPr/>
            <p:nvPr>
              <p:custDataLst>
                <p:tags r:id="rId56"/>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de-DE" sz="1600" err="1">
                <a:solidFill>
                  <a:srgbClr val="000000"/>
                </a:solidFill>
                <a:latin typeface="Gill Sans Nova Light" panose="020B0402020204020203" pitchFamily="34" charset="0"/>
                <a:sym typeface="+mn-lt"/>
              </a:endParaRPr>
            </a:p>
          </p:txBody>
        </p:sp>
        <p:sp>
          <p:nvSpPr>
            <p:cNvPr id="104" name="TextBox 103"/>
            <p:cNvSpPr txBox="1"/>
            <p:nvPr>
              <p:custDataLst>
                <p:tags r:id="rId57"/>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05" name="Freeform 104"/>
            <p:cNvSpPr/>
            <p:nvPr>
              <p:custDataLst>
                <p:tags r:id="rId58"/>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de-DE" sz="1600" err="1">
                <a:solidFill>
                  <a:srgbClr val="000000"/>
                </a:solidFill>
                <a:latin typeface="Gill Sans Nova Light" panose="020B0402020204020203" pitchFamily="34" charset="0"/>
                <a:sym typeface="+mn-lt"/>
              </a:endParaRPr>
            </a:p>
          </p:txBody>
        </p:sp>
        <p:sp>
          <p:nvSpPr>
            <p:cNvPr id="106" name="TextBox 105"/>
            <p:cNvSpPr txBox="1"/>
            <p:nvPr>
              <p:custDataLst>
                <p:tags r:id="rId59"/>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23" name="Sticker" hidden="1"/>
          <p:cNvGrpSpPr/>
          <p:nvPr/>
        </p:nvGrpSpPr>
        <p:grpSpPr bwMode="gray">
          <a:xfrm>
            <a:off x="11093836" y="887190"/>
            <a:ext cx="543417" cy="241447"/>
            <a:chOff x="8208184" y="288160"/>
            <a:chExt cx="532591" cy="236638"/>
          </a:xfrm>
        </p:grpSpPr>
        <p:sp>
          <p:nvSpPr>
            <p:cNvPr id="124" name="StickerRectangle"/>
            <p:cNvSpPr>
              <a:spLocks noChangeArrowheads="1"/>
            </p:cNvSpPr>
            <p:nvPr/>
          </p:nvSpPr>
          <p:spPr bwMode="gray">
            <a:xfrm>
              <a:off x="8208184" y="288160"/>
              <a:ext cx="532591" cy="2366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228" fontAlgn="base">
                <a:spcBef>
                  <a:spcPct val="0"/>
                </a:spcBef>
                <a:spcAft>
                  <a:spcPct val="0"/>
                </a:spcAft>
                <a:buClr>
                  <a:srgbClr val="003C54"/>
                </a:buClr>
              </a:pPr>
              <a:r>
                <a:rPr lang="da-DK" sz="1200">
                  <a:solidFill>
                    <a:srgbClr val="000000"/>
                  </a:solidFill>
                  <a:latin typeface="Gill Sans Nova Light" panose="020B0402020204020203" pitchFamily="34" charset="0"/>
                  <a:sym typeface="+mn-lt"/>
                </a:rPr>
                <a:t>STICKER</a:t>
              </a:r>
            </a:p>
          </p:txBody>
        </p:sp>
        <p:cxnSp>
          <p:nvCxnSpPr>
            <p:cNvPr id="125" name="AutoShape 32"/>
            <p:cNvCxnSpPr>
              <a:cxnSpLocks noChangeShapeType="1"/>
              <a:stCxn id="124" idx="4"/>
              <a:endCxn id="124" idx="6"/>
            </p:cNvCxnSpPr>
            <p:nvPr/>
          </p:nvCxnSpPr>
          <p:spPr bwMode="gray">
            <a:xfrm>
              <a:off x="8208184" y="524798"/>
              <a:ext cx="532591"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208184" y="288160"/>
              <a:ext cx="532591"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6"/>
            </p:custDataLst>
          </p:nvPr>
        </p:nvGrpSpPr>
        <p:grpSpPr bwMode="gray">
          <a:xfrm>
            <a:off x="9777013" y="4818917"/>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32" fontAlgn="base">
                <a:spcBef>
                  <a:spcPct val="0"/>
                </a:spcBef>
                <a:spcAft>
                  <a:spcPct val="0"/>
                </a:spcAft>
              </a:pPr>
              <a:endParaRPr lang="en-US" sz="1600">
                <a:solidFill>
                  <a:srgbClr val="000000"/>
                </a:solidFill>
                <a:latin typeface="Gill Sans Nova Light" panose="020B0402020204020203" pitchFamily="34" charset="0"/>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7"/>
            </p:custDataLst>
          </p:nvPr>
        </p:nvSpPr>
        <p:spPr>
          <a:xfrm>
            <a:off x="511473" y="3485693"/>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28"/>
            </p:custDataLst>
          </p:nvPr>
        </p:nvGrpSpPr>
        <p:grpSpPr>
          <a:xfrm>
            <a:off x="1041169"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29"/>
            </p:custDataLst>
          </p:nvPr>
        </p:nvGrpSpPr>
        <p:grpSpPr>
          <a:xfrm>
            <a:off x="1888090" y="3498649"/>
            <a:ext cx="1268193"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0"/>
            </p:custDataLst>
          </p:nvPr>
        </p:nvGrpSpPr>
        <p:grpSpPr>
          <a:xfrm>
            <a:off x="9203357" y="2145092"/>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0"/>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1"/>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69" name="Freeform: Shape 168">
              <a:extLst>
                <a:ext uri="{FF2B5EF4-FFF2-40B4-BE49-F238E27FC236}">
                  <a16:creationId xmlns:a16="http://schemas.microsoft.com/office/drawing/2014/main" id="{BB7BED76-2503-4209-8A7E-CA5A477F5F00}"/>
                </a:ext>
              </a:extLst>
            </p:cNvPr>
            <p:cNvSpPr/>
            <p:nvPr>
              <p:custDataLst>
                <p:tags r:id="rId52"/>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3"/>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71" name="Freeform: Shape 170">
              <a:extLst>
                <a:ext uri="{FF2B5EF4-FFF2-40B4-BE49-F238E27FC236}">
                  <a16:creationId xmlns:a16="http://schemas.microsoft.com/office/drawing/2014/main" id="{2D42E41B-DC12-4382-AC13-5867DF745C14}"/>
                </a:ext>
              </a:extLst>
            </p:cNvPr>
            <p:cNvSpPr/>
            <p:nvPr>
              <p:custDataLst>
                <p:tags r:id="rId54"/>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5"/>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1"/>
            </p:custDataLst>
          </p:nvPr>
        </p:nvGrpSpPr>
        <p:grpSpPr>
          <a:xfrm>
            <a:off x="9203352" y="3163188"/>
            <a:ext cx="1865973"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48"/>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49"/>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2"/>
            </p:custDataLst>
          </p:nvPr>
        </p:nvGrpSpPr>
        <p:grpSpPr>
          <a:xfrm>
            <a:off x="11216129" y="2578638"/>
            <a:ext cx="460015" cy="518319"/>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42" y="3010992"/>
            <a:ext cx="2493855" cy="526416"/>
            <a:chOff x="915" y="705"/>
            <a:chExt cx="2686" cy="325"/>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332" fontAlgn="base">
                <a:spcBef>
                  <a:spcPct val="0"/>
                </a:spcBef>
                <a:spcAft>
                  <a:spcPct val="0"/>
                </a:spcAft>
              </a:pPr>
              <a:r>
                <a:rPr lang="nl-NL" sz="1600">
                  <a:solidFill>
                    <a:srgbClr val="000000"/>
                  </a:solidFill>
                  <a:latin typeface="Gill Sans Nova Light" panose="020B0402020204020203" pitchFamily="34" charset="0"/>
                  <a:sym typeface="+mn-lt"/>
                </a:rPr>
                <a:t>Titel</a:t>
              </a:r>
            </a:p>
            <a:p>
              <a:pPr defTabSz="914332" fontAlgn="base">
                <a:spcBef>
                  <a:spcPct val="0"/>
                </a:spcBef>
                <a:spcAft>
                  <a:spcPct val="0"/>
                </a:spcAft>
              </a:pPr>
              <a:r>
                <a:rPr lang="nl-NL" sz="1600">
                  <a:solidFill>
                    <a:srgbClr val="000000"/>
                  </a:solidFill>
                  <a:latin typeface="Gill Sans Nova Light" panose="020B0402020204020203" pitchFamily="34" charset="0"/>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13" y="884727"/>
            <a:ext cx="826627" cy="1013976"/>
            <a:chOff x="7941273" y="531813"/>
            <a:chExt cx="810157" cy="993791"/>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72" y="884727"/>
            <a:ext cx="1140861" cy="741860"/>
            <a:chOff x="7633298" y="531813"/>
            <a:chExt cx="1118131" cy="727091"/>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2" y="5318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1" y="7985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1" y="1077914"/>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67" y="884728"/>
            <a:ext cx="894656" cy="1333053"/>
            <a:chOff x="7874598" y="531813"/>
            <a:chExt cx="876833"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3"/>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7"/>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4"/>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4"/>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5"/>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5"/>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2"/>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3"/>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6"/>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0"/>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1"/>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2"/>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7"/>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38"/>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39"/>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7" y="54995"/>
            <a:ext cx="664712"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332" fontAlgn="base">
              <a:spcBef>
                <a:spcPct val="0"/>
              </a:spcBef>
              <a:spcAft>
                <a:spcPct val="0"/>
              </a:spcAft>
              <a:tabLst>
                <a:tab pos="447611" algn="l"/>
              </a:tabLst>
            </a:pPr>
            <a:r>
              <a:rPr lang="nl-NL" sz="1200" cap="all">
                <a:solidFill>
                  <a:srgbClr val="000000"/>
                </a:solidFill>
                <a:latin typeface="Gill Sans Nova Light" panose="020B0402020204020203" pitchFamily="34" charset="0"/>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6" y="884731"/>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tabLst>
                <a:tab pos="444440" algn="l"/>
              </a:tabLst>
            </a:pPr>
            <a:r>
              <a:rPr lang="nl-NL" sz="1900">
                <a:solidFill>
                  <a:srgbClr val="000000"/>
                </a:solidFill>
                <a:latin typeface="Gill Sans Nova Light" panose="020B0402020204020203" pitchFamily="34" charset="0"/>
                <a:sym typeface="+mn-lt"/>
              </a:rPr>
              <a:t>Meeteenheid </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42" y="6071656"/>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41" y="6261395"/>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Tree>
    <p:extLst>
      <p:ext uri="{BB962C8B-B14F-4D97-AF65-F5344CB8AC3E}">
        <p14:creationId xmlns:p14="http://schemas.microsoft.com/office/powerpoint/2010/main" val="3526048490"/>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sldNum="0" hdr="0"/>
  <p:txStyles>
    <p:titleStyle>
      <a:lvl1pPr algn="l" defTabSz="895228" rtl="0" eaLnBrk="1" fontAlgn="base" hangingPunct="1">
        <a:spcBef>
          <a:spcPct val="0"/>
        </a:spcBef>
        <a:spcAft>
          <a:spcPct val="0"/>
        </a:spcAft>
        <a:tabLst>
          <a:tab pos="444440" algn="l"/>
        </a:tabLst>
        <a:defRPr lang="nl-NL" sz="2800" b="0" i="0" baseline="0" noProof="0" dirty="0">
          <a:solidFill>
            <a:schemeClr val="tx2"/>
          </a:solidFill>
          <a:latin typeface="Gill Sans Nova Medium" panose="020B0502020204020203" pitchFamily="34" charset="0"/>
          <a:ea typeface="+mj-ea"/>
          <a:cs typeface="+mj-cs"/>
          <a:sym typeface="+mj-lt"/>
        </a:defRPr>
      </a:lvl1pPr>
      <a:lvl2pPr algn="l" defTabSz="895228" rtl="0" eaLnBrk="1" fontAlgn="base" hangingPunct="1">
        <a:spcBef>
          <a:spcPct val="0"/>
        </a:spcBef>
        <a:spcAft>
          <a:spcPct val="0"/>
        </a:spcAft>
        <a:defRPr sz="1900" b="1">
          <a:solidFill>
            <a:schemeClr val="tx2"/>
          </a:solidFill>
          <a:latin typeface="Arial" charset="0"/>
        </a:defRPr>
      </a:lvl2pPr>
      <a:lvl3pPr algn="l" defTabSz="895228" rtl="0" eaLnBrk="1" fontAlgn="base" hangingPunct="1">
        <a:spcBef>
          <a:spcPct val="0"/>
        </a:spcBef>
        <a:spcAft>
          <a:spcPct val="0"/>
        </a:spcAft>
        <a:defRPr sz="1900" b="1">
          <a:solidFill>
            <a:schemeClr val="tx2"/>
          </a:solidFill>
          <a:latin typeface="Arial" charset="0"/>
        </a:defRPr>
      </a:lvl3pPr>
      <a:lvl4pPr algn="l" defTabSz="895228" rtl="0" eaLnBrk="1" fontAlgn="base" hangingPunct="1">
        <a:spcBef>
          <a:spcPct val="0"/>
        </a:spcBef>
        <a:spcAft>
          <a:spcPct val="0"/>
        </a:spcAft>
        <a:defRPr sz="1900" b="1">
          <a:solidFill>
            <a:schemeClr val="tx2"/>
          </a:solidFill>
          <a:latin typeface="Arial" charset="0"/>
        </a:defRPr>
      </a:lvl4pPr>
      <a:lvl5pPr algn="l" defTabSz="895228" rtl="0" eaLnBrk="1" fontAlgn="base" hangingPunct="1">
        <a:spcBef>
          <a:spcPct val="0"/>
        </a:spcBef>
        <a:spcAft>
          <a:spcPct val="0"/>
        </a:spcAft>
        <a:defRPr sz="1900" b="1">
          <a:solidFill>
            <a:schemeClr val="tx2"/>
          </a:solidFill>
          <a:latin typeface="Arial" charset="0"/>
        </a:defRPr>
      </a:lvl5pPr>
      <a:lvl6pPr marL="457139" algn="l" defTabSz="895228" rtl="0" eaLnBrk="1" fontAlgn="base" hangingPunct="1">
        <a:spcBef>
          <a:spcPct val="0"/>
        </a:spcBef>
        <a:spcAft>
          <a:spcPct val="0"/>
        </a:spcAft>
        <a:defRPr sz="1900" b="1">
          <a:solidFill>
            <a:schemeClr val="tx2"/>
          </a:solidFill>
          <a:latin typeface="Arial" charset="0"/>
        </a:defRPr>
      </a:lvl6pPr>
      <a:lvl7pPr marL="914276" algn="l" defTabSz="895228" rtl="0" eaLnBrk="1" fontAlgn="base" hangingPunct="1">
        <a:spcBef>
          <a:spcPct val="0"/>
        </a:spcBef>
        <a:spcAft>
          <a:spcPct val="0"/>
        </a:spcAft>
        <a:defRPr sz="1900" b="1">
          <a:solidFill>
            <a:schemeClr val="tx2"/>
          </a:solidFill>
          <a:latin typeface="Arial" charset="0"/>
        </a:defRPr>
      </a:lvl7pPr>
      <a:lvl8pPr marL="1371412" algn="l" defTabSz="895228" rtl="0" eaLnBrk="1" fontAlgn="base" hangingPunct="1">
        <a:spcBef>
          <a:spcPct val="0"/>
        </a:spcBef>
        <a:spcAft>
          <a:spcPct val="0"/>
        </a:spcAft>
        <a:defRPr sz="1900" b="1">
          <a:solidFill>
            <a:schemeClr val="tx2"/>
          </a:solidFill>
          <a:latin typeface="Arial" charset="0"/>
        </a:defRPr>
      </a:lvl8pPr>
      <a:lvl9pPr marL="1828552" algn="l" defTabSz="895228" rtl="0" eaLnBrk="1" fontAlgn="base" hangingPunct="1">
        <a:spcBef>
          <a:spcPct val="0"/>
        </a:spcBef>
        <a:spcAft>
          <a:spcPct val="0"/>
        </a:spcAft>
        <a:defRPr sz="1900" b="1">
          <a:solidFill>
            <a:schemeClr val="tx2"/>
          </a:solidFill>
          <a:latin typeface="Arial" charset="0"/>
        </a:defRPr>
      </a:lvl9pPr>
    </p:titleStyle>
    <p:bodyStyle>
      <a:lvl1pPr marL="0" indent="0" algn="l" defTabSz="895228" rtl="0" eaLnBrk="1" fontAlgn="base" hangingPunct="1">
        <a:spcBef>
          <a:spcPct val="0"/>
        </a:spcBef>
        <a:spcAft>
          <a:spcPct val="0"/>
        </a:spcAft>
        <a:buClr>
          <a:schemeClr val="tx2"/>
        </a:buClr>
        <a:defRPr sz="1600" b="0" i="0" baseline="0">
          <a:solidFill>
            <a:schemeClr val="tx1"/>
          </a:solidFill>
          <a:latin typeface="Gill Sans Nova Light" panose="020B0402020204020203" pitchFamily="34" charset="0"/>
          <a:ea typeface="+mn-ea"/>
          <a:cs typeface="+mn-cs"/>
          <a:sym typeface="+mn-lt"/>
        </a:defRPr>
      </a:lvl1pPr>
      <a:lvl2pPr marL="179974" indent="-179974" algn="l" defTabSz="895228" rtl="0" eaLnBrk="1" fontAlgn="base" hangingPunct="1">
        <a:spcBef>
          <a:spcPct val="0"/>
        </a:spcBef>
        <a:spcAft>
          <a:spcPct val="0"/>
        </a:spcAft>
        <a:buClr>
          <a:schemeClr val="tx1"/>
        </a:buClr>
        <a:buSzPct val="100000"/>
        <a:buFont typeface="Arial" pitchFamily="34" charset="0"/>
        <a:buChar char="•"/>
        <a:defRPr sz="1600" b="0" i="0" baseline="0">
          <a:solidFill>
            <a:schemeClr val="tx1"/>
          </a:solidFill>
          <a:latin typeface="Gill Sans Nova Light" panose="020B0402020204020203" pitchFamily="34" charset="0"/>
          <a:sym typeface="+mn-lt"/>
        </a:defRPr>
      </a:lvl2pPr>
      <a:lvl3pPr marL="359946" indent="-179974" algn="l" defTabSz="895228" rtl="0" eaLnBrk="1" fontAlgn="base" hangingPunct="1">
        <a:spcBef>
          <a:spcPct val="0"/>
        </a:spcBef>
        <a:spcAft>
          <a:spcPct val="0"/>
        </a:spcAft>
        <a:buClr>
          <a:schemeClr val="tx1"/>
        </a:buClr>
        <a:buSzPct val="100000"/>
        <a:buFont typeface="Arial" panose="020B0604020202020204" pitchFamily="34" charset="0"/>
        <a:buChar char="–"/>
        <a:defRPr sz="1600" b="0" i="0" baseline="0">
          <a:solidFill>
            <a:schemeClr val="tx1"/>
          </a:solidFill>
          <a:latin typeface="Gill Sans Nova Light" panose="020B0402020204020203" pitchFamily="34" charset="0"/>
          <a:sym typeface="+mn-lt"/>
        </a:defRPr>
      </a:lvl3pPr>
      <a:lvl4pPr marL="539917" indent="-179974" algn="l" defTabSz="895228" rtl="0" eaLnBrk="1" fontAlgn="base" hangingPunct="1">
        <a:spcBef>
          <a:spcPct val="0"/>
        </a:spcBef>
        <a:spcAft>
          <a:spcPct val="0"/>
        </a:spcAft>
        <a:buClr>
          <a:schemeClr val="tx1"/>
        </a:buClr>
        <a:buSzPct val="100000"/>
        <a:buFont typeface="Arial" pitchFamily="34" charset="0"/>
        <a:buChar char="»"/>
        <a:defRPr sz="1600" b="0" i="0" baseline="0">
          <a:solidFill>
            <a:schemeClr val="tx1"/>
          </a:solidFill>
          <a:latin typeface="Gill Sans Nova Light" panose="020B0402020204020203" pitchFamily="34" charset="0"/>
          <a:sym typeface="+mn-lt"/>
        </a:defRPr>
      </a:lvl4pPr>
      <a:lvl5pPr marL="719889" indent="-179974" algn="l" defTabSz="895228" rtl="0" eaLnBrk="1" fontAlgn="base" hangingPunct="1">
        <a:spcBef>
          <a:spcPct val="0"/>
        </a:spcBef>
        <a:spcAft>
          <a:spcPct val="0"/>
        </a:spcAft>
        <a:buClr>
          <a:schemeClr val="tx2"/>
        </a:buClr>
        <a:buSzPct val="100000"/>
        <a:buFont typeface="Arial" panose="020B0604020202020204" pitchFamily="34" charset="0"/>
        <a:buChar char="›"/>
        <a:defRPr sz="1600" b="0" i="0" baseline="0">
          <a:solidFill>
            <a:schemeClr val="tx1"/>
          </a:solidFill>
          <a:latin typeface="Gill Sans Nova Light" panose="020B0402020204020203" pitchFamily="34" charset="0"/>
          <a:sym typeface="+mn-lt"/>
        </a:defRPr>
      </a:lvl5pPr>
      <a:lvl6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276" rtl="0" eaLnBrk="1" latinLnBrk="0" hangingPunct="1">
        <a:defRPr sz="1900" kern="1200">
          <a:solidFill>
            <a:schemeClr val="tx1"/>
          </a:solidFill>
          <a:latin typeface="+mn-lt"/>
          <a:ea typeface="+mn-ea"/>
          <a:cs typeface="+mn-cs"/>
        </a:defRPr>
      </a:lvl1pPr>
      <a:lvl2pPr marL="457139" algn="l" defTabSz="914276" rtl="0" eaLnBrk="1" latinLnBrk="0" hangingPunct="1">
        <a:defRPr sz="1900" kern="1200">
          <a:solidFill>
            <a:schemeClr val="tx1"/>
          </a:solidFill>
          <a:latin typeface="+mn-lt"/>
          <a:ea typeface="+mn-ea"/>
          <a:cs typeface="+mn-cs"/>
        </a:defRPr>
      </a:lvl2pPr>
      <a:lvl3pPr marL="914276" algn="l" defTabSz="914276" rtl="0" eaLnBrk="1" latinLnBrk="0" hangingPunct="1">
        <a:defRPr sz="1900" kern="1200">
          <a:solidFill>
            <a:schemeClr val="tx1"/>
          </a:solidFill>
          <a:latin typeface="+mn-lt"/>
          <a:ea typeface="+mn-ea"/>
          <a:cs typeface="+mn-cs"/>
        </a:defRPr>
      </a:lvl3pPr>
      <a:lvl4pPr marL="1371412" algn="l" defTabSz="914276" rtl="0" eaLnBrk="1" latinLnBrk="0" hangingPunct="1">
        <a:defRPr sz="1900" kern="1200">
          <a:solidFill>
            <a:schemeClr val="tx1"/>
          </a:solidFill>
          <a:latin typeface="+mn-lt"/>
          <a:ea typeface="+mn-ea"/>
          <a:cs typeface="+mn-cs"/>
        </a:defRPr>
      </a:lvl4pPr>
      <a:lvl5pPr marL="1828552" algn="l" defTabSz="914276" rtl="0" eaLnBrk="1" latinLnBrk="0" hangingPunct="1">
        <a:defRPr sz="1900" kern="1200">
          <a:solidFill>
            <a:schemeClr val="tx1"/>
          </a:solidFill>
          <a:latin typeface="+mn-lt"/>
          <a:ea typeface="+mn-ea"/>
          <a:cs typeface="+mn-cs"/>
        </a:defRPr>
      </a:lvl5pPr>
      <a:lvl6pPr marL="2285690" algn="l" defTabSz="914276" rtl="0" eaLnBrk="1" latinLnBrk="0" hangingPunct="1">
        <a:defRPr sz="1900" kern="1200">
          <a:solidFill>
            <a:schemeClr val="tx1"/>
          </a:solidFill>
          <a:latin typeface="+mn-lt"/>
          <a:ea typeface="+mn-ea"/>
          <a:cs typeface="+mn-cs"/>
        </a:defRPr>
      </a:lvl6pPr>
      <a:lvl7pPr marL="2742826" algn="l" defTabSz="914276" rtl="0" eaLnBrk="1" latinLnBrk="0" hangingPunct="1">
        <a:defRPr sz="1900" kern="1200">
          <a:solidFill>
            <a:schemeClr val="tx1"/>
          </a:solidFill>
          <a:latin typeface="+mn-lt"/>
          <a:ea typeface="+mn-ea"/>
          <a:cs typeface="+mn-cs"/>
        </a:defRPr>
      </a:lvl7pPr>
      <a:lvl8pPr marL="3199963" algn="l" defTabSz="914276" rtl="0" eaLnBrk="1" latinLnBrk="0" hangingPunct="1">
        <a:defRPr sz="1900" kern="1200">
          <a:solidFill>
            <a:schemeClr val="tx1"/>
          </a:solidFill>
          <a:latin typeface="+mn-lt"/>
          <a:ea typeface="+mn-ea"/>
          <a:cs typeface="+mn-cs"/>
        </a:defRPr>
      </a:lvl8pPr>
      <a:lvl9pPr marL="3657099" algn="l" defTabSz="914276"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6"/>
            </p:custDataLst>
          </p:nvPr>
        </p:nvGraphicFramePr>
        <p:xfrm>
          <a:off x="1" y="0"/>
          <a:ext cx="215979" cy="161975"/>
        </p:xfrm>
        <a:graphic>
          <a:graphicData uri="http://schemas.openxmlformats.org/presentationml/2006/ole">
            <mc:AlternateContent xmlns:mc="http://schemas.openxmlformats.org/markup-compatibility/2006">
              <mc:Choice xmlns:v="urn:schemas-microsoft-com:vml" Requires="v">
                <p:oleObj spid="_x0000_s91139"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 y="0"/>
                        <a:ext cx="215979"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7"/>
            </p:custDataLst>
          </p:nvPr>
        </p:nvSpPr>
        <p:spPr>
          <a:xfrm>
            <a:off x="0" y="5"/>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332" fontAlgn="base">
              <a:spcBef>
                <a:spcPct val="0"/>
              </a:spcBef>
              <a:spcAft>
                <a:spcPct val="0"/>
              </a:spcAft>
            </a:pPr>
            <a:endParaRPr lang="en-US" sz="2800" b="0" i="0" baseline="0" err="1">
              <a:solidFill>
                <a:srgbClr val="000000"/>
              </a:solidFill>
              <a:latin typeface="Gill Sans Nova Medium" panose="020B0502020204020203"/>
              <a:ea typeface="ＭＳ Ｐゴシック" panose="020B0600070205080204" pitchFamily="34" charset="-128"/>
              <a:cs typeface="+mj-cs"/>
              <a:sym typeface="Gill Sans Nova Medium" panose="020B0502020204020203"/>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8"/>
            </p:custDataLst>
          </p:nvPr>
        </p:nvGrpSpPr>
        <p:grpSpPr>
          <a:xfrm>
            <a:off x="1036653" y="4748126"/>
            <a:ext cx="5079595" cy="1332992"/>
            <a:chOff x="5905500" y="3124200"/>
            <a:chExt cx="4978400" cy="1306453"/>
          </a:xfrm>
        </p:grpSpPr>
        <p:grpSp>
          <p:nvGrpSpPr>
            <p:cNvPr id="83" name="Group 82">
              <a:extLst>
                <a:ext uri="{FF2B5EF4-FFF2-40B4-BE49-F238E27FC236}">
                  <a16:creationId xmlns:a16="http://schemas.microsoft.com/office/drawing/2014/main" id="{827DA976-D5BE-4015-A977-74EA452DBA81}"/>
                </a:ext>
              </a:extLst>
            </p:cNvPr>
            <p:cNvGrpSpPr/>
            <p:nvPr>
              <p:custDataLst>
                <p:tags r:id="rId73"/>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8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81"/>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4"/>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9"/>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5"/>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7"/>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1"/>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3" y="4189333"/>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3" y="418933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9"/>
            </p:custDataLst>
          </p:nvPr>
        </p:nvGrpSpPr>
        <p:grpSpPr>
          <a:xfrm>
            <a:off x="6290145" y="4748119"/>
            <a:ext cx="5079595" cy="1333409"/>
            <a:chOff x="5905500" y="3124200"/>
            <a:chExt cx="4978400" cy="1306863"/>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4"/>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71"/>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2"/>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5"/>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9"/>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70"/>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6"/>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8"/>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3"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3" y="4189744"/>
              <a:ext cx="1523999" cy="241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fontAlgn="base">
                <a:spcBef>
                  <a:spcPct val="0"/>
                </a:spcBef>
                <a:spcAft>
                  <a:spcPct val="0"/>
                </a:spcAft>
                <a:buClr>
                  <a:srgbClr val="000000"/>
                </a:buClr>
              </a:pPr>
              <a:r>
                <a:rPr lang="en-US">
                  <a:solidFill>
                    <a:srgbClr val="000000"/>
                  </a:solidFill>
                  <a:latin typeface="Gill Sans Nova Light" panose="020B0402020204020203" pitchFamily="34" charset="0"/>
                  <a:sym typeface="+mn-lt"/>
                </a:rPr>
                <a:t>Text</a:t>
              </a:r>
            </a:p>
          </p:txBody>
        </p:sp>
      </p:grpSp>
      <p:sp>
        <p:nvSpPr>
          <p:cNvPr id="1036" name="Rectangle 286"/>
          <p:cNvSpPr>
            <a:spLocks noGrp="1" noChangeArrowheads="1"/>
          </p:cNvSpPr>
          <p:nvPr>
            <p:ph type="body" idx="1"/>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a:p>
        </p:txBody>
      </p:sp>
      <p:sp>
        <p:nvSpPr>
          <p:cNvPr id="19" name="Title"/>
          <p:cNvSpPr>
            <a:spLocks noGrp="1" noChangeArrowheads="1"/>
          </p:cNvSpPr>
          <p:nvPr>
            <p:ph type="title"/>
          </p:nvPr>
        </p:nvSpPr>
        <p:spPr bwMode="gray">
          <a:xfrm>
            <a:off x="554736" y="472850"/>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r>
              <a:rPr lang="en-US" noProof="0"/>
              <a:t>Click to edit aster title style</a:t>
            </a:r>
            <a:endParaRPr lang="nl-NL" noProof="0"/>
          </a:p>
        </p:txBody>
      </p:sp>
      <p:sp>
        <p:nvSpPr>
          <p:cNvPr id="93" name="Oval" hidden="1"/>
          <p:cNvSpPr txBox="1">
            <a:spLocks/>
          </p:cNvSpPr>
          <p:nvPr>
            <p:custDataLst>
              <p:tags r:id="rId20"/>
            </p:custDataLst>
          </p:nvPr>
        </p:nvSpPr>
        <p:spPr bwMode="gray">
          <a:xfrm>
            <a:off x="6878925" y="1451181"/>
            <a:ext cx="1554979"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8" tIns="35998" rIns="35998" bIns="35998"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4" name="Rectangle" hidden="1"/>
          <p:cNvSpPr txBox="1">
            <a:spLocks/>
          </p:cNvSpPr>
          <p:nvPr>
            <p:custDataLst>
              <p:tags r:id="rId21"/>
            </p:custDataLst>
          </p:nvPr>
        </p:nvSpPr>
        <p:spPr bwMode="gray">
          <a:xfrm>
            <a:off x="3524057" y="1451181"/>
            <a:ext cx="1554979" cy="1554955"/>
          </a:xfrm>
          <a:prstGeom prst="rect">
            <a:avLst/>
          </a:prstGeom>
          <a:solidFill>
            <a:schemeClr val="accent1"/>
          </a:solidFill>
          <a:ln w="9525">
            <a:solidFill>
              <a:schemeClr val="tx1"/>
            </a:solidFill>
            <a:miter lim="800000"/>
            <a:headEnd/>
            <a:tailEnd/>
          </a:ln>
          <a:effectLst/>
        </p:spPr>
        <p:txBody>
          <a:bodyPr vert="horz" wrap="square" lIns="71993" tIns="71993" rIns="71993" bIns="71993"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5" name="RoundedRectangle" hidden="1"/>
          <p:cNvSpPr txBox="1">
            <a:spLocks/>
          </p:cNvSpPr>
          <p:nvPr>
            <p:custDataLst>
              <p:tags r:id="rId22"/>
            </p:custDataLst>
          </p:nvPr>
        </p:nvSpPr>
        <p:spPr bwMode="gray">
          <a:xfrm>
            <a:off x="5217041" y="1451181"/>
            <a:ext cx="1554979" cy="1554955"/>
          </a:xfrm>
          <a:prstGeom prst="roundRect">
            <a:avLst/>
          </a:prstGeom>
          <a:solidFill>
            <a:schemeClr val="accent1"/>
          </a:solidFill>
          <a:ln w="9525">
            <a:solidFill>
              <a:schemeClr val="tx1"/>
            </a:solidFill>
            <a:miter lim="800000"/>
            <a:headEnd/>
            <a:tailEnd/>
          </a:ln>
          <a:effectLst/>
        </p:spPr>
        <p:txBody>
          <a:bodyPr vert="horz" wrap="square" lIns="71993" tIns="71993" rIns="71993" bIns="71993"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err="1">
                <a:solidFill>
                  <a:srgbClr val="000000"/>
                </a:solidFill>
                <a:latin typeface="Gill Sans Nova Light" panose="020B0402020204020203" pitchFamily="34" charset="0"/>
                <a:sym typeface="+mn-lt"/>
              </a:rPr>
              <a:t>Text</a:t>
            </a:r>
            <a:endParaRPr lang="nl-NL">
              <a:solidFill>
                <a:srgbClr val="000000"/>
              </a:solidFill>
              <a:latin typeface="Gill Sans Nova Light" panose="020B0402020204020203" pitchFamily="34" charset="0"/>
              <a:sym typeface="+mn-lt"/>
            </a:endParaRPr>
          </a:p>
        </p:txBody>
      </p:sp>
      <p:sp>
        <p:nvSpPr>
          <p:cNvPr id="96" name="Arrow" hidden="1"/>
          <p:cNvSpPr txBox="1">
            <a:spLocks/>
          </p:cNvSpPr>
          <p:nvPr>
            <p:custDataLst>
              <p:tags r:id="rId23"/>
            </p:custDataLst>
          </p:nvPr>
        </p:nvSpPr>
        <p:spPr bwMode="gray">
          <a:xfrm>
            <a:off x="3490717" y="4223448"/>
            <a:ext cx="1865973"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3" tIns="71993" rIns="71993" bIns="71993"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nl-NL">
                <a:solidFill>
                  <a:srgbClr val="000000"/>
                </a:solidFill>
                <a:latin typeface="Gill Sans Nova Light" panose="020B0402020204020203" pitchFamily="34" charset="0"/>
                <a:sym typeface="+mn-lt"/>
              </a:rPr>
              <a:t>Text</a:t>
            </a:r>
          </a:p>
        </p:txBody>
      </p:sp>
      <p:sp>
        <p:nvSpPr>
          <p:cNvPr id="97" name="DirArrow" hidden="1"/>
          <p:cNvSpPr>
            <a:spLocks noChangeArrowheads="1"/>
          </p:cNvSpPr>
          <p:nvPr>
            <p:custDataLst>
              <p:tags r:id="rId24"/>
            </p:custDataLst>
          </p:nvPr>
        </p:nvSpPr>
        <p:spPr bwMode="gray">
          <a:xfrm rot="5400000">
            <a:off x="7170381" y="2852711"/>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09" tIns="60954" rIns="121909" bIns="60954" anchor="ctr"/>
          <a:lstStyle/>
          <a:p>
            <a:pPr defTabSz="914332" fontAlgn="base">
              <a:spcBef>
                <a:spcPct val="0"/>
              </a:spcBef>
              <a:spcAft>
                <a:spcPct val="0"/>
              </a:spcAft>
            </a:pPr>
            <a:endParaRPr lang="en-US" sz="1600">
              <a:solidFill>
                <a:srgbClr val="000000"/>
              </a:solidFill>
              <a:latin typeface="Gill Sans Nova Light" panose="020B0402020204020203" pitchFamily="34" charset="0"/>
              <a:sym typeface="+mn-lt"/>
            </a:endParaRPr>
          </a:p>
        </p:txBody>
      </p:sp>
      <p:sp>
        <p:nvSpPr>
          <p:cNvPr id="98" name="Bracket" hidden="1"/>
          <p:cNvSpPr>
            <a:spLocks noChangeAspect="1"/>
          </p:cNvSpPr>
          <p:nvPr>
            <p:custDataLst>
              <p:tags r:id="rId25"/>
            </p:custDataLst>
          </p:nvPr>
        </p:nvSpPr>
        <p:spPr bwMode="gray">
          <a:xfrm>
            <a:off x="7584101" y="3148305"/>
            <a:ext cx="189515" cy="186594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1909" tIns="60954" rIns="121909" bIns="60954" anchor="ctr"/>
          <a:lstStyle/>
          <a:p>
            <a:pPr defTabSz="914332" fontAlgn="base">
              <a:spcBef>
                <a:spcPct val="0"/>
              </a:spcBef>
              <a:spcAft>
                <a:spcPct val="0"/>
              </a:spcAft>
            </a:pPr>
            <a:endParaRPr lang="en-US" sz="1600" baseline="30000">
              <a:solidFill>
                <a:srgbClr val="000000"/>
              </a:solidFill>
              <a:latin typeface="Gill Sans Nova Light" panose="020B0402020204020203" pitchFamily="34" charset="0"/>
              <a:sym typeface="+mn-lt"/>
            </a:endParaRPr>
          </a:p>
        </p:txBody>
      </p:sp>
      <p:grpSp>
        <p:nvGrpSpPr>
          <p:cNvPr id="99" name="Flow" hidden="1"/>
          <p:cNvGrpSpPr>
            <a:grpSpLocks/>
          </p:cNvGrpSpPr>
          <p:nvPr>
            <p:custDataLst>
              <p:tags r:id="rId26"/>
            </p:custDataLst>
          </p:nvPr>
        </p:nvGrpSpPr>
        <p:grpSpPr bwMode="gray">
          <a:xfrm>
            <a:off x="3492960" y="3148304"/>
            <a:ext cx="1865973" cy="932973"/>
            <a:chOff x="5905500" y="3124200"/>
            <a:chExt cx="1828800" cy="914400"/>
          </a:xfrm>
        </p:grpSpPr>
        <p:sp>
          <p:nvSpPr>
            <p:cNvPr id="100" name="Freeform 99"/>
            <p:cNvSpPr/>
            <p:nvPr>
              <p:custDataLst>
                <p:tags r:id="rId62"/>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01" name="TextBox 100"/>
            <p:cNvSpPr txBox="1"/>
            <p:nvPr>
              <p:custDataLst>
                <p:tags r:id="rId63"/>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02" name="SplitFlow" hidden="1"/>
          <p:cNvGrpSpPr/>
          <p:nvPr>
            <p:custDataLst>
              <p:tags r:id="rId27"/>
            </p:custDataLst>
          </p:nvPr>
        </p:nvGrpSpPr>
        <p:grpSpPr bwMode="gray">
          <a:xfrm>
            <a:off x="5538532" y="3148304"/>
            <a:ext cx="1865973" cy="932973"/>
            <a:chOff x="114300" y="1270000"/>
            <a:chExt cx="1828800" cy="914400"/>
          </a:xfrm>
        </p:grpSpPr>
        <p:sp>
          <p:nvSpPr>
            <p:cNvPr id="103" name="Freeform 102"/>
            <p:cNvSpPr/>
            <p:nvPr>
              <p:custDataLst>
                <p:tags r:id="rId58"/>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de-DE" sz="1600" err="1">
                <a:solidFill>
                  <a:srgbClr val="000000"/>
                </a:solidFill>
                <a:latin typeface="Gill Sans Nova Light" panose="020B0402020204020203" pitchFamily="34" charset="0"/>
                <a:sym typeface="+mn-lt"/>
              </a:endParaRPr>
            </a:p>
          </p:txBody>
        </p:sp>
        <p:sp>
          <p:nvSpPr>
            <p:cNvPr id="104" name="TextBox 103"/>
            <p:cNvSpPr txBox="1"/>
            <p:nvPr>
              <p:custDataLst>
                <p:tags r:id="rId59"/>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05" name="Freeform 104"/>
            <p:cNvSpPr/>
            <p:nvPr>
              <p:custDataLst>
                <p:tags r:id="rId60"/>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de-DE" sz="1600" err="1">
                <a:solidFill>
                  <a:srgbClr val="000000"/>
                </a:solidFill>
                <a:latin typeface="Gill Sans Nova Light" panose="020B0402020204020203" pitchFamily="34" charset="0"/>
                <a:sym typeface="+mn-lt"/>
              </a:endParaRPr>
            </a:p>
          </p:txBody>
        </p:sp>
        <p:sp>
          <p:nvSpPr>
            <p:cNvPr id="106" name="TextBox 105"/>
            <p:cNvSpPr txBox="1"/>
            <p:nvPr>
              <p:custDataLst>
                <p:tags r:id="rId61"/>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23" name="Sticker" hidden="1"/>
          <p:cNvGrpSpPr/>
          <p:nvPr/>
        </p:nvGrpSpPr>
        <p:grpSpPr bwMode="gray">
          <a:xfrm>
            <a:off x="11093836" y="887190"/>
            <a:ext cx="543417" cy="241447"/>
            <a:chOff x="8208184" y="288160"/>
            <a:chExt cx="532591" cy="236638"/>
          </a:xfrm>
        </p:grpSpPr>
        <p:sp>
          <p:nvSpPr>
            <p:cNvPr id="124" name="StickerRectangle"/>
            <p:cNvSpPr>
              <a:spLocks noChangeArrowheads="1"/>
            </p:cNvSpPr>
            <p:nvPr/>
          </p:nvSpPr>
          <p:spPr bwMode="gray">
            <a:xfrm>
              <a:off x="8208184" y="288160"/>
              <a:ext cx="532591" cy="2366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228" fontAlgn="base">
                <a:spcBef>
                  <a:spcPct val="0"/>
                </a:spcBef>
                <a:spcAft>
                  <a:spcPct val="0"/>
                </a:spcAft>
                <a:buClr>
                  <a:srgbClr val="003C54"/>
                </a:buClr>
              </a:pPr>
              <a:r>
                <a:rPr lang="da-DK" sz="1200">
                  <a:solidFill>
                    <a:srgbClr val="000000"/>
                  </a:solidFill>
                  <a:latin typeface="Gill Sans Nova Light" panose="020B0402020204020203" pitchFamily="34" charset="0"/>
                  <a:sym typeface="+mn-lt"/>
                </a:rPr>
                <a:t>STICKER</a:t>
              </a:r>
            </a:p>
          </p:txBody>
        </p:sp>
        <p:cxnSp>
          <p:nvCxnSpPr>
            <p:cNvPr id="125" name="AutoShape 32"/>
            <p:cNvCxnSpPr>
              <a:cxnSpLocks noChangeShapeType="1"/>
              <a:stCxn id="124" idx="4"/>
              <a:endCxn id="124" idx="6"/>
            </p:cNvCxnSpPr>
            <p:nvPr/>
          </p:nvCxnSpPr>
          <p:spPr bwMode="gray">
            <a:xfrm>
              <a:off x="8208184" y="524798"/>
              <a:ext cx="532591"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208184" y="288160"/>
              <a:ext cx="532591"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8"/>
            </p:custDataLst>
          </p:nvPr>
        </p:nvGrpSpPr>
        <p:grpSpPr bwMode="gray">
          <a:xfrm>
            <a:off x="9777013" y="4818917"/>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32" fontAlgn="base">
                <a:spcBef>
                  <a:spcPct val="0"/>
                </a:spcBef>
                <a:spcAft>
                  <a:spcPct val="0"/>
                </a:spcAft>
              </a:pPr>
              <a:endParaRPr lang="en-US" sz="1600">
                <a:solidFill>
                  <a:srgbClr val="000000"/>
                </a:solidFill>
                <a:latin typeface="Gill Sans Nova Light" panose="020B0402020204020203" pitchFamily="34" charset="0"/>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9"/>
            </p:custDataLst>
          </p:nvPr>
        </p:nvSpPr>
        <p:spPr>
          <a:xfrm>
            <a:off x="511473" y="3485693"/>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21909" tIns="60954" rIns="121909" bIns="60954"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30"/>
            </p:custDataLst>
          </p:nvPr>
        </p:nvGrpSpPr>
        <p:grpSpPr>
          <a:xfrm>
            <a:off x="1041169"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31"/>
            </p:custDataLst>
          </p:nvPr>
        </p:nvGrpSpPr>
        <p:grpSpPr>
          <a:xfrm>
            <a:off x="1888090" y="3498649"/>
            <a:ext cx="1268193"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2"/>
            </p:custDataLst>
          </p:nvPr>
        </p:nvGrpSpPr>
        <p:grpSpPr>
          <a:xfrm>
            <a:off x="9203357" y="2145092"/>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2"/>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3"/>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69" name="Freeform: Shape 168">
              <a:extLst>
                <a:ext uri="{FF2B5EF4-FFF2-40B4-BE49-F238E27FC236}">
                  <a16:creationId xmlns:a16="http://schemas.microsoft.com/office/drawing/2014/main" id="{BB7BED76-2503-4209-8A7E-CA5A477F5F00}"/>
                </a:ext>
              </a:extLst>
            </p:cNvPr>
            <p:cNvSpPr/>
            <p:nvPr>
              <p:custDataLst>
                <p:tags r:id="rId54"/>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5"/>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sp>
          <p:nvSpPr>
            <p:cNvPr id="171" name="Freeform: Shape 170">
              <a:extLst>
                <a:ext uri="{FF2B5EF4-FFF2-40B4-BE49-F238E27FC236}">
                  <a16:creationId xmlns:a16="http://schemas.microsoft.com/office/drawing/2014/main" id="{2D42E41B-DC12-4382-AC13-5867DF745C14}"/>
                </a:ext>
              </a:extLst>
            </p:cNvPr>
            <p:cNvSpPr/>
            <p:nvPr>
              <p:custDataLst>
                <p:tags r:id="rId56"/>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7"/>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3"/>
            </p:custDataLst>
          </p:nvPr>
        </p:nvGrpSpPr>
        <p:grpSpPr>
          <a:xfrm>
            <a:off x="9203352" y="3163188"/>
            <a:ext cx="1865973"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50"/>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51"/>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fontAlgn="base">
                <a:spcBef>
                  <a:spcPct val="0"/>
                </a:spcBef>
                <a:spcAft>
                  <a:spcPct val="0"/>
                </a:spcAft>
                <a:buClr>
                  <a:srgbClr val="003C54"/>
                </a:buClr>
              </a:pPr>
              <a:r>
                <a:rPr lang="en-US">
                  <a:solidFill>
                    <a:srgbClr val="000000"/>
                  </a:solidFill>
                  <a:latin typeface="Gill Sans Nova Light" panose="020B0402020204020203" pitchFamily="34" charset="0"/>
                  <a:sym typeface="+mn-lt"/>
                </a:rPr>
                <a:t>Text</a:t>
              </a: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4"/>
            </p:custDataLst>
          </p:nvPr>
        </p:nvGrpSpPr>
        <p:grpSpPr>
          <a:xfrm>
            <a:off x="11216129" y="2578638"/>
            <a:ext cx="460015" cy="518319"/>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fontAlgn="base">
                <a:spcBef>
                  <a:spcPct val="0"/>
                </a:spcBef>
                <a:spcAft>
                  <a:spcPct val="0"/>
                </a:spcAft>
              </a:pPr>
              <a:endParaRPr lang="en-US" sz="1600" err="1">
                <a:solidFill>
                  <a:srgbClr val="000000"/>
                </a:solidFill>
                <a:latin typeface="Gill Sans Nova Light" panose="020B0402020204020203" pitchFamily="34" charset="0"/>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42" y="3010992"/>
            <a:ext cx="2493855" cy="526416"/>
            <a:chOff x="915" y="705"/>
            <a:chExt cx="2686" cy="325"/>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332" fontAlgn="base">
                <a:spcBef>
                  <a:spcPct val="0"/>
                </a:spcBef>
                <a:spcAft>
                  <a:spcPct val="0"/>
                </a:spcAft>
              </a:pPr>
              <a:r>
                <a:rPr lang="nl-NL" sz="1600">
                  <a:solidFill>
                    <a:srgbClr val="000000"/>
                  </a:solidFill>
                  <a:latin typeface="Gill Sans Nova Light" panose="020B0402020204020203" pitchFamily="34" charset="0"/>
                  <a:sym typeface="+mn-lt"/>
                </a:rPr>
                <a:t>Titel</a:t>
              </a:r>
            </a:p>
            <a:p>
              <a:pPr defTabSz="914332" fontAlgn="base">
                <a:spcBef>
                  <a:spcPct val="0"/>
                </a:spcBef>
                <a:spcAft>
                  <a:spcPct val="0"/>
                </a:spcAft>
              </a:pPr>
              <a:r>
                <a:rPr lang="nl-NL" sz="1600">
                  <a:solidFill>
                    <a:srgbClr val="000000"/>
                  </a:solidFill>
                  <a:latin typeface="Gill Sans Nova Light" panose="020B0402020204020203" pitchFamily="34" charset="0"/>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13" y="884727"/>
            <a:ext cx="826627" cy="1013976"/>
            <a:chOff x="7941273" y="531813"/>
            <a:chExt cx="810157" cy="993791"/>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72" y="884727"/>
            <a:ext cx="1140861" cy="741860"/>
            <a:chOff x="7633298" y="531813"/>
            <a:chExt cx="1118131" cy="727091"/>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2" y="5318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1" y="798513"/>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1" y="1077914"/>
              <a:ext cx="55615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67" y="884728"/>
            <a:ext cx="894656" cy="1333053"/>
            <a:chOff x="7874598" y="531813"/>
            <a:chExt cx="876833"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5"/>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6"/>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7"/>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7"/>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8"/>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2"/>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5615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28" fontAlgn="base">
                <a:spcBef>
                  <a:spcPct val="0"/>
                </a:spcBef>
                <a:spcAft>
                  <a:spcPct val="0"/>
                </a:spcAft>
                <a:buClr>
                  <a:srgbClr val="003C54"/>
                </a:buClr>
              </a:pPr>
              <a:r>
                <a:rPr lang="nl-NL" sz="1200">
                  <a:solidFill>
                    <a:srgbClr val="000000"/>
                  </a:solidFill>
                  <a:latin typeface="Gill Sans Nova Light" panose="020B0402020204020203" pitchFamily="34" charset="0"/>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9"/>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32" fontAlgn="base">
                  <a:spcBef>
                    <a:spcPct val="0"/>
                  </a:spcBef>
                  <a:spcAft>
                    <a:spcPct val="0"/>
                  </a:spcAft>
                </a:pPr>
                <a:endParaRPr lang="nl-NL" sz="1200">
                  <a:solidFill>
                    <a:srgbClr val="000000"/>
                  </a:solidFill>
                  <a:latin typeface="Gill Sans Nova Light" panose="020B0402020204020203" pitchFamily="34" charset="0"/>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7" y="54995"/>
            <a:ext cx="664712"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332" fontAlgn="base">
              <a:spcBef>
                <a:spcPct val="0"/>
              </a:spcBef>
              <a:spcAft>
                <a:spcPct val="0"/>
              </a:spcAft>
              <a:tabLst>
                <a:tab pos="447611" algn="l"/>
              </a:tabLst>
            </a:pPr>
            <a:r>
              <a:rPr lang="nl-NL" sz="1200" cap="all">
                <a:solidFill>
                  <a:srgbClr val="000000"/>
                </a:solidFill>
                <a:latin typeface="Gill Sans Nova Light" panose="020B0402020204020203" pitchFamily="34" charset="0"/>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6" y="884731"/>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base">
              <a:spcBef>
                <a:spcPct val="0"/>
              </a:spcBef>
              <a:spcAft>
                <a:spcPct val="0"/>
              </a:spcAft>
              <a:tabLst>
                <a:tab pos="444440" algn="l"/>
              </a:tabLst>
            </a:pPr>
            <a:r>
              <a:rPr lang="nl-NL" sz="1900">
                <a:solidFill>
                  <a:srgbClr val="000000"/>
                </a:solidFill>
                <a:latin typeface="Gill Sans Nova Light" panose="020B0402020204020203" pitchFamily="34" charset="0"/>
                <a:sym typeface="+mn-lt"/>
              </a:rPr>
              <a:t>Meeteenheid </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42" y="6071656"/>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38" indent="-95238" fontAlgn="base">
              <a:spcBef>
                <a:spcPct val="0"/>
              </a:spcBef>
              <a:spcAft>
                <a:spcPct val="0"/>
              </a:spcAft>
            </a:pPr>
            <a:r>
              <a:rPr lang="nl-NL" sz="900">
                <a:solidFill>
                  <a:srgbClr val="000000"/>
                </a:solidFill>
                <a:latin typeface="Gill Sans Nova Light" panose="020B0402020204020203" pitchFamily="34" charset="0"/>
                <a:sym typeface="+mn-lt"/>
              </a:rPr>
              <a:t>1</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41" y="6261395"/>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6" indent="-304756" defTabSz="895228" fontAlgn="base">
              <a:spcBef>
                <a:spcPct val="0"/>
              </a:spcBef>
              <a:spcAft>
                <a:spcPct val="0"/>
              </a:spcAft>
            </a:pPr>
            <a:r>
              <a:rPr lang="nl-NL" sz="900">
                <a:solidFill>
                  <a:srgbClr val="000000"/>
                </a:solidFill>
                <a:latin typeface="Gill Sans Nova Light" panose="020B0402020204020203" pitchFamily="34" charset="0"/>
                <a:sym typeface="+mn-lt"/>
              </a:rPr>
              <a:t>Bron:</a:t>
            </a:r>
            <a:r>
              <a:rPr lang="pl-PL" sz="900">
                <a:solidFill>
                  <a:srgbClr val="000000"/>
                </a:solidFill>
                <a:latin typeface="Gill Sans Nova Light" panose="020B0402020204020203" pitchFamily="34" charset="0"/>
                <a:sym typeface="+mn-lt"/>
              </a:rPr>
              <a:t> </a:t>
            </a:r>
            <a:r>
              <a:rPr lang="nl-NL" sz="900">
                <a:solidFill>
                  <a:srgbClr val="000000"/>
                </a:solidFill>
                <a:latin typeface="Gill Sans Nova Light" panose="020B0402020204020203" pitchFamily="34" charset="0"/>
                <a:sym typeface="+mn-lt"/>
              </a:rPr>
              <a:t>Bron </a:t>
            </a:r>
          </a:p>
        </p:txBody>
      </p:sp>
    </p:spTree>
    <p:extLst>
      <p:ext uri="{BB962C8B-B14F-4D97-AF65-F5344CB8AC3E}">
        <p14:creationId xmlns:p14="http://schemas.microsoft.com/office/powerpoint/2010/main" val="315663205"/>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Lst>
  <p:hf sldNum="0" hdr="0"/>
  <p:txStyles>
    <p:titleStyle>
      <a:lvl1pPr algn="l" defTabSz="895228" rtl="0" eaLnBrk="1" fontAlgn="base" hangingPunct="1">
        <a:spcBef>
          <a:spcPct val="0"/>
        </a:spcBef>
        <a:spcAft>
          <a:spcPct val="0"/>
        </a:spcAft>
        <a:tabLst>
          <a:tab pos="444440" algn="l"/>
        </a:tabLst>
        <a:defRPr lang="nl-NL" sz="2800" b="0" i="0" baseline="0" noProof="0" dirty="0">
          <a:solidFill>
            <a:schemeClr val="tx2"/>
          </a:solidFill>
          <a:latin typeface="Gill Sans Nova Medium" panose="020B0502020204020203" pitchFamily="34" charset="0"/>
          <a:ea typeface="+mj-ea"/>
          <a:cs typeface="+mj-cs"/>
          <a:sym typeface="+mj-lt"/>
        </a:defRPr>
      </a:lvl1pPr>
      <a:lvl2pPr algn="l" defTabSz="895228" rtl="0" eaLnBrk="1" fontAlgn="base" hangingPunct="1">
        <a:spcBef>
          <a:spcPct val="0"/>
        </a:spcBef>
        <a:spcAft>
          <a:spcPct val="0"/>
        </a:spcAft>
        <a:defRPr sz="1900" b="1">
          <a:solidFill>
            <a:schemeClr val="tx2"/>
          </a:solidFill>
          <a:latin typeface="Arial" charset="0"/>
        </a:defRPr>
      </a:lvl2pPr>
      <a:lvl3pPr algn="l" defTabSz="895228" rtl="0" eaLnBrk="1" fontAlgn="base" hangingPunct="1">
        <a:spcBef>
          <a:spcPct val="0"/>
        </a:spcBef>
        <a:spcAft>
          <a:spcPct val="0"/>
        </a:spcAft>
        <a:defRPr sz="1900" b="1">
          <a:solidFill>
            <a:schemeClr val="tx2"/>
          </a:solidFill>
          <a:latin typeface="Arial" charset="0"/>
        </a:defRPr>
      </a:lvl3pPr>
      <a:lvl4pPr algn="l" defTabSz="895228" rtl="0" eaLnBrk="1" fontAlgn="base" hangingPunct="1">
        <a:spcBef>
          <a:spcPct val="0"/>
        </a:spcBef>
        <a:spcAft>
          <a:spcPct val="0"/>
        </a:spcAft>
        <a:defRPr sz="1900" b="1">
          <a:solidFill>
            <a:schemeClr val="tx2"/>
          </a:solidFill>
          <a:latin typeface="Arial" charset="0"/>
        </a:defRPr>
      </a:lvl4pPr>
      <a:lvl5pPr algn="l" defTabSz="895228" rtl="0" eaLnBrk="1" fontAlgn="base" hangingPunct="1">
        <a:spcBef>
          <a:spcPct val="0"/>
        </a:spcBef>
        <a:spcAft>
          <a:spcPct val="0"/>
        </a:spcAft>
        <a:defRPr sz="1900" b="1">
          <a:solidFill>
            <a:schemeClr val="tx2"/>
          </a:solidFill>
          <a:latin typeface="Arial" charset="0"/>
        </a:defRPr>
      </a:lvl5pPr>
      <a:lvl6pPr marL="457139" algn="l" defTabSz="895228" rtl="0" eaLnBrk="1" fontAlgn="base" hangingPunct="1">
        <a:spcBef>
          <a:spcPct val="0"/>
        </a:spcBef>
        <a:spcAft>
          <a:spcPct val="0"/>
        </a:spcAft>
        <a:defRPr sz="1900" b="1">
          <a:solidFill>
            <a:schemeClr val="tx2"/>
          </a:solidFill>
          <a:latin typeface="Arial" charset="0"/>
        </a:defRPr>
      </a:lvl6pPr>
      <a:lvl7pPr marL="914276" algn="l" defTabSz="895228" rtl="0" eaLnBrk="1" fontAlgn="base" hangingPunct="1">
        <a:spcBef>
          <a:spcPct val="0"/>
        </a:spcBef>
        <a:spcAft>
          <a:spcPct val="0"/>
        </a:spcAft>
        <a:defRPr sz="1900" b="1">
          <a:solidFill>
            <a:schemeClr val="tx2"/>
          </a:solidFill>
          <a:latin typeface="Arial" charset="0"/>
        </a:defRPr>
      </a:lvl7pPr>
      <a:lvl8pPr marL="1371412" algn="l" defTabSz="895228" rtl="0" eaLnBrk="1" fontAlgn="base" hangingPunct="1">
        <a:spcBef>
          <a:spcPct val="0"/>
        </a:spcBef>
        <a:spcAft>
          <a:spcPct val="0"/>
        </a:spcAft>
        <a:defRPr sz="1900" b="1">
          <a:solidFill>
            <a:schemeClr val="tx2"/>
          </a:solidFill>
          <a:latin typeface="Arial" charset="0"/>
        </a:defRPr>
      </a:lvl8pPr>
      <a:lvl9pPr marL="1828552" algn="l" defTabSz="895228" rtl="0" eaLnBrk="1" fontAlgn="base" hangingPunct="1">
        <a:spcBef>
          <a:spcPct val="0"/>
        </a:spcBef>
        <a:spcAft>
          <a:spcPct val="0"/>
        </a:spcAft>
        <a:defRPr sz="1900" b="1">
          <a:solidFill>
            <a:schemeClr val="tx2"/>
          </a:solidFill>
          <a:latin typeface="Arial" charset="0"/>
        </a:defRPr>
      </a:lvl9pPr>
    </p:titleStyle>
    <p:bodyStyle>
      <a:lvl1pPr marL="0" indent="0" algn="l" defTabSz="895228" rtl="0" eaLnBrk="1" fontAlgn="base" hangingPunct="1">
        <a:spcBef>
          <a:spcPct val="0"/>
        </a:spcBef>
        <a:spcAft>
          <a:spcPct val="0"/>
        </a:spcAft>
        <a:buClr>
          <a:schemeClr val="tx2"/>
        </a:buClr>
        <a:defRPr sz="1600" b="0" i="0" baseline="0">
          <a:solidFill>
            <a:schemeClr val="tx1"/>
          </a:solidFill>
          <a:latin typeface="Gill Sans Nova Light" panose="020B0402020204020203" pitchFamily="34" charset="0"/>
          <a:ea typeface="+mn-ea"/>
          <a:cs typeface="+mn-cs"/>
          <a:sym typeface="+mn-lt"/>
        </a:defRPr>
      </a:lvl1pPr>
      <a:lvl2pPr marL="179974" indent="-179974" algn="l" defTabSz="895228" rtl="0" eaLnBrk="1" fontAlgn="base" hangingPunct="1">
        <a:spcBef>
          <a:spcPct val="0"/>
        </a:spcBef>
        <a:spcAft>
          <a:spcPct val="0"/>
        </a:spcAft>
        <a:buClr>
          <a:schemeClr val="tx1"/>
        </a:buClr>
        <a:buSzPct val="100000"/>
        <a:buFont typeface="Arial" pitchFamily="34" charset="0"/>
        <a:buChar char="•"/>
        <a:defRPr sz="1600" b="0" i="0" baseline="0">
          <a:solidFill>
            <a:schemeClr val="tx1"/>
          </a:solidFill>
          <a:latin typeface="Gill Sans Nova Light" panose="020B0402020204020203" pitchFamily="34" charset="0"/>
          <a:sym typeface="+mn-lt"/>
        </a:defRPr>
      </a:lvl2pPr>
      <a:lvl3pPr marL="359946" indent="-179974" algn="l" defTabSz="895228" rtl="0" eaLnBrk="1" fontAlgn="base" hangingPunct="1">
        <a:spcBef>
          <a:spcPct val="0"/>
        </a:spcBef>
        <a:spcAft>
          <a:spcPct val="0"/>
        </a:spcAft>
        <a:buClr>
          <a:schemeClr val="tx1"/>
        </a:buClr>
        <a:buSzPct val="100000"/>
        <a:buFont typeface="Arial" panose="020B0604020202020204" pitchFamily="34" charset="0"/>
        <a:buChar char="–"/>
        <a:defRPr sz="1600" b="0" i="0" baseline="0">
          <a:solidFill>
            <a:schemeClr val="tx1"/>
          </a:solidFill>
          <a:latin typeface="Gill Sans Nova Light" panose="020B0402020204020203" pitchFamily="34" charset="0"/>
          <a:sym typeface="+mn-lt"/>
        </a:defRPr>
      </a:lvl3pPr>
      <a:lvl4pPr marL="539917" indent="-179974" algn="l" defTabSz="895228" rtl="0" eaLnBrk="1" fontAlgn="base" hangingPunct="1">
        <a:spcBef>
          <a:spcPct val="0"/>
        </a:spcBef>
        <a:spcAft>
          <a:spcPct val="0"/>
        </a:spcAft>
        <a:buClr>
          <a:schemeClr val="tx1"/>
        </a:buClr>
        <a:buSzPct val="100000"/>
        <a:buFont typeface="Arial" pitchFamily="34" charset="0"/>
        <a:buChar char="»"/>
        <a:defRPr sz="1600" b="0" i="0" baseline="0">
          <a:solidFill>
            <a:schemeClr val="tx1"/>
          </a:solidFill>
          <a:latin typeface="Gill Sans Nova Light" panose="020B0402020204020203" pitchFamily="34" charset="0"/>
          <a:sym typeface="+mn-lt"/>
        </a:defRPr>
      </a:lvl4pPr>
      <a:lvl5pPr marL="719889" indent="-179974" algn="l" defTabSz="895228" rtl="0" eaLnBrk="1" fontAlgn="base" hangingPunct="1">
        <a:spcBef>
          <a:spcPct val="0"/>
        </a:spcBef>
        <a:spcAft>
          <a:spcPct val="0"/>
        </a:spcAft>
        <a:buClr>
          <a:schemeClr val="tx2"/>
        </a:buClr>
        <a:buSzPct val="100000"/>
        <a:buFont typeface="Arial" panose="020B0604020202020204" pitchFamily="34" charset="0"/>
        <a:buChar char="›"/>
        <a:defRPr sz="1600" b="0" i="0" baseline="0">
          <a:solidFill>
            <a:schemeClr val="tx1"/>
          </a:solidFill>
          <a:latin typeface="Gill Sans Nova Light" panose="020B0402020204020203" pitchFamily="34" charset="0"/>
          <a:sym typeface="+mn-lt"/>
        </a:defRPr>
      </a:lvl5pPr>
      <a:lvl6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07" indent="-130155" algn="l" defTabSz="89522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276" rtl="0" eaLnBrk="1" latinLnBrk="0" hangingPunct="1">
        <a:defRPr sz="1900" kern="1200">
          <a:solidFill>
            <a:schemeClr val="tx1"/>
          </a:solidFill>
          <a:latin typeface="+mn-lt"/>
          <a:ea typeface="+mn-ea"/>
          <a:cs typeface="+mn-cs"/>
        </a:defRPr>
      </a:lvl1pPr>
      <a:lvl2pPr marL="457139" algn="l" defTabSz="914276" rtl="0" eaLnBrk="1" latinLnBrk="0" hangingPunct="1">
        <a:defRPr sz="1900" kern="1200">
          <a:solidFill>
            <a:schemeClr val="tx1"/>
          </a:solidFill>
          <a:latin typeface="+mn-lt"/>
          <a:ea typeface="+mn-ea"/>
          <a:cs typeface="+mn-cs"/>
        </a:defRPr>
      </a:lvl2pPr>
      <a:lvl3pPr marL="914276" algn="l" defTabSz="914276" rtl="0" eaLnBrk="1" latinLnBrk="0" hangingPunct="1">
        <a:defRPr sz="1900" kern="1200">
          <a:solidFill>
            <a:schemeClr val="tx1"/>
          </a:solidFill>
          <a:latin typeface="+mn-lt"/>
          <a:ea typeface="+mn-ea"/>
          <a:cs typeface="+mn-cs"/>
        </a:defRPr>
      </a:lvl3pPr>
      <a:lvl4pPr marL="1371412" algn="l" defTabSz="914276" rtl="0" eaLnBrk="1" latinLnBrk="0" hangingPunct="1">
        <a:defRPr sz="1900" kern="1200">
          <a:solidFill>
            <a:schemeClr val="tx1"/>
          </a:solidFill>
          <a:latin typeface="+mn-lt"/>
          <a:ea typeface="+mn-ea"/>
          <a:cs typeface="+mn-cs"/>
        </a:defRPr>
      </a:lvl4pPr>
      <a:lvl5pPr marL="1828552" algn="l" defTabSz="914276" rtl="0" eaLnBrk="1" latinLnBrk="0" hangingPunct="1">
        <a:defRPr sz="1900" kern="1200">
          <a:solidFill>
            <a:schemeClr val="tx1"/>
          </a:solidFill>
          <a:latin typeface="+mn-lt"/>
          <a:ea typeface="+mn-ea"/>
          <a:cs typeface="+mn-cs"/>
        </a:defRPr>
      </a:lvl5pPr>
      <a:lvl6pPr marL="2285690" algn="l" defTabSz="914276" rtl="0" eaLnBrk="1" latinLnBrk="0" hangingPunct="1">
        <a:defRPr sz="1900" kern="1200">
          <a:solidFill>
            <a:schemeClr val="tx1"/>
          </a:solidFill>
          <a:latin typeface="+mn-lt"/>
          <a:ea typeface="+mn-ea"/>
          <a:cs typeface="+mn-cs"/>
        </a:defRPr>
      </a:lvl6pPr>
      <a:lvl7pPr marL="2742826" algn="l" defTabSz="914276" rtl="0" eaLnBrk="1" latinLnBrk="0" hangingPunct="1">
        <a:defRPr sz="1900" kern="1200">
          <a:solidFill>
            <a:schemeClr val="tx1"/>
          </a:solidFill>
          <a:latin typeface="+mn-lt"/>
          <a:ea typeface="+mn-ea"/>
          <a:cs typeface="+mn-cs"/>
        </a:defRPr>
      </a:lvl7pPr>
      <a:lvl8pPr marL="3199963" algn="l" defTabSz="914276" rtl="0" eaLnBrk="1" latinLnBrk="0" hangingPunct="1">
        <a:defRPr sz="1900" kern="1200">
          <a:solidFill>
            <a:schemeClr val="tx1"/>
          </a:solidFill>
          <a:latin typeface="+mn-lt"/>
          <a:ea typeface="+mn-ea"/>
          <a:cs typeface="+mn-cs"/>
        </a:defRPr>
      </a:lvl8pPr>
      <a:lvl9pPr marL="3657099" algn="l" defTabSz="914276"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8" Type="http://schemas.openxmlformats.org/officeDocument/2006/relationships/tags" Target="../tags/tag626.xml"/><Relationship Id="rId3" Type="http://schemas.openxmlformats.org/officeDocument/2006/relationships/tags" Target="../tags/tag621.xml"/><Relationship Id="rId7" Type="http://schemas.openxmlformats.org/officeDocument/2006/relationships/tags" Target="../tags/tag625.xml"/><Relationship Id="rId12" Type="http://schemas.openxmlformats.org/officeDocument/2006/relationships/image" Target="../media/image10.emf"/><Relationship Id="rId2" Type="http://schemas.openxmlformats.org/officeDocument/2006/relationships/tags" Target="../tags/tag620.xml"/><Relationship Id="rId1" Type="http://schemas.openxmlformats.org/officeDocument/2006/relationships/vmlDrawing" Target="../drawings/vmlDrawing77.vml"/><Relationship Id="rId6" Type="http://schemas.openxmlformats.org/officeDocument/2006/relationships/tags" Target="../tags/tag624.xml"/><Relationship Id="rId11" Type="http://schemas.openxmlformats.org/officeDocument/2006/relationships/oleObject" Target="../embeddings/oleObject72.bin"/><Relationship Id="rId5" Type="http://schemas.openxmlformats.org/officeDocument/2006/relationships/tags" Target="../tags/tag623.xml"/><Relationship Id="rId10" Type="http://schemas.openxmlformats.org/officeDocument/2006/relationships/notesSlide" Target="../notesSlides/notesSlide9.xml"/><Relationship Id="rId4" Type="http://schemas.openxmlformats.org/officeDocument/2006/relationships/tags" Target="../tags/tag622.xml"/><Relationship Id="rId9"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rijksoverheid.nl/onderwerpen/arbeidsovereenkomst-en-cao/plannen-kabinet-voor-meer-balans-tussen-vast-werk-en-flexwerk" TargetMode="External"/><Relationship Id="rId1" Type="http://schemas.openxmlformats.org/officeDocument/2006/relationships/slideLayout" Target="../slideLayouts/slideLayout4.xml"/><Relationship Id="rId4" Type="http://schemas.openxmlformats.org/officeDocument/2006/relationships/image" Target="../media/image3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576.xml"/><Relationship Id="rId3" Type="http://schemas.openxmlformats.org/officeDocument/2006/relationships/tags" Target="../tags/tag571.xml"/><Relationship Id="rId7" Type="http://schemas.openxmlformats.org/officeDocument/2006/relationships/tags" Target="../tags/tag575.xml"/><Relationship Id="rId12" Type="http://schemas.openxmlformats.org/officeDocument/2006/relationships/image" Target="../media/image10.emf"/><Relationship Id="rId2" Type="http://schemas.openxmlformats.org/officeDocument/2006/relationships/tags" Target="../tags/tag570.xml"/><Relationship Id="rId1" Type="http://schemas.openxmlformats.org/officeDocument/2006/relationships/vmlDrawing" Target="../drawings/vmlDrawing72.vml"/><Relationship Id="rId6" Type="http://schemas.openxmlformats.org/officeDocument/2006/relationships/tags" Target="../tags/tag574.xml"/><Relationship Id="rId11" Type="http://schemas.openxmlformats.org/officeDocument/2006/relationships/oleObject" Target="../embeddings/oleObject72.bin"/><Relationship Id="rId5" Type="http://schemas.openxmlformats.org/officeDocument/2006/relationships/tags" Target="../tags/tag573.xml"/><Relationship Id="rId10" Type="http://schemas.openxmlformats.org/officeDocument/2006/relationships/notesSlide" Target="../notesSlides/notesSlide1.xml"/><Relationship Id="rId4" Type="http://schemas.openxmlformats.org/officeDocument/2006/relationships/tags" Target="../tags/tag572.xml"/><Relationship Id="rId9"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28.xml"/><Relationship Id="rId1" Type="http://schemas.openxmlformats.org/officeDocument/2006/relationships/tags" Target="../tags/tag627.xml"/><Relationship Id="rId4" Type="http://schemas.openxmlformats.org/officeDocument/2006/relationships/notesSlide" Target="../notesSlides/notesSlide10.xml"/></Relationships>
</file>

<file path=ppt/slides/_rels/slide3.xml.rels><?xml version="1.0" encoding="UTF-8" standalone="yes"?>
<Relationships xmlns="http://schemas.openxmlformats.org/package/2006/relationships"><Relationship Id="rId8" Type="http://schemas.openxmlformats.org/officeDocument/2006/relationships/tags" Target="../tags/tag583.xml"/><Relationship Id="rId3" Type="http://schemas.openxmlformats.org/officeDocument/2006/relationships/tags" Target="../tags/tag578.xml"/><Relationship Id="rId7" Type="http://schemas.openxmlformats.org/officeDocument/2006/relationships/tags" Target="../tags/tag582.xml"/><Relationship Id="rId12" Type="http://schemas.openxmlformats.org/officeDocument/2006/relationships/image" Target="../media/image10.emf"/><Relationship Id="rId2" Type="http://schemas.openxmlformats.org/officeDocument/2006/relationships/tags" Target="../tags/tag577.xml"/><Relationship Id="rId1" Type="http://schemas.openxmlformats.org/officeDocument/2006/relationships/vmlDrawing" Target="../drawings/vmlDrawing73.vml"/><Relationship Id="rId6" Type="http://schemas.openxmlformats.org/officeDocument/2006/relationships/tags" Target="../tags/tag581.xml"/><Relationship Id="rId11" Type="http://schemas.openxmlformats.org/officeDocument/2006/relationships/oleObject" Target="../embeddings/oleObject72.bin"/><Relationship Id="rId5" Type="http://schemas.openxmlformats.org/officeDocument/2006/relationships/tags" Target="../tags/tag580.xml"/><Relationship Id="rId10" Type="http://schemas.openxmlformats.org/officeDocument/2006/relationships/notesSlide" Target="../notesSlides/notesSlide2.xml"/><Relationship Id="rId4" Type="http://schemas.openxmlformats.org/officeDocument/2006/relationships/tags" Target="../tags/tag579.xml"/><Relationship Id="rId9"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tags" Target="../tags/tag590.xml"/><Relationship Id="rId3" Type="http://schemas.openxmlformats.org/officeDocument/2006/relationships/tags" Target="../tags/tag585.xml"/><Relationship Id="rId7" Type="http://schemas.openxmlformats.org/officeDocument/2006/relationships/tags" Target="../tags/tag589.xml"/><Relationship Id="rId12" Type="http://schemas.openxmlformats.org/officeDocument/2006/relationships/image" Target="../media/image7.emf"/><Relationship Id="rId2" Type="http://schemas.openxmlformats.org/officeDocument/2006/relationships/tags" Target="../tags/tag584.xml"/><Relationship Id="rId1" Type="http://schemas.openxmlformats.org/officeDocument/2006/relationships/vmlDrawing" Target="../drawings/vmlDrawing74.vml"/><Relationship Id="rId6" Type="http://schemas.openxmlformats.org/officeDocument/2006/relationships/tags" Target="../tags/tag588.xml"/><Relationship Id="rId11" Type="http://schemas.openxmlformats.org/officeDocument/2006/relationships/oleObject" Target="../embeddings/oleObject73.bin"/><Relationship Id="rId5" Type="http://schemas.openxmlformats.org/officeDocument/2006/relationships/tags" Target="../tags/tag587.xml"/><Relationship Id="rId10" Type="http://schemas.openxmlformats.org/officeDocument/2006/relationships/notesSlide" Target="../notesSlides/notesSlide3.xml"/><Relationship Id="rId4" Type="http://schemas.openxmlformats.org/officeDocument/2006/relationships/tags" Target="../tags/tag586.xml"/><Relationship Id="rId9"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597.xml"/><Relationship Id="rId13" Type="http://schemas.openxmlformats.org/officeDocument/2006/relationships/tags" Target="../tags/tag602.xml"/><Relationship Id="rId18" Type="http://schemas.openxmlformats.org/officeDocument/2006/relationships/tags" Target="../tags/tag607.xml"/><Relationship Id="rId3" Type="http://schemas.openxmlformats.org/officeDocument/2006/relationships/tags" Target="../tags/tag592.xml"/><Relationship Id="rId21" Type="http://schemas.openxmlformats.org/officeDocument/2006/relationships/tags" Target="../tags/tag610.xml"/><Relationship Id="rId7" Type="http://schemas.openxmlformats.org/officeDocument/2006/relationships/tags" Target="../tags/tag596.xml"/><Relationship Id="rId12" Type="http://schemas.openxmlformats.org/officeDocument/2006/relationships/tags" Target="../tags/tag601.xml"/><Relationship Id="rId17" Type="http://schemas.openxmlformats.org/officeDocument/2006/relationships/tags" Target="../tags/tag606.xml"/><Relationship Id="rId25" Type="http://schemas.openxmlformats.org/officeDocument/2006/relationships/image" Target="../media/image11.emf"/><Relationship Id="rId2" Type="http://schemas.openxmlformats.org/officeDocument/2006/relationships/tags" Target="../tags/tag591.xml"/><Relationship Id="rId16" Type="http://schemas.openxmlformats.org/officeDocument/2006/relationships/tags" Target="../tags/tag605.xml"/><Relationship Id="rId20" Type="http://schemas.openxmlformats.org/officeDocument/2006/relationships/tags" Target="../tags/tag609.xml"/><Relationship Id="rId1" Type="http://schemas.openxmlformats.org/officeDocument/2006/relationships/vmlDrawing" Target="../drawings/vmlDrawing75.vml"/><Relationship Id="rId6" Type="http://schemas.openxmlformats.org/officeDocument/2006/relationships/tags" Target="../tags/tag595.xml"/><Relationship Id="rId11" Type="http://schemas.openxmlformats.org/officeDocument/2006/relationships/tags" Target="../tags/tag600.xml"/><Relationship Id="rId24" Type="http://schemas.openxmlformats.org/officeDocument/2006/relationships/oleObject" Target="../embeddings/oleObject74.bin"/><Relationship Id="rId5" Type="http://schemas.openxmlformats.org/officeDocument/2006/relationships/tags" Target="../tags/tag594.xml"/><Relationship Id="rId15" Type="http://schemas.openxmlformats.org/officeDocument/2006/relationships/tags" Target="../tags/tag604.xml"/><Relationship Id="rId23" Type="http://schemas.openxmlformats.org/officeDocument/2006/relationships/slideLayout" Target="../slideLayouts/slideLayout4.xml"/><Relationship Id="rId10" Type="http://schemas.openxmlformats.org/officeDocument/2006/relationships/tags" Target="../tags/tag599.xml"/><Relationship Id="rId19" Type="http://schemas.openxmlformats.org/officeDocument/2006/relationships/tags" Target="../tags/tag608.xml"/><Relationship Id="rId4" Type="http://schemas.openxmlformats.org/officeDocument/2006/relationships/tags" Target="../tags/tag593.xml"/><Relationship Id="rId9" Type="http://schemas.openxmlformats.org/officeDocument/2006/relationships/tags" Target="../tags/tag598.xml"/><Relationship Id="rId14" Type="http://schemas.openxmlformats.org/officeDocument/2006/relationships/tags" Target="../tags/tag603.xml"/><Relationship Id="rId22" Type="http://schemas.openxmlformats.org/officeDocument/2006/relationships/tags" Target="../tags/tag6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12.xml"/><Relationship Id="rId5" Type="http://schemas.openxmlformats.org/officeDocument/2006/relationships/image" Target="../media/image13.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5.svg"/></Relationships>
</file>

<file path=ppt/slides/_rels/slide9.xml.rels><?xml version="1.0" encoding="UTF-8" standalone="yes"?>
<Relationships xmlns="http://schemas.openxmlformats.org/package/2006/relationships"><Relationship Id="rId8" Type="http://schemas.openxmlformats.org/officeDocument/2006/relationships/tags" Target="../tags/tag619.xml"/><Relationship Id="rId3" Type="http://schemas.openxmlformats.org/officeDocument/2006/relationships/tags" Target="../tags/tag614.xml"/><Relationship Id="rId7" Type="http://schemas.openxmlformats.org/officeDocument/2006/relationships/tags" Target="../tags/tag618.xml"/><Relationship Id="rId12" Type="http://schemas.openxmlformats.org/officeDocument/2006/relationships/image" Target="../media/image10.emf"/><Relationship Id="rId2" Type="http://schemas.openxmlformats.org/officeDocument/2006/relationships/tags" Target="../tags/tag613.xml"/><Relationship Id="rId1" Type="http://schemas.openxmlformats.org/officeDocument/2006/relationships/vmlDrawing" Target="../drawings/vmlDrawing76.vml"/><Relationship Id="rId6" Type="http://schemas.openxmlformats.org/officeDocument/2006/relationships/tags" Target="../tags/tag617.xml"/><Relationship Id="rId11" Type="http://schemas.openxmlformats.org/officeDocument/2006/relationships/oleObject" Target="../embeddings/oleObject72.bin"/><Relationship Id="rId5" Type="http://schemas.openxmlformats.org/officeDocument/2006/relationships/tags" Target="../tags/tag616.xml"/><Relationship Id="rId10" Type="http://schemas.openxmlformats.org/officeDocument/2006/relationships/notesSlide" Target="../notesSlides/notesSlide6.xml"/><Relationship Id="rId4" Type="http://schemas.openxmlformats.org/officeDocument/2006/relationships/tags" Target="../tags/tag615.xml"/><Relationship Id="rId9"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B3AB31-C90D-FE4E-BF10-2F0695E0352A}"/>
              </a:ext>
            </a:extLst>
          </p:cNvPr>
          <p:cNvSpPr>
            <a:spLocks noGrp="1"/>
          </p:cNvSpPr>
          <p:nvPr>
            <p:ph type="ctrTitle"/>
          </p:nvPr>
        </p:nvSpPr>
        <p:spPr/>
        <p:txBody>
          <a:bodyPr/>
          <a:lstStyle/>
          <a:p>
            <a:r>
              <a:rPr lang="nl-NL" sz="4000" dirty="0">
                <a:latin typeface="Andada" panose="02000000000000000000" charset="-18"/>
                <a:ea typeface="Verdana"/>
                <a:cs typeface="Arial"/>
              </a:rPr>
              <a:t>Werksessie [instelling]</a:t>
            </a:r>
            <a:br>
              <a:rPr lang="nl-NL" sz="4000" dirty="0">
                <a:latin typeface="Andada" panose="02000000000000000000" charset="-18"/>
                <a:ea typeface="Verdana"/>
                <a:cs typeface="Arial"/>
              </a:rPr>
            </a:br>
            <a:r>
              <a:rPr lang="nl-NL" sz="4000" dirty="0">
                <a:latin typeface="Andada" panose="02000000000000000000" charset="-18"/>
                <a:ea typeface="Verdana"/>
                <a:cs typeface="Arial"/>
              </a:rPr>
              <a:t>Borging Goed gesprek</a:t>
            </a:r>
            <a:endParaRPr lang="nl-NL" sz="4000" dirty="0"/>
          </a:p>
        </p:txBody>
      </p:sp>
      <p:sp>
        <p:nvSpPr>
          <p:cNvPr id="3" name="Ondertitel 2">
            <a:extLst>
              <a:ext uri="{FF2B5EF4-FFF2-40B4-BE49-F238E27FC236}">
                <a16:creationId xmlns:a16="http://schemas.microsoft.com/office/drawing/2014/main" id="{6DE3705E-4145-974E-9E4A-15267ED7536D}"/>
              </a:ext>
            </a:extLst>
          </p:cNvPr>
          <p:cNvSpPr>
            <a:spLocks noGrp="1"/>
          </p:cNvSpPr>
          <p:nvPr>
            <p:ph type="subTitle" idx="4294967295"/>
          </p:nvPr>
        </p:nvSpPr>
        <p:spPr/>
        <p:txBody>
          <a:bodyPr/>
          <a:lstStyle/>
          <a:p>
            <a:r>
              <a:rPr lang="nl-NL" dirty="0"/>
              <a:t>[datum]</a:t>
            </a:r>
          </a:p>
        </p:txBody>
      </p:sp>
    </p:spTree>
    <p:extLst>
      <p:ext uri="{BB962C8B-B14F-4D97-AF65-F5344CB8AC3E}">
        <p14:creationId xmlns:p14="http://schemas.microsoft.com/office/powerpoint/2010/main" val="19897560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DC37B19D-1E83-4302-A662-B61878D8CCF1}"/>
              </a:ext>
            </a:extLst>
          </p:cNvPr>
          <p:cNvSpPr>
            <a:spLocks noGrp="1"/>
          </p:cNvSpPr>
          <p:nvPr>
            <p:ph type="title"/>
          </p:nvPr>
        </p:nvSpPr>
        <p:spPr>
          <a:xfrm>
            <a:off x="527235" y="668441"/>
            <a:ext cx="11377956" cy="419004"/>
          </a:xfrm>
        </p:spPr>
        <p:txBody>
          <a:bodyPr/>
          <a:lstStyle/>
          <a:p>
            <a:r>
              <a:rPr lang="nl-NL" sz="2857" dirty="0"/>
              <a:t>Voor het </a:t>
            </a:r>
            <a:r>
              <a:rPr lang="nl-NL" dirty="0"/>
              <a:t>inrichten</a:t>
            </a:r>
            <a:r>
              <a:rPr lang="nl-NL" sz="2857" dirty="0"/>
              <a:t> van het Goede Gesprek dienen een aantal keuzes gemaakt te worden, die leiden tot de passende vorm en opzet Goed Gesprek</a:t>
            </a:r>
            <a:endParaRPr lang="nl-NL" dirty="0"/>
          </a:p>
        </p:txBody>
      </p:sp>
      <p:sp>
        <p:nvSpPr>
          <p:cNvPr id="6" name="Rechthoek 5">
            <a:extLst>
              <a:ext uri="{FF2B5EF4-FFF2-40B4-BE49-F238E27FC236}">
                <a16:creationId xmlns:a16="http://schemas.microsoft.com/office/drawing/2014/main" id="{D1AAC0C7-A087-4DC9-8088-3C713677706D}"/>
              </a:ext>
            </a:extLst>
          </p:cNvPr>
          <p:cNvSpPr/>
          <p:nvPr/>
        </p:nvSpPr>
        <p:spPr>
          <a:xfrm>
            <a:off x="2666081" y="1755853"/>
            <a:ext cx="8262655" cy="64363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a:solidFill>
                  <a:schemeClr val="accent4"/>
                </a:solidFill>
                <a:latin typeface="Arial"/>
                <a:ea typeface="ＭＳ Ｐゴシック"/>
              </a:rPr>
              <a:t>Wie is de doelgroep voor het goede gesprek?</a:t>
            </a:r>
          </a:p>
        </p:txBody>
      </p:sp>
      <p:sp>
        <p:nvSpPr>
          <p:cNvPr id="7" name="Rechthoek 6">
            <a:extLst>
              <a:ext uri="{FF2B5EF4-FFF2-40B4-BE49-F238E27FC236}">
                <a16:creationId xmlns:a16="http://schemas.microsoft.com/office/drawing/2014/main" id="{C5A5FD90-1EF6-4F0B-9076-1EB4C4EBACE5}"/>
              </a:ext>
            </a:extLst>
          </p:cNvPr>
          <p:cNvSpPr/>
          <p:nvPr/>
        </p:nvSpPr>
        <p:spPr>
          <a:xfrm>
            <a:off x="2666081" y="2769525"/>
            <a:ext cx="8262655" cy="62997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a:solidFill>
                  <a:schemeClr val="accent4"/>
                </a:solidFill>
                <a:latin typeface="Arial"/>
                <a:ea typeface="ＭＳ Ｐゴシック"/>
              </a:rPr>
              <a:t>Wie voert het gesprek?</a:t>
            </a:r>
          </a:p>
        </p:txBody>
      </p:sp>
      <p:sp>
        <p:nvSpPr>
          <p:cNvPr id="8" name="Rechthoek 7">
            <a:extLst>
              <a:ext uri="{FF2B5EF4-FFF2-40B4-BE49-F238E27FC236}">
                <a16:creationId xmlns:a16="http://schemas.microsoft.com/office/drawing/2014/main" id="{D05C8497-5248-4B6E-A3BA-7BAC9B9F3F13}"/>
              </a:ext>
            </a:extLst>
          </p:cNvPr>
          <p:cNvSpPr/>
          <p:nvPr/>
        </p:nvSpPr>
        <p:spPr>
          <a:xfrm>
            <a:off x="2666082" y="3769537"/>
            <a:ext cx="8262651" cy="62997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a:solidFill>
                  <a:schemeClr val="accent4"/>
                </a:solidFill>
                <a:latin typeface="Arial"/>
                <a:ea typeface="ＭＳ Ｐゴシック"/>
              </a:rPr>
              <a:t>Wanneer zouden goede gesprekken plaats moeten vinden?</a:t>
            </a:r>
          </a:p>
        </p:txBody>
      </p:sp>
      <p:sp>
        <p:nvSpPr>
          <p:cNvPr id="9" name="Rechthoek 8">
            <a:extLst>
              <a:ext uri="{FF2B5EF4-FFF2-40B4-BE49-F238E27FC236}">
                <a16:creationId xmlns:a16="http://schemas.microsoft.com/office/drawing/2014/main" id="{FCFCDCC0-0E9E-4D31-9CB7-76BF5140D71B}"/>
              </a:ext>
            </a:extLst>
          </p:cNvPr>
          <p:cNvSpPr/>
          <p:nvPr/>
        </p:nvSpPr>
        <p:spPr>
          <a:xfrm>
            <a:off x="2693381" y="4769548"/>
            <a:ext cx="8262643" cy="62997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a:solidFill>
                  <a:schemeClr val="accent4"/>
                </a:solidFill>
                <a:latin typeface="Arial"/>
                <a:ea typeface="ＭＳ Ｐゴシック"/>
              </a:rPr>
              <a:t>Welke onderwerpen worden er besproken?</a:t>
            </a:r>
          </a:p>
        </p:txBody>
      </p:sp>
      <p:sp>
        <p:nvSpPr>
          <p:cNvPr id="14" name="Rechthoek 13">
            <a:extLst>
              <a:ext uri="{FF2B5EF4-FFF2-40B4-BE49-F238E27FC236}">
                <a16:creationId xmlns:a16="http://schemas.microsoft.com/office/drawing/2014/main" id="{1AFB8FB5-9CA9-4028-973A-5290ADDA521A}"/>
              </a:ext>
            </a:extLst>
          </p:cNvPr>
          <p:cNvSpPr/>
          <p:nvPr/>
        </p:nvSpPr>
        <p:spPr>
          <a:xfrm>
            <a:off x="2701076" y="5769559"/>
            <a:ext cx="8262643" cy="62997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a:solidFill>
                  <a:schemeClr val="accent4"/>
                </a:solidFill>
                <a:latin typeface="Arial"/>
                <a:ea typeface="ＭＳ Ｐゴシック"/>
              </a:rPr>
              <a:t>In welke opzet?</a:t>
            </a:r>
          </a:p>
        </p:txBody>
      </p:sp>
      <p:pic>
        <p:nvPicPr>
          <p:cNvPr id="21" name="Graphic 20" descr="Doelgroep">
            <a:extLst>
              <a:ext uri="{FF2B5EF4-FFF2-40B4-BE49-F238E27FC236}">
                <a16:creationId xmlns:a16="http://schemas.microsoft.com/office/drawing/2014/main" id="{C34005B9-E37B-4014-AB4C-5A718C25DA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0981" y="1620469"/>
            <a:ext cx="914400" cy="914400"/>
          </a:xfrm>
          <a:prstGeom prst="rect">
            <a:avLst/>
          </a:prstGeom>
        </p:spPr>
      </p:pic>
      <p:pic>
        <p:nvPicPr>
          <p:cNvPr id="23" name="Graphic 22" descr="Callcenter">
            <a:extLst>
              <a:ext uri="{FF2B5EF4-FFF2-40B4-BE49-F238E27FC236}">
                <a16:creationId xmlns:a16="http://schemas.microsoft.com/office/drawing/2014/main" id="{9B892781-F84C-4439-AC87-1C9EAD0EB5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80981" y="2627311"/>
            <a:ext cx="914400" cy="914400"/>
          </a:xfrm>
          <a:prstGeom prst="rect">
            <a:avLst/>
          </a:prstGeom>
        </p:spPr>
      </p:pic>
      <p:pic>
        <p:nvPicPr>
          <p:cNvPr id="25" name="Graphic 24" descr="Agenda">
            <a:extLst>
              <a:ext uri="{FF2B5EF4-FFF2-40B4-BE49-F238E27FC236}">
                <a16:creationId xmlns:a16="http://schemas.microsoft.com/office/drawing/2014/main" id="{F5ED6A3E-9290-4D78-96FE-B05D56B703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80981" y="3621983"/>
            <a:ext cx="914400" cy="914400"/>
          </a:xfrm>
          <a:prstGeom prst="rect">
            <a:avLst/>
          </a:prstGeom>
        </p:spPr>
      </p:pic>
      <p:pic>
        <p:nvPicPr>
          <p:cNvPr id="27" name="Graphic 26" descr="Lijst">
            <a:extLst>
              <a:ext uri="{FF2B5EF4-FFF2-40B4-BE49-F238E27FC236}">
                <a16:creationId xmlns:a16="http://schemas.microsoft.com/office/drawing/2014/main" id="{530891F7-8159-46ED-99C3-8CADBA69B1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37584" y="4655635"/>
            <a:ext cx="857797" cy="857797"/>
          </a:xfrm>
          <a:prstGeom prst="rect">
            <a:avLst/>
          </a:prstGeom>
        </p:spPr>
      </p:pic>
      <p:pic>
        <p:nvPicPr>
          <p:cNvPr id="29" name="Graphic 28" descr="Vergadering">
            <a:extLst>
              <a:ext uri="{FF2B5EF4-FFF2-40B4-BE49-F238E27FC236}">
                <a16:creationId xmlns:a16="http://schemas.microsoft.com/office/drawing/2014/main" id="{6E9F8B83-56DF-4CF0-9667-ECADC2065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80981" y="5627345"/>
            <a:ext cx="914400" cy="914400"/>
          </a:xfrm>
          <a:prstGeom prst="rect">
            <a:avLst/>
          </a:prstGeom>
        </p:spPr>
      </p:pic>
    </p:spTree>
    <p:extLst>
      <p:ext uri="{BB962C8B-B14F-4D97-AF65-F5344CB8AC3E}">
        <p14:creationId xmlns:p14="http://schemas.microsoft.com/office/powerpoint/2010/main" val="428897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DC37B19D-1E83-4302-A662-B61878D8CCF1}"/>
              </a:ext>
            </a:extLst>
          </p:cNvPr>
          <p:cNvSpPr>
            <a:spLocks noGrp="1"/>
          </p:cNvSpPr>
          <p:nvPr>
            <p:ph type="title"/>
          </p:nvPr>
        </p:nvSpPr>
        <p:spPr>
          <a:xfrm>
            <a:off x="527235" y="668441"/>
            <a:ext cx="11377956" cy="419004"/>
          </a:xfrm>
        </p:spPr>
        <p:txBody>
          <a:bodyPr/>
          <a:lstStyle/>
          <a:p>
            <a:r>
              <a:rPr lang="nl-NL" sz="2857"/>
              <a:t>Voor het </a:t>
            </a:r>
            <a:r>
              <a:rPr lang="nl-NL"/>
              <a:t>inrichten</a:t>
            </a:r>
            <a:r>
              <a:rPr lang="nl-NL" sz="2857"/>
              <a:t> van het Goede Gesprek dienen een aantal keuzes gemaakt te worden, die leiden tot de passende vorm en opzet Goed Gesprek</a:t>
            </a:r>
            <a:endParaRPr lang="nl-NL"/>
          </a:p>
        </p:txBody>
      </p:sp>
      <p:sp>
        <p:nvSpPr>
          <p:cNvPr id="6" name="Rechthoek 5">
            <a:extLst>
              <a:ext uri="{FF2B5EF4-FFF2-40B4-BE49-F238E27FC236}">
                <a16:creationId xmlns:a16="http://schemas.microsoft.com/office/drawing/2014/main" id="{D1AAC0C7-A087-4DC9-8088-3C713677706D}"/>
              </a:ext>
            </a:extLst>
          </p:cNvPr>
          <p:cNvSpPr/>
          <p:nvPr/>
        </p:nvSpPr>
        <p:spPr>
          <a:xfrm>
            <a:off x="2666081" y="1755853"/>
            <a:ext cx="8262655" cy="64363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dirty="0">
                <a:solidFill>
                  <a:schemeClr val="accent4"/>
                </a:solidFill>
                <a:latin typeface="Arial"/>
                <a:ea typeface="ＭＳ Ｐゴシック"/>
              </a:rPr>
              <a:t>Hoe noemen we het goede gesprek?</a:t>
            </a:r>
          </a:p>
        </p:txBody>
      </p:sp>
      <p:sp>
        <p:nvSpPr>
          <p:cNvPr id="7" name="Rechthoek 6">
            <a:extLst>
              <a:ext uri="{FF2B5EF4-FFF2-40B4-BE49-F238E27FC236}">
                <a16:creationId xmlns:a16="http://schemas.microsoft.com/office/drawing/2014/main" id="{C5A5FD90-1EF6-4F0B-9076-1EB4C4EBACE5}"/>
              </a:ext>
            </a:extLst>
          </p:cNvPr>
          <p:cNvSpPr/>
          <p:nvPr/>
        </p:nvSpPr>
        <p:spPr>
          <a:xfrm>
            <a:off x="2666081" y="2769525"/>
            <a:ext cx="8262655" cy="62997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dirty="0">
                <a:solidFill>
                  <a:schemeClr val="accent4"/>
                </a:solidFill>
                <a:latin typeface="Arial"/>
                <a:ea typeface="ＭＳ Ｐゴシック"/>
              </a:rPr>
              <a:t>Hoe voeren we communicatie over het goede gesprek?</a:t>
            </a:r>
          </a:p>
        </p:txBody>
      </p:sp>
      <p:sp>
        <p:nvSpPr>
          <p:cNvPr id="8" name="Rechthoek 7">
            <a:extLst>
              <a:ext uri="{FF2B5EF4-FFF2-40B4-BE49-F238E27FC236}">
                <a16:creationId xmlns:a16="http://schemas.microsoft.com/office/drawing/2014/main" id="{D05C8497-5248-4B6E-A3BA-7BAC9B9F3F13}"/>
              </a:ext>
            </a:extLst>
          </p:cNvPr>
          <p:cNvSpPr/>
          <p:nvPr/>
        </p:nvSpPr>
        <p:spPr>
          <a:xfrm>
            <a:off x="2666082" y="3769537"/>
            <a:ext cx="8262651" cy="629972"/>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800" b="1" dirty="0">
                <a:solidFill>
                  <a:schemeClr val="accent4"/>
                </a:solidFill>
                <a:latin typeface="Arial"/>
                <a:ea typeface="ＭＳ Ｐゴシック"/>
              </a:rPr>
              <a:t>Welk imago moet het goede gesprek krijgen?</a:t>
            </a:r>
          </a:p>
        </p:txBody>
      </p:sp>
      <p:pic>
        <p:nvPicPr>
          <p:cNvPr id="13" name="Graphic 12" descr="Marketing">
            <a:extLst>
              <a:ext uri="{FF2B5EF4-FFF2-40B4-BE49-F238E27FC236}">
                <a16:creationId xmlns:a16="http://schemas.microsoft.com/office/drawing/2014/main" id="{D0B39046-713E-4FFB-9B2B-482C1BD1CE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99747" y="1722612"/>
            <a:ext cx="721235" cy="721235"/>
          </a:xfrm>
          <a:prstGeom prst="rect">
            <a:avLst/>
          </a:prstGeom>
        </p:spPr>
      </p:pic>
      <p:pic>
        <p:nvPicPr>
          <p:cNvPr id="15" name="Graphic 14" descr="Dans">
            <a:extLst>
              <a:ext uri="{FF2B5EF4-FFF2-40B4-BE49-F238E27FC236}">
                <a16:creationId xmlns:a16="http://schemas.microsoft.com/office/drawing/2014/main" id="{1139F524-7C43-497D-A11B-4BB8436F1A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03005" y="3685510"/>
            <a:ext cx="899411" cy="899411"/>
          </a:xfrm>
          <a:prstGeom prst="rect">
            <a:avLst/>
          </a:prstGeom>
        </p:spPr>
      </p:pic>
      <p:pic>
        <p:nvPicPr>
          <p:cNvPr id="16" name="Graphic 15" descr="E-mail">
            <a:extLst>
              <a:ext uri="{FF2B5EF4-FFF2-40B4-BE49-F238E27FC236}">
                <a16:creationId xmlns:a16="http://schemas.microsoft.com/office/drawing/2014/main" id="{479DB445-2DDB-4540-821E-1F44F3605F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14021" y="2669901"/>
            <a:ext cx="819457" cy="819457"/>
          </a:xfrm>
          <a:prstGeom prst="rect">
            <a:avLst/>
          </a:prstGeom>
        </p:spPr>
      </p:pic>
    </p:spTree>
    <p:extLst>
      <p:ext uri="{BB962C8B-B14F-4D97-AF65-F5344CB8AC3E}">
        <p14:creationId xmlns:p14="http://schemas.microsoft.com/office/powerpoint/2010/main" val="8042896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hoek 34">
            <a:extLst>
              <a:ext uri="{FF2B5EF4-FFF2-40B4-BE49-F238E27FC236}">
                <a16:creationId xmlns:a16="http://schemas.microsoft.com/office/drawing/2014/main" id="{E69520EE-0151-4EC9-BE63-1FCEBA0C0216}"/>
              </a:ext>
            </a:extLst>
          </p:cNvPr>
          <p:cNvSpPr/>
          <p:nvPr/>
        </p:nvSpPr>
        <p:spPr>
          <a:xfrm>
            <a:off x="815245" y="5694702"/>
            <a:ext cx="3227944"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34" name="Rechthoek 33">
            <a:extLst>
              <a:ext uri="{FF2B5EF4-FFF2-40B4-BE49-F238E27FC236}">
                <a16:creationId xmlns:a16="http://schemas.microsoft.com/office/drawing/2014/main" id="{8E825177-6E36-4608-9E02-1C66323E9CCC}"/>
              </a:ext>
            </a:extLst>
          </p:cNvPr>
          <p:cNvSpPr/>
          <p:nvPr/>
        </p:nvSpPr>
        <p:spPr>
          <a:xfrm>
            <a:off x="815245" y="4567608"/>
            <a:ext cx="3227943"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33" name="Rechthoek 32">
            <a:extLst>
              <a:ext uri="{FF2B5EF4-FFF2-40B4-BE49-F238E27FC236}">
                <a16:creationId xmlns:a16="http://schemas.microsoft.com/office/drawing/2014/main" id="{C8EA036F-CA68-4059-8922-6483EEF95F0B}"/>
              </a:ext>
            </a:extLst>
          </p:cNvPr>
          <p:cNvSpPr/>
          <p:nvPr/>
        </p:nvSpPr>
        <p:spPr>
          <a:xfrm>
            <a:off x="815247" y="3425707"/>
            <a:ext cx="3227944"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32" name="Rechthoek 31">
            <a:extLst>
              <a:ext uri="{FF2B5EF4-FFF2-40B4-BE49-F238E27FC236}">
                <a16:creationId xmlns:a16="http://schemas.microsoft.com/office/drawing/2014/main" id="{A5E8B947-2794-4C6D-9FEF-EF66017F3B2C}"/>
              </a:ext>
            </a:extLst>
          </p:cNvPr>
          <p:cNvSpPr/>
          <p:nvPr/>
        </p:nvSpPr>
        <p:spPr>
          <a:xfrm>
            <a:off x="815247" y="2236977"/>
            <a:ext cx="3227943"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18" name="Rechthoek 17">
            <a:extLst>
              <a:ext uri="{FF2B5EF4-FFF2-40B4-BE49-F238E27FC236}">
                <a16:creationId xmlns:a16="http://schemas.microsoft.com/office/drawing/2014/main" id="{AAF2DE97-1BA6-4B96-9CF0-18577ACB8451}"/>
              </a:ext>
            </a:extLst>
          </p:cNvPr>
          <p:cNvSpPr/>
          <p:nvPr/>
        </p:nvSpPr>
        <p:spPr>
          <a:xfrm>
            <a:off x="815247" y="1048247"/>
            <a:ext cx="3227943"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6" name="Rechthoek 5">
            <a:extLst>
              <a:ext uri="{FF2B5EF4-FFF2-40B4-BE49-F238E27FC236}">
                <a16:creationId xmlns:a16="http://schemas.microsoft.com/office/drawing/2014/main" id="{E933570A-FCF1-41DF-8B56-07A634FF5D7E}"/>
              </a:ext>
            </a:extLst>
          </p:cNvPr>
          <p:cNvSpPr/>
          <p:nvPr/>
        </p:nvSpPr>
        <p:spPr>
          <a:xfrm>
            <a:off x="1748762" y="1074105"/>
            <a:ext cx="2030024"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Wie is de doelgroep?</a:t>
            </a:r>
          </a:p>
        </p:txBody>
      </p:sp>
      <p:sp>
        <p:nvSpPr>
          <p:cNvPr id="7" name="Rechthoek 6">
            <a:extLst>
              <a:ext uri="{FF2B5EF4-FFF2-40B4-BE49-F238E27FC236}">
                <a16:creationId xmlns:a16="http://schemas.microsoft.com/office/drawing/2014/main" id="{73DD4EFD-C9A7-43C2-A674-30A8C809A2B7}"/>
              </a:ext>
            </a:extLst>
          </p:cNvPr>
          <p:cNvSpPr/>
          <p:nvPr/>
        </p:nvSpPr>
        <p:spPr>
          <a:xfrm>
            <a:off x="1748762" y="2240483"/>
            <a:ext cx="2294428"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Wie voert het gesprek?</a:t>
            </a:r>
          </a:p>
        </p:txBody>
      </p:sp>
      <p:sp>
        <p:nvSpPr>
          <p:cNvPr id="8" name="Rechthoek 7">
            <a:extLst>
              <a:ext uri="{FF2B5EF4-FFF2-40B4-BE49-F238E27FC236}">
                <a16:creationId xmlns:a16="http://schemas.microsoft.com/office/drawing/2014/main" id="{195D49E5-EE78-4DE3-AD1F-8B421AFCA72E}"/>
              </a:ext>
            </a:extLst>
          </p:cNvPr>
          <p:cNvSpPr/>
          <p:nvPr/>
        </p:nvSpPr>
        <p:spPr>
          <a:xfrm>
            <a:off x="1748762" y="3429000"/>
            <a:ext cx="2230970" cy="9518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dirty="0">
                <a:solidFill>
                  <a:schemeClr val="tx2"/>
                </a:solidFill>
                <a:latin typeface="Arial"/>
                <a:ea typeface="ＭＳ Ｐゴシック"/>
              </a:rPr>
              <a:t>Wanneer zouden goede gesprekken plaats moeten vinden?</a:t>
            </a:r>
          </a:p>
        </p:txBody>
      </p:sp>
      <p:sp>
        <p:nvSpPr>
          <p:cNvPr id="9" name="Rechthoek 8">
            <a:extLst>
              <a:ext uri="{FF2B5EF4-FFF2-40B4-BE49-F238E27FC236}">
                <a16:creationId xmlns:a16="http://schemas.microsoft.com/office/drawing/2014/main" id="{5AE9A7D9-A341-43E7-85E0-6E8E26377B7C}"/>
              </a:ext>
            </a:extLst>
          </p:cNvPr>
          <p:cNvSpPr/>
          <p:nvPr/>
        </p:nvSpPr>
        <p:spPr>
          <a:xfrm>
            <a:off x="1748762" y="4573239"/>
            <a:ext cx="2230971"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Welke onderwerpen worden er besproken?</a:t>
            </a:r>
          </a:p>
        </p:txBody>
      </p:sp>
      <p:sp>
        <p:nvSpPr>
          <p:cNvPr id="10" name="Rechthoek 9">
            <a:extLst>
              <a:ext uri="{FF2B5EF4-FFF2-40B4-BE49-F238E27FC236}">
                <a16:creationId xmlns:a16="http://schemas.microsoft.com/office/drawing/2014/main" id="{40A8735F-44CF-47AD-8BA6-756C051AD2F7}"/>
              </a:ext>
            </a:extLst>
          </p:cNvPr>
          <p:cNvSpPr/>
          <p:nvPr/>
        </p:nvSpPr>
        <p:spPr>
          <a:xfrm>
            <a:off x="4125763" y="1074105"/>
            <a:ext cx="6579211" cy="973947"/>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nl-NL" sz="1600" b="1" i="1" dirty="0">
                <a:solidFill>
                  <a:schemeClr val="accent4"/>
                </a:solidFill>
              </a:rPr>
              <a:t>Iedereen (op de langer termijn?)</a:t>
            </a:r>
          </a:p>
          <a:p>
            <a:pPr marL="171450" indent="-171450">
              <a:buFont typeface="Arial" panose="020B0604020202020204" pitchFamily="34" charset="0"/>
              <a:buChar char="•"/>
            </a:pPr>
            <a:r>
              <a:rPr lang="nl-NL" sz="1600" dirty="0">
                <a:solidFill>
                  <a:schemeClr val="accent4"/>
                </a:solidFill>
              </a:rPr>
              <a:t>Daar waar het potentieel zit</a:t>
            </a:r>
          </a:p>
          <a:p>
            <a:pPr marL="530689" lvl="1" indent="-204111">
              <a:buFontTx/>
              <a:buChar char="-"/>
            </a:pPr>
            <a:r>
              <a:rPr lang="nl-NL" sz="1600" dirty="0">
                <a:solidFill>
                  <a:schemeClr val="accent4"/>
                </a:solidFill>
              </a:rPr>
              <a:t>Levensfase aanpak</a:t>
            </a:r>
          </a:p>
          <a:p>
            <a:pPr marL="530689" lvl="1" indent="-204111">
              <a:buFontTx/>
              <a:buChar char="-"/>
            </a:pPr>
            <a:r>
              <a:rPr lang="nl-NL" sz="1600" dirty="0">
                <a:solidFill>
                  <a:schemeClr val="accent4"/>
                </a:solidFill>
              </a:rPr>
              <a:t>Teams / locaties waar tekorten het grootst zijn</a:t>
            </a:r>
            <a:endParaRPr lang="nl-NL" sz="1600" b="1" dirty="0">
              <a:solidFill>
                <a:schemeClr val="accent4"/>
              </a:solidFill>
              <a:latin typeface="Arial"/>
              <a:ea typeface="ＭＳ Ｐゴシック"/>
            </a:endParaRPr>
          </a:p>
        </p:txBody>
      </p:sp>
      <p:sp>
        <p:nvSpPr>
          <p:cNvPr id="11" name="Rechthoek 10">
            <a:extLst>
              <a:ext uri="{FF2B5EF4-FFF2-40B4-BE49-F238E27FC236}">
                <a16:creationId xmlns:a16="http://schemas.microsoft.com/office/drawing/2014/main" id="{8C16FFE5-5016-486E-B66E-419256190E76}"/>
              </a:ext>
            </a:extLst>
          </p:cNvPr>
          <p:cNvSpPr/>
          <p:nvPr/>
        </p:nvSpPr>
        <p:spPr>
          <a:xfrm>
            <a:off x="4125763" y="2240483"/>
            <a:ext cx="6579213" cy="973947"/>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04111" lvl="0" indent="-204111">
              <a:buFont typeface="Arial" panose="020B0604020202020204" pitchFamily="34" charset="0"/>
              <a:buChar char="•"/>
            </a:pPr>
            <a:r>
              <a:rPr lang="nl-NL" sz="1600" b="1" i="1" dirty="0">
                <a:solidFill>
                  <a:schemeClr val="accent4"/>
                </a:solidFill>
              </a:rPr>
              <a:t>Manager</a:t>
            </a:r>
            <a:r>
              <a:rPr lang="nl-NL" sz="1600" dirty="0">
                <a:solidFill>
                  <a:schemeClr val="accent4"/>
                </a:solidFill>
              </a:rPr>
              <a:t> (hiërarchisch) </a:t>
            </a:r>
          </a:p>
          <a:p>
            <a:pPr marL="204111" lvl="0" indent="-204111">
              <a:buFont typeface="Arial" panose="020B0604020202020204" pitchFamily="34" charset="0"/>
              <a:buChar char="•"/>
            </a:pPr>
            <a:r>
              <a:rPr lang="nl-NL" sz="1600" dirty="0">
                <a:solidFill>
                  <a:schemeClr val="accent4"/>
                </a:solidFill>
              </a:rPr>
              <a:t>HR, teamcoach, vitaliteit coach, etc. (teamondersteuner)</a:t>
            </a:r>
          </a:p>
          <a:p>
            <a:pPr marL="204111" lvl="0" indent="-204111">
              <a:buFont typeface="Arial" panose="020B0604020202020204" pitchFamily="34" charset="0"/>
              <a:buChar char="•"/>
            </a:pPr>
            <a:r>
              <a:rPr lang="nl-NL" sz="1600" dirty="0">
                <a:solidFill>
                  <a:schemeClr val="accent4"/>
                </a:solidFill>
              </a:rPr>
              <a:t>Teamlid, team zelf (gelijkwaardig)</a:t>
            </a:r>
          </a:p>
        </p:txBody>
      </p:sp>
      <p:sp>
        <p:nvSpPr>
          <p:cNvPr id="12" name="Rechthoek 11">
            <a:extLst>
              <a:ext uri="{FF2B5EF4-FFF2-40B4-BE49-F238E27FC236}">
                <a16:creationId xmlns:a16="http://schemas.microsoft.com/office/drawing/2014/main" id="{39C44298-B7B7-4CBB-8533-76101B05CF48}"/>
              </a:ext>
            </a:extLst>
          </p:cNvPr>
          <p:cNvSpPr/>
          <p:nvPr/>
        </p:nvSpPr>
        <p:spPr>
          <a:xfrm>
            <a:off x="4122954" y="3406861"/>
            <a:ext cx="6582021" cy="973947"/>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04111" lvl="0" indent="-204111">
              <a:buFont typeface="Arial" panose="020B0604020202020204" pitchFamily="34" charset="0"/>
              <a:buChar char="•"/>
            </a:pPr>
            <a:r>
              <a:rPr lang="nl-NL" sz="1600" b="1" i="1" dirty="0">
                <a:solidFill>
                  <a:schemeClr val="accent4"/>
                </a:solidFill>
              </a:rPr>
              <a:t>Structureel bv jaarlijks (op de langer termijn?)</a:t>
            </a:r>
          </a:p>
          <a:p>
            <a:pPr marL="204111" lvl="0" indent="-204111">
              <a:buFont typeface="Arial" panose="020B0604020202020204" pitchFamily="34" charset="0"/>
              <a:buChar char="•"/>
            </a:pPr>
            <a:r>
              <a:rPr lang="nl-NL" sz="1400" dirty="0">
                <a:solidFill>
                  <a:schemeClr val="accent4"/>
                </a:solidFill>
              </a:rPr>
              <a:t>Levensfase: leeftijd, kinderen, overgang</a:t>
            </a:r>
          </a:p>
          <a:p>
            <a:pPr marL="204111" lvl="0" indent="-204111">
              <a:buFont typeface="Arial" panose="020B0604020202020204" pitchFamily="34" charset="0"/>
              <a:buChar char="•"/>
            </a:pPr>
            <a:r>
              <a:rPr lang="nl-NL" sz="1400" dirty="0">
                <a:solidFill>
                  <a:schemeClr val="accent4"/>
                </a:solidFill>
              </a:rPr>
              <a:t>Levensgebeurtenis: (onverwacht) mantelzorg, echtscheiding, overlijden</a:t>
            </a:r>
          </a:p>
          <a:p>
            <a:pPr marL="204111" lvl="0" indent="-204111">
              <a:buFont typeface="Arial" panose="020B0604020202020204" pitchFamily="34" charset="0"/>
              <a:buChar char="•"/>
            </a:pPr>
            <a:r>
              <a:rPr lang="nl-NL" sz="1400" dirty="0">
                <a:solidFill>
                  <a:schemeClr val="accent4"/>
                </a:solidFill>
              </a:rPr>
              <a:t>Bij nieuwe medewerkers?</a:t>
            </a:r>
          </a:p>
        </p:txBody>
      </p:sp>
      <p:sp>
        <p:nvSpPr>
          <p:cNvPr id="13" name="Rechthoek 12">
            <a:extLst>
              <a:ext uri="{FF2B5EF4-FFF2-40B4-BE49-F238E27FC236}">
                <a16:creationId xmlns:a16="http://schemas.microsoft.com/office/drawing/2014/main" id="{BA998F60-A0E9-45F9-903E-977F6F689696}"/>
              </a:ext>
            </a:extLst>
          </p:cNvPr>
          <p:cNvSpPr/>
          <p:nvPr/>
        </p:nvSpPr>
        <p:spPr>
          <a:xfrm>
            <a:off x="4122953" y="4573239"/>
            <a:ext cx="6582021" cy="973947"/>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04111" lvl="0" indent="-204111">
              <a:buFont typeface="Arial" panose="020B0604020202020204" pitchFamily="34" charset="0"/>
              <a:buChar char="•"/>
            </a:pPr>
            <a:r>
              <a:rPr lang="nl-NL" sz="1600" dirty="0">
                <a:solidFill>
                  <a:schemeClr val="accent4"/>
                </a:solidFill>
              </a:rPr>
              <a:t>Terugblikken/ functioneren</a:t>
            </a:r>
          </a:p>
          <a:p>
            <a:pPr marL="204111" lvl="0" indent="-204111">
              <a:buFont typeface="Arial" panose="020B0604020202020204" pitchFamily="34" charset="0"/>
              <a:buChar char="•"/>
            </a:pPr>
            <a:r>
              <a:rPr lang="nl-NL" sz="1600" b="1" i="1" dirty="0">
                <a:solidFill>
                  <a:schemeClr val="accent4"/>
                </a:solidFill>
              </a:rPr>
              <a:t>Vooruitkijken: leren, ontwikkelen, contractgrootte</a:t>
            </a:r>
          </a:p>
          <a:p>
            <a:pPr marL="204111" lvl="0" indent="-204111">
              <a:buFont typeface="Arial" panose="020B0604020202020204" pitchFamily="34" charset="0"/>
              <a:buChar char="•"/>
            </a:pPr>
            <a:r>
              <a:rPr lang="nl-NL" sz="1600" b="1" i="1" dirty="0">
                <a:solidFill>
                  <a:schemeClr val="accent4"/>
                </a:solidFill>
              </a:rPr>
              <a:t>Persoonlijke situatie</a:t>
            </a:r>
          </a:p>
        </p:txBody>
      </p:sp>
      <p:sp>
        <p:nvSpPr>
          <p:cNvPr id="38" name="Titel 1">
            <a:extLst>
              <a:ext uri="{FF2B5EF4-FFF2-40B4-BE49-F238E27FC236}">
                <a16:creationId xmlns:a16="http://schemas.microsoft.com/office/drawing/2014/main" id="{98AB3063-206B-4551-8332-2CF0B6FE742D}"/>
              </a:ext>
            </a:extLst>
          </p:cNvPr>
          <p:cNvSpPr>
            <a:spLocks noGrp="1"/>
          </p:cNvSpPr>
          <p:nvPr>
            <p:ph type="title"/>
          </p:nvPr>
        </p:nvSpPr>
        <p:spPr>
          <a:xfrm>
            <a:off x="527235" y="435378"/>
            <a:ext cx="11377956" cy="419004"/>
          </a:xfrm>
        </p:spPr>
        <p:txBody>
          <a:bodyPr/>
          <a:lstStyle/>
          <a:p>
            <a:r>
              <a:rPr lang="nl-NL" dirty="0"/>
              <a:t>Mogelijke uitgangspunten voor [instelling]</a:t>
            </a:r>
          </a:p>
        </p:txBody>
      </p:sp>
      <p:sp>
        <p:nvSpPr>
          <p:cNvPr id="47" name="Rechthoek 46">
            <a:extLst>
              <a:ext uri="{FF2B5EF4-FFF2-40B4-BE49-F238E27FC236}">
                <a16:creationId xmlns:a16="http://schemas.microsoft.com/office/drawing/2014/main" id="{C8A3D5D7-62C4-4F4C-91BC-4603CF4DD026}"/>
              </a:ext>
            </a:extLst>
          </p:cNvPr>
          <p:cNvSpPr/>
          <p:nvPr/>
        </p:nvSpPr>
        <p:spPr>
          <a:xfrm>
            <a:off x="1748762" y="5738343"/>
            <a:ext cx="2230969" cy="973947"/>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In welke opzet?</a:t>
            </a:r>
          </a:p>
        </p:txBody>
      </p:sp>
      <p:sp>
        <p:nvSpPr>
          <p:cNvPr id="48" name="Rechthoek 47">
            <a:extLst>
              <a:ext uri="{FF2B5EF4-FFF2-40B4-BE49-F238E27FC236}">
                <a16:creationId xmlns:a16="http://schemas.microsoft.com/office/drawing/2014/main" id="{EEF4F3FD-5878-430C-9538-8DA94A5AC74D}"/>
              </a:ext>
            </a:extLst>
          </p:cNvPr>
          <p:cNvSpPr/>
          <p:nvPr/>
        </p:nvSpPr>
        <p:spPr>
          <a:xfrm>
            <a:off x="4130648" y="5739616"/>
            <a:ext cx="6582021" cy="973947"/>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04111" lvl="0" indent="-204111">
              <a:buFont typeface="Arial" panose="020B0604020202020204" pitchFamily="34" charset="0"/>
              <a:buChar char="•"/>
            </a:pPr>
            <a:r>
              <a:rPr lang="nl-NL" sz="1600" b="1" i="1" dirty="0">
                <a:solidFill>
                  <a:schemeClr val="accent4"/>
                </a:solidFill>
              </a:rPr>
              <a:t>Een-op-een gesprek</a:t>
            </a:r>
          </a:p>
          <a:p>
            <a:pPr marL="204111" lvl="0" indent="-204111">
              <a:buFont typeface="Arial" panose="020B0604020202020204" pitchFamily="34" charset="0"/>
              <a:buChar char="•"/>
            </a:pPr>
            <a:r>
              <a:rPr lang="nl-NL" sz="1600" dirty="0">
                <a:solidFill>
                  <a:schemeClr val="accent4"/>
                </a:solidFill>
              </a:rPr>
              <a:t>In team verband</a:t>
            </a:r>
          </a:p>
        </p:txBody>
      </p:sp>
      <p:pic>
        <p:nvPicPr>
          <p:cNvPr id="25" name="Graphic 24" descr="Doelgroep">
            <a:extLst>
              <a:ext uri="{FF2B5EF4-FFF2-40B4-BE49-F238E27FC236}">
                <a16:creationId xmlns:a16="http://schemas.microsoft.com/office/drawing/2014/main" id="{BE9BB9FA-8148-4E11-9421-35B2368466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820" y="1111512"/>
            <a:ext cx="914400" cy="914400"/>
          </a:xfrm>
          <a:prstGeom prst="rect">
            <a:avLst/>
          </a:prstGeom>
        </p:spPr>
      </p:pic>
      <p:pic>
        <p:nvPicPr>
          <p:cNvPr id="26" name="Graphic 25" descr="Callcenter">
            <a:extLst>
              <a:ext uri="{FF2B5EF4-FFF2-40B4-BE49-F238E27FC236}">
                <a16:creationId xmlns:a16="http://schemas.microsoft.com/office/drawing/2014/main" id="{EF4B07CB-1DB3-451E-803B-7ACA5664F9E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820" y="2301789"/>
            <a:ext cx="914400" cy="914400"/>
          </a:xfrm>
          <a:prstGeom prst="rect">
            <a:avLst/>
          </a:prstGeom>
        </p:spPr>
      </p:pic>
      <p:pic>
        <p:nvPicPr>
          <p:cNvPr id="27" name="Graphic 26" descr="Agenda">
            <a:extLst>
              <a:ext uri="{FF2B5EF4-FFF2-40B4-BE49-F238E27FC236}">
                <a16:creationId xmlns:a16="http://schemas.microsoft.com/office/drawing/2014/main" id="{D1D72641-F55C-4B16-B769-771863C51A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5010" y="3447704"/>
            <a:ext cx="853752" cy="914400"/>
          </a:xfrm>
          <a:prstGeom prst="rect">
            <a:avLst/>
          </a:prstGeom>
        </p:spPr>
      </p:pic>
      <p:pic>
        <p:nvPicPr>
          <p:cNvPr id="29" name="Graphic 28" descr="Lijst">
            <a:extLst>
              <a:ext uri="{FF2B5EF4-FFF2-40B4-BE49-F238E27FC236}">
                <a16:creationId xmlns:a16="http://schemas.microsoft.com/office/drawing/2014/main" id="{6DE6789C-76BD-4D1C-BA73-02F5F8015B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7820" y="4654607"/>
            <a:ext cx="914400" cy="914400"/>
          </a:xfrm>
          <a:prstGeom prst="rect">
            <a:avLst/>
          </a:prstGeom>
        </p:spPr>
      </p:pic>
      <p:pic>
        <p:nvPicPr>
          <p:cNvPr id="31" name="Graphic 30" descr="Vergadering">
            <a:extLst>
              <a:ext uri="{FF2B5EF4-FFF2-40B4-BE49-F238E27FC236}">
                <a16:creationId xmlns:a16="http://schemas.microsoft.com/office/drawing/2014/main" id="{15E5B86C-090D-432F-A6DB-9503BCCE874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7820" y="5797890"/>
            <a:ext cx="914400" cy="914400"/>
          </a:xfrm>
          <a:prstGeom prst="rect">
            <a:avLst/>
          </a:prstGeom>
        </p:spPr>
      </p:pic>
      <p:sp>
        <p:nvSpPr>
          <p:cNvPr id="2" name="Rechthoek: afgeronde hoeken 1">
            <a:extLst>
              <a:ext uri="{FF2B5EF4-FFF2-40B4-BE49-F238E27FC236}">
                <a16:creationId xmlns:a16="http://schemas.microsoft.com/office/drawing/2014/main" id="{34355014-FC38-4BA6-BB4A-A828C87A6510}"/>
              </a:ext>
            </a:extLst>
          </p:cNvPr>
          <p:cNvSpPr/>
          <p:nvPr/>
        </p:nvSpPr>
        <p:spPr>
          <a:xfrm>
            <a:off x="10278738" y="3503365"/>
            <a:ext cx="1410159" cy="716096"/>
          </a:xfrm>
          <a:prstGeom prst="round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dirty="0">
                <a:solidFill>
                  <a:schemeClr val="bg1"/>
                </a:solidFill>
              </a:rPr>
              <a:t>Aandacht voor de wet WAB!</a:t>
            </a:r>
          </a:p>
        </p:txBody>
      </p:sp>
    </p:spTree>
    <p:extLst>
      <p:ext uri="{BB962C8B-B14F-4D97-AF65-F5344CB8AC3E}">
        <p14:creationId xmlns:p14="http://schemas.microsoft.com/office/powerpoint/2010/main" val="2862206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8E825177-6E36-4608-9E02-1C66323E9CCC}"/>
              </a:ext>
            </a:extLst>
          </p:cNvPr>
          <p:cNvSpPr/>
          <p:nvPr/>
        </p:nvSpPr>
        <p:spPr>
          <a:xfrm>
            <a:off x="815245" y="4567608"/>
            <a:ext cx="3227943"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33" name="Rechthoek 32">
            <a:extLst>
              <a:ext uri="{FF2B5EF4-FFF2-40B4-BE49-F238E27FC236}">
                <a16:creationId xmlns:a16="http://schemas.microsoft.com/office/drawing/2014/main" id="{C8EA036F-CA68-4059-8922-6483EEF95F0B}"/>
              </a:ext>
            </a:extLst>
          </p:cNvPr>
          <p:cNvSpPr/>
          <p:nvPr/>
        </p:nvSpPr>
        <p:spPr>
          <a:xfrm>
            <a:off x="815247" y="3425707"/>
            <a:ext cx="3227944"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32" name="Rechthoek 31">
            <a:extLst>
              <a:ext uri="{FF2B5EF4-FFF2-40B4-BE49-F238E27FC236}">
                <a16:creationId xmlns:a16="http://schemas.microsoft.com/office/drawing/2014/main" id="{A5E8B947-2794-4C6D-9FEF-EF66017F3B2C}"/>
              </a:ext>
            </a:extLst>
          </p:cNvPr>
          <p:cNvSpPr/>
          <p:nvPr/>
        </p:nvSpPr>
        <p:spPr>
          <a:xfrm>
            <a:off x="815247" y="2236977"/>
            <a:ext cx="3227943"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18" name="Rechthoek 17">
            <a:extLst>
              <a:ext uri="{FF2B5EF4-FFF2-40B4-BE49-F238E27FC236}">
                <a16:creationId xmlns:a16="http://schemas.microsoft.com/office/drawing/2014/main" id="{AAF2DE97-1BA6-4B96-9CF0-18577ACB8451}"/>
              </a:ext>
            </a:extLst>
          </p:cNvPr>
          <p:cNvSpPr/>
          <p:nvPr/>
        </p:nvSpPr>
        <p:spPr>
          <a:xfrm>
            <a:off x="815247" y="1048247"/>
            <a:ext cx="3227943" cy="102321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err="1">
              <a:solidFill>
                <a:schemeClr val="tx1"/>
              </a:solidFill>
            </a:endParaRPr>
          </a:p>
        </p:txBody>
      </p:sp>
      <p:sp>
        <p:nvSpPr>
          <p:cNvPr id="6" name="Rechthoek 5">
            <a:extLst>
              <a:ext uri="{FF2B5EF4-FFF2-40B4-BE49-F238E27FC236}">
                <a16:creationId xmlns:a16="http://schemas.microsoft.com/office/drawing/2014/main" id="{E933570A-FCF1-41DF-8B56-07A634FF5D7E}"/>
              </a:ext>
            </a:extLst>
          </p:cNvPr>
          <p:cNvSpPr/>
          <p:nvPr/>
        </p:nvSpPr>
        <p:spPr>
          <a:xfrm>
            <a:off x="1748762" y="1074105"/>
            <a:ext cx="2030024"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Hoe noemen we het gesprek?</a:t>
            </a:r>
          </a:p>
        </p:txBody>
      </p:sp>
      <p:sp>
        <p:nvSpPr>
          <p:cNvPr id="7" name="Rechthoek 6">
            <a:extLst>
              <a:ext uri="{FF2B5EF4-FFF2-40B4-BE49-F238E27FC236}">
                <a16:creationId xmlns:a16="http://schemas.microsoft.com/office/drawing/2014/main" id="{73DD4EFD-C9A7-43C2-A674-30A8C809A2B7}"/>
              </a:ext>
            </a:extLst>
          </p:cNvPr>
          <p:cNvSpPr/>
          <p:nvPr/>
        </p:nvSpPr>
        <p:spPr>
          <a:xfrm>
            <a:off x="1748762" y="2240483"/>
            <a:ext cx="2294428"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Hoe voeren we communicatie OVER het gesprek?</a:t>
            </a:r>
          </a:p>
        </p:txBody>
      </p:sp>
      <p:sp>
        <p:nvSpPr>
          <p:cNvPr id="8" name="Rechthoek 7">
            <a:extLst>
              <a:ext uri="{FF2B5EF4-FFF2-40B4-BE49-F238E27FC236}">
                <a16:creationId xmlns:a16="http://schemas.microsoft.com/office/drawing/2014/main" id="{195D49E5-EE78-4DE3-AD1F-8B421AFCA72E}"/>
              </a:ext>
            </a:extLst>
          </p:cNvPr>
          <p:cNvSpPr/>
          <p:nvPr/>
        </p:nvSpPr>
        <p:spPr>
          <a:xfrm>
            <a:off x="1748762" y="3429000"/>
            <a:ext cx="2230970" cy="9518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chemeClr val="tx2"/>
                </a:solidFill>
                <a:latin typeface="Arial"/>
                <a:ea typeface="ＭＳ Ｐゴシック"/>
              </a:rPr>
              <a:t>Welk imago moet het gesprek krijgen?</a:t>
            </a:r>
          </a:p>
        </p:txBody>
      </p:sp>
      <p:sp>
        <p:nvSpPr>
          <p:cNvPr id="10" name="Rechthoek 9">
            <a:extLst>
              <a:ext uri="{FF2B5EF4-FFF2-40B4-BE49-F238E27FC236}">
                <a16:creationId xmlns:a16="http://schemas.microsoft.com/office/drawing/2014/main" id="{40A8735F-44CF-47AD-8BA6-756C051AD2F7}"/>
              </a:ext>
            </a:extLst>
          </p:cNvPr>
          <p:cNvSpPr/>
          <p:nvPr/>
        </p:nvSpPr>
        <p:spPr>
          <a:xfrm>
            <a:off x="4125763" y="1074105"/>
            <a:ext cx="6719514" cy="107057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nl-NL" sz="1600" dirty="0">
                <a:solidFill>
                  <a:schemeClr val="tx2"/>
                </a:solidFill>
              </a:rPr>
              <a:t>De naam van het gesprek is bepalend voor beleving en verwachting.</a:t>
            </a:r>
          </a:p>
          <a:p>
            <a:pPr marL="171450" indent="-171450">
              <a:buFont typeface="Arial" panose="020B0604020202020204" pitchFamily="34" charset="0"/>
              <a:buChar char="•"/>
            </a:pPr>
            <a:endParaRPr lang="nl-NL" sz="1600" dirty="0">
              <a:solidFill>
                <a:schemeClr val="tx2"/>
              </a:solidFill>
            </a:endParaRPr>
          </a:p>
        </p:txBody>
      </p:sp>
      <p:sp>
        <p:nvSpPr>
          <p:cNvPr id="11" name="Rechthoek 10">
            <a:extLst>
              <a:ext uri="{FF2B5EF4-FFF2-40B4-BE49-F238E27FC236}">
                <a16:creationId xmlns:a16="http://schemas.microsoft.com/office/drawing/2014/main" id="{8C16FFE5-5016-486E-B66E-419256190E76}"/>
              </a:ext>
            </a:extLst>
          </p:cNvPr>
          <p:cNvSpPr/>
          <p:nvPr/>
        </p:nvSpPr>
        <p:spPr>
          <a:xfrm>
            <a:off x="4125763" y="2240483"/>
            <a:ext cx="6719516" cy="107057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85750" lvl="0" indent="-285750">
              <a:buFont typeface="Arial" panose="020B0604020202020204" pitchFamily="34" charset="0"/>
              <a:buChar char="•"/>
            </a:pPr>
            <a:r>
              <a:rPr lang="nl-NL" sz="1600" dirty="0">
                <a:solidFill>
                  <a:schemeClr val="tx2"/>
                </a:solidFill>
              </a:rPr>
              <a:t>Hoe omschrijven we het doel</a:t>
            </a:r>
          </a:p>
          <a:p>
            <a:pPr marL="285750" lvl="0" indent="-285750">
              <a:buFont typeface="Arial" panose="020B0604020202020204" pitchFamily="34" charset="0"/>
              <a:buChar char="•"/>
            </a:pPr>
            <a:r>
              <a:rPr lang="nl-NL" sz="1600" dirty="0">
                <a:solidFill>
                  <a:schemeClr val="tx2"/>
                </a:solidFill>
              </a:rPr>
              <a:t>Wat wordt er verwacht van de mensen</a:t>
            </a:r>
          </a:p>
          <a:p>
            <a:pPr marL="285750" lvl="0" indent="-285750">
              <a:buFont typeface="Arial" panose="020B0604020202020204" pitchFamily="34" charset="0"/>
              <a:buChar char="•"/>
            </a:pPr>
            <a:r>
              <a:rPr lang="nl-NL" sz="1600" dirty="0">
                <a:solidFill>
                  <a:schemeClr val="tx2"/>
                </a:solidFill>
              </a:rPr>
              <a:t>Welk taalgebruik hanteren we, want kan gevoelig liggen, dus goed over nadenken.</a:t>
            </a:r>
          </a:p>
        </p:txBody>
      </p:sp>
      <p:sp>
        <p:nvSpPr>
          <p:cNvPr id="12" name="Rechthoek 11">
            <a:extLst>
              <a:ext uri="{FF2B5EF4-FFF2-40B4-BE49-F238E27FC236}">
                <a16:creationId xmlns:a16="http://schemas.microsoft.com/office/drawing/2014/main" id="{39C44298-B7B7-4CBB-8533-76101B05CF48}"/>
              </a:ext>
            </a:extLst>
          </p:cNvPr>
          <p:cNvSpPr/>
          <p:nvPr/>
        </p:nvSpPr>
        <p:spPr>
          <a:xfrm>
            <a:off x="4122955" y="3406861"/>
            <a:ext cx="6722384" cy="107057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85750" lvl="0" indent="-285750">
              <a:buFont typeface="Arial" panose="020B0604020202020204" pitchFamily="34" charset="0"/>
              <a:buChar char="•"/>
            </a:pPr>
            <a:r>
              <a:rPr lang="nl-NL" sz="1600" dirty="0">
                <a:solidFill>
                  <a:schemeClr val="tx2"/>
                </a:solidFill>
              </a:rPr>
              <a:t>Hoe creëren we er een leuk imago omheen, dus dat er binnen xx gesproken wordt over dit gesprek?</a:t>
            </a:r>
          </a:p>
        </p:txBody>
      </p:sp>
      <p:pic>
        <p:nvPicPr>
          <p:cNvPr id="3" name="Graphic 2" descr="Marketing">
            <a:extLst>
              <a:ext uri="{FF2B5EF4-FFF2-40B4-BE49-F238E27FC236}">
                <a16:creationId xmlns:a16="http://schemas.microsoft.com/office/drawing/2014/main" id="{D5D2CDAE-B6F5-40A6-83AA-B7647AEA08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5349" y="1303969"/>
            <a:ext cx="721235" cy="721235"/>
          </a:xfrm>
          <a:prstGeom prst="rect">
            <a:avLst/>
          </a:prstGeom>
        </p:spPr>
      </p:pic>
      <p:pic>
        <p:nvPicPr>
          <p:cNvPr id="30" name="Graphic 29" descr="Dans">
            <a:extLst>
              <a:ext uri="{FF2B5EF4-FFF2-40B4-BE49-F238E27FC236}">
                <a16:creationId xmlns:a16="http://schemas.microsoft.com/office/drawing/2014/main" id="{34C687A3-8594-43F1-ABDD-8D123B525D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3691" y="3531271"/>
            <a:ext cx="899411" cy="899411"/>
          </a:xfrm>
          <a:prstGeom prst="rect">
            <a:avLst/>
          </a:prstGeom>
        </p:spPr>
      </p:pic>
      <p:pic>
        <p:nvPicPr>
          <p:cNvPr id="36" name="Graphic 35" descr="E-mail">
            <a:extLst>
              <a:ext uri="{FF2B5EF4-FFF2-40B4-BE49-F238E27FC236}">
                <a16:creationId xmlns:a16="http://schemas.microsoft.com/office/drawing/2014/main" id="{0AAAAB8D-BA75-49C8-93D2-9D6B330338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2673" y="2394477"/>
            <a:ext cx="819457" cy="819457"/>
          </a:xfrm>
          <a:prstGeom prst="rect">
            <a:avLst/>
          </a:prstGeom>
        </p:spPr>
      </p:pic>
      <p:sp>
        <p:nvSpPr>
          <p:cNvPr id="19" name="Titel 1">
            <a:extLst>
              <a:ext uri="{FF2B5EF4-FFF2-40B4-BE49-F238E27FC236}">
                <a16:creationId xmlns:a16="http://schemas.microsoft.com/office/drawing/2014/main" id="{8F82B9DE-837B-4B9C-95EB-701C7D0BEB60}"/>
              </a:ext>
            </a:extLst>
          </p:cNvPr>
          <p:cNvSpPr txBox="1">
            <a:spLocks/>
          </p:cNvSpPr>
          <p:nvPr/>
        </p:nvSpPr>
        <p:spPr bwMode="gray">
          <a:xfrm>
            <a:off x="527235" y="435378"/>
            <a:ext cx="11377956" cy="419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895236" rtl="0" eaLnBrk="1" fontAlgn="base" hangingPunct="1">
              <a:spcBef>
                <a:spcPct val="0"/>
              </a:spcBef>
              <a:spcAft>
                <a:spcPct val="0"/>
              </a:spcAft>
              <a:tabLst>
                <a:tab pos="444445" algn="l"/>
              </a:tabLst>
              <a:defRPr lang="nl-NL" sz="2800" b="0" baseline="0" noProof="0">
                <a:solidFill>
                  <a:schemeClr val="tx2"/>
                </a:solidFill>
                <a:latin typeface="+mj-lt"/>
                <a:ea typeface="+mj-ea"/>
                <a:cs typeface="+mj-cs"/>
                <a:sym typeface="+mj-lt"/>
              </a:defRPr>
            </a:lvl1pPr>
            <a:lvl2pPr algn="l" defTabSz="895236" rtl="0" eaLnBrk="1" fontAlgn="base" hangingPunct="1">
              <a:spcBef>
                <a:spcPct val="0"/>
              </a:spcBef>
              <a:spcAft>
                <a:spcPct val="0"/>
              </a:spcAft>
              <a:defRPr sz="1900" b="1">
                <a:solidFill>
                  <a:schemeClr val="tx2"/>
                </a:solidFill>
                <a:latin typeface="Arial" charset="0"/>
              </a:defRPr>
            </a:lvl2pPr>
            <a:lvl3pPr algn="l" defTabSz="895236" rtl="0" eaLnBrk="1" fontAlgn="base" hangingPunct="1">
              <a:spcBef>
                <a:spcPct val="0"/>
              </a:spcBef>
              <a:spcAft>
                <a:spcPct val="0"/>
              </a:spcAft>
              <a:defRPr sz="1900" b="1">
                <a:solidFill>
                  <a:schemeClr val="tx2"/>
                </a:solidFill>
                <a:latin typeface="Arial" charset="0"/>
              </a:defRPr>
            </a:lvl3pPr>
            <a:lvl4pPr algn="l" defTabSz="895236" rtl="0" eaLnBrk="1" fontAlgn="base" hangingPunct="1">
              <a:spcBef>
                <a:spcPct val="0"/>
              </a:spcBef>
              <a:spcAft>
                <a:spcPct val="0"/>
              </a:spcAft>
              <a:defRPr sz="1900" b="1">
                <a:solidFill>
                  <a:schemeClr val="tx2"/>
                </a:solidFill>
                <a:latin typeface="Arial" charset="0"/>
              </a:defRPr>
            </a:lvl4pPr>
            <a:lvl5pPr algn="l" defTabSz="895236" rtl="0" eaLnBrk="1" fontAlgn="base" hangingPunct="1">
              <a:spcBef>
                <a:spcPct val="0"/>
              </a:spcBef>
              <a:spcAft>
                <a:spcPct val="0"/>
              </a:spcAft>
              <a:defRPr sz="1900" b="1">
                <a:solidFill>
                  <a:schemeClr val="tx2"/>
                </a:solidFill>
                <a:latin typeface="Arial" charset="0"/>
              </a:defRPr>
            </a:lvl5pPr>
            <a:lvl6pPr marL="457139" algn="l" defTabSz="895236" rtl="0" eaLnBrk="1" fontAlgn="base" hangingPunct="1">
              <a:spcBef>
                <a:spcPct val="0"/>
              </a:spcBef>
              <a:spcAft>
                <a:spcPct val="0"/>
              </a:spcAft>
              <a:defRPr sz="1900" b="1">
                <a:solidFill>
                  <a:schemeClr val="tx2"/>
                </a:solidFill>
                <a:latin typeface="Arial" charset="0"/>
              </a:defRPr>
            </a:lvl6pPr>
            <a:lvl7pPr marL="914282" algn="l" defTabSz="895236" rtl="0" eaLnBrk="1" fontAlgn="base" hangingPunct="1">
              <a:spcBef>
                <a:spcPct val="0"/>
              </a:spcBef>
              <a:spcAft>
                <a:spcPct val="0"/>
              </a:spcAft>
              <a:defRPr sz="1900" b="1">
                <a:solidFill>
                  <a:schemeClr val="tx2"/>
                </a:solidFill>
                <a:latin typeface="Arial" charset="0"/>
              </a:defRPr>
            </a:lvl7pPr>
            <a:lvl8pPr marL="1371424" algn="l" defTabSz="895236" rtl="0" eaLnBrk="1" fontAlgn="base" hangingPunct="1">
              <a:spcBef>
                <a:spcPct val="0"/>
              </a:spcBef>
              <a:spcAft>
                <a:spcPct val="0"/>
              </a:spcAft>
              <a:defRPr sz="1900" b="1">
                <a:solidFill>
                  <a:schemeClr val="tx2"/>
                </a:solidFill>
                <a:latin typeface="Arial" charset="0"/>
              </a:defRPr>
            </a:lvl8pPr>
            <a:lvl9pPr marL="1828566" algn="l" defTabSz="895236" rtl="0" eaLnBrk="1" fontAlgn="base" hangingPunct="1">
              <a:spcBef>
                <a:spcPct val="0"/>
              </a:spcBef>
              <a:spcAft>
                <a:spcPct val="0"/>
              </a:spcAft>
              <a:defRPr sz="1900" b="1">
                <a:solidFill>
                  <a:schemeClr val="tx2"/>
                </a:solidFill>
                <a:latin typeface="Arial" charset="0"/>
              </a:defRPr>
            </a:lvl9pPr>
          </a:lstStyle>
          <a:p>
            <a:r>
              <a:rPr lang="nl-NL" kern="0" dirty="0"/>
              <a:t>Mogelijke uitgangspunten voor </a:t>
            </a:r>
            <a:r>
              <a:rPr lang="nl-NL" dirty="0"/>
              <a:t>[instelling]</a:t>
            </a:r>
            <a:endParaRPr lang="nl-NL" kern="0" dirty="0"/>
          </a:p>
        </p:txBody>
      </p:sp>
    </p:spTree>
    <p:extLst>
      <p:ext uri="{BB962C8B-B14F-4D97-AF65-F5344CB8AC3E}">
        <p14:creationId xmlns:p14="http://schemas.microsoft.com/office/powerpoint/2010/main" val="1782727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129027" name="think-cell Slide" r:id="rId11" imgW="346" imgH="346" progId="TCLayout.ActiveDocument.1">
                  <p:embed/>
                </p:oleObj>
              </mc:Choice>
              <mc:Fallback>
                <p:oleObj name="think-cell Slide" r:id="rId11"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2"/>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lang="nl-NL" sz="2857" kern="0" dirty="0">
                <a:solidFill>
                  <a:srgbClr val="003C54"/>
                </a:solidFill>
                <a:latin typeface="Andada"/>
                <a:ea typeface="ＭＳ Ｐゴシック"/>
              </a:rPr>
              <a:t>Agenda voor vandaag</a:t>
            </a:r>
            <a:endParaRPr kumimoji="0" lang="nl-NL" sz="2857" b="0" i="0" u="none" strike="noStrike" kern="0" cap="none" spc="0" normalizeH="0" baseline="0" noProof="0" dirty="0">
              <a:ln>
                <a:noFill/>
              </a:ln>
              <a:solidFill>
                <a:srgbClr val="003C54"/>
              </a:solidFill>
              <a:effectLst/>
              <a:uLnTx/>
              <a:uFillTx/>
              <a:latin typeface="Andada"/>
              <a:ea typeface="ＭＳ Ｐゴシック"/>
              <a:cs typeface="+mj-cs"/>
              <a:sym typeface="+mj-lt"/>
            </a:endParaRP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Korte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introductie</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en</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eventueel</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voorstelronde</a:t>
            </a:r>
            <a:endParaRPr kumimoji="0" lang="en-US" sz="1837" b="0" i="0" u="none" strike="noStrike" kern="1200" cap="none" spc="0" normalizeH="0" baseline="0" noProof="0" dirty="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001373"/>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Terugblik</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Hoe past het Goede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Gesprek</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in het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totale</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HPP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traject</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en</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wat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zijn</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de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ervaringen</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tot nu toe?</a:t>
            </a: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6" y="2783530"/>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lvl="0">
              <a:buClr>
                <a:srgbClr val="FFFFFF"/>
              </a:buClr>
              <a:defRPr/>
            </a:pP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Uitgangspunten</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bepalen</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voor de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verdere</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uitrol</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van het Goede </a:t>
            </a:r>
            <a:r>
              <a:rPr lang="en-US" sz="1837" b="0" dirty="0" err="1">
                <a:solidFill>
                  <a:schemeClr val="tx1"/>
                </a:solidFill>
                <a:latin typeface="Arial"/>
                <a:ea typeface="ＭＳ Ｐゴシック"/>
              </a:rPr>
              <a:t>Gesprek</a:t>
            </a:r>
            <a:r>
              <a:rPr lang="en-US" sz="1837" b="0" dirty="0">
                <a:solidFill>
                  <a:schemeClr val="tx1"/>
                </a:solidFill>
                <a:latin typeface="Arial"/>
                <a:ea typeface="ＭＳ Ｐゴシック"/>
              </a:rPr>
              <a:t> </a:t>
            </a:r>
            <a:r>
              <a:rPr lang="en-US" sz="1837" b="0" dirty="0" err="1">
                <a:solidFill>
                  <a:schemeClr val="tx1"/>
                </a:solidFill>
                <a:latin typeface="Arial"/>
                <a:ea typeface="ＭＳ Ｐゴシック"/>
              </a:rPr>
              <a:t>bij</a:t>
            </a:r>
            <a:r>
              <a:rPr lang="en-US" sz="1837" b="0" dirty="0">
                <a:solidFill>
                  <a:schemeClr val="tx1"/>
                </a:solidFill>
                <a:latin typeface="Arial"/>
                <a:ea typeface="ＭＳ Ｐゴシック"/>
              </a:rPr>
              <a:t> </a:t>
            </a:r>
            <a:r>
              <a:rPr lang="nl-NL" sz="1837" b="0" dirty="0">
                <a:solidFill>
                  <a:schemeClr val="tx1"/>
                </a:solidFill>
                <a:latin typeface="Arial"/>
                <a:ea typeface="ＭＳ Ｐゴシック"/>
              </a:rPr>
              <a:t>[instelling]</a:t>
            </a:r>
            <a:endParaRPr lang="en-US" sz="1837" b="0" dirty="0">
              <a:solidFill>
                <a:schemeClr val="tx1"/>
              </a:solidFill>
              <a:latin typeface="Arial"/>
              <a:ea typeface="ＭＳ Ｐゴシック"/>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6" y="3565687"/>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Vervolgstappen</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a:t>
            </a: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bepalen</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a:t>
            </a:r>
          </a:p>
        </p:txBody>
      </p:sp>
    </p:spTree>
    <p:custDataLst>
      <p:tags r:id="rId2"/>
    </p:custDataLst>
    <p:extLst>
      <p:ext uri="{BB962C8B-B14F-4D97-AF65-F5344CB8AC3E}">
        <p14:creationId xmlns:p14="http://schemas.microsoft.com/office/powerpoint/2010/main" val="1237515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08F205-8BC6-4B74-88F6-08B2209ACD29}"/>
              </a:ext>
            </a:extLst>
          </p:cNvPr>
          <p:cNvSpPr>
            <a:spLocks noGrp="1"/>
          </p:cNvSpPr>
          <p:nvPr>
            <p:ph type="title"/>
          </p:nvPr>
        </p:nvSpPr>
        <p:spPr/>
        <p:txBody>
          <a:bodyPr/>
          <a:lstStyle/>
          <a:p>
            <a:r>
              <a:rPr lang="nl-NL" dirty="0"/>
              <a:t>Vervolgstappen</a:t>
            </a:r>
          </a:p>
        </p:txBody>
      </p:sp>
    </p:spTree>
    <p:extLst>
      <p:ext uri="{BB962C8B-B14F-4D97-AF65-F5344CB8AC3E}">
        <p14:creationId xmlns:p14="http://schemas.microsoft.com/office/powerpoint/2010/main" val="2046429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32B888F-1988-44DA-A964-5BD120FBE541}"/>
              </a:ext>
            </a:extLst>
          </p:cNvPr>
          <p:cNvSpPr>
            <a:spLocks noGrp="1"/>
          </p:cNvSpPr>
          <p:nvPr>
            <p:ph type="title"/>
          </p:nvPr>
        </p:nvSpPr>
        <p:spPr>
          <a:xfrm>
            <a:off x="1088137" y="1706564"/>
            <a:ext cx="4408291" cy="387798"/>
          </a:xfrm>
        </p:spPr>
        <p:txBody>
          <a:bodyPr/>
          <a:lstStyle/>
          <a:p>
            <a:r>
              <a:rPr lang="nl-NL" dirty="0"/>
              <a:t>Bijlagen</a:t>
            </a:r>
          </a:p>
        </p:txBody>
      </p:sp>
    </p:spTree>
    <p:extLst>
      <p:ext uri="{BB962C8B-B14F-4D97-AF65-F5344CB8AC3E}">
        <p14:creationId xmlns:p14="http://schemas.microsoft.com/office/powerpoint/2010/main" val="2489334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9262703B-EDC7-4486-BDBF-B60FC0B8C751}"/>
              </a:ext>
            </a:extLst>
          </p:cNvPr>
          <p:cNvSpPr>
            <a:spLocks noGrp="1"/>
          </p:cNvSpPr>
          <p:nvPr>
            <p:ph type="title"/>
          </p:nvPr>
        </p:nvSpPr>
        <p:spPr>
          <a:xfrm>
            <a:off x="3811836" y="472853"/>
            <a:ext cx="7825428" cy="463581"/>
          </a:xfrm>
        </p:spPr>
        <p:txBody>
          <a:bodyPr/>
          <a:lstStyle/>
          <a:p>
            <a:r>
              <a:rPr lang="nl-NL" dirty="0"/>
              <a:t>Aandacht  voor de wet WAB</a:t>
            </a:r>
          </a:p>
        </p:txBody>
      </p:sp>
      <p:sp>
        <p:nvSpPr>
          <p:cNvPr id="5" name="Rechthoek 4">
            <a:extLst>
              <a:ext uri="{FF2B5EF4-FFF2-40B4-BE49-F238E27FC236}">
                <a16:creationId xmlns:a16="http://schemas.microsoft.com/office/drawing/2014/main" id="{A39ED2EE-43F4-4652-B942-C07B3F280796}"/>
              </a:ext>
            </a:extLst>
          </p:cNvPr>
          <p:cNvSpPr/>
          <p:nvPr/>
        </p:nvSpPr>
        <p:spPr>
          <a:xfrm>
            <a:off x="921744" y="2153119"/>
            <a:ext cx="9158690" cy="2554545"/>
          </a:xfrm>
          <a:prstGeom prst="rect">
            <a:avLst/>
          </a:prstGeom>
        </p:spPr>
        <p:txBody>
          <a:bodyPr wrap="square">
            <a:spAutoFit/>
          </a:bodyPr>
          <a:lstStyle/>
          <a:p>
            <a:pPr>
              <a:spcAft>
                <a:spcPts val="0"/>
              </a:spcAft>
            </a:pPr>
            <a:r>
              <a:rPr lang="nl-NL" sz="2000" dirty="0">
                <a:solidFill>
                  <a:srgbClr val="000000"/>
                </a:solidFill>
                <a:latin typeface="Calibri" panose="020F0502020204030204" pitchFamily="34" charset="0"/>
                <a:ea typeface="Times New Roman" panose="02020603050405020304" pitchFamily="18" charset="0"/>
              </a:rPr>
              <a:t>Sinds januari is de wet WAB ingesteld. Misschien kunnen we daar vanuit Goed Gesprek ook op aanhaken. Ken jij deze wet? Hierbij de link: </a:t>
            </a:r>
            <a:r>
              <a:rPr lang="nl-NL" sz="2000" u="sng" dirty="0">
                <a:solidFill>
                  <a:srgbClr val="000000"/>
                </a:solidFill>
                <a:latin typeface="Calibri" panose="020F0502020204030204" pitchFamily="34" charset="0"/>
                <a:ea typeface="Times New Roman" panose="02020603050405020304" pitchFamily="18" charset="0"/>
                <a:hlinkClick r:id="rId2"/>
              </a:rPr>
              <a:t>https://www.rijksoverheid.nl/onderwerpen/arbeidsovereenkomst-en-cao/plannen-kabinet-voor-meer-balans-tussen-vast-werk-en-flexwerk</a:t>
            </a:r>
            <a:endParaRPr lang="nl-NL" sz="1800" dirty="0">
              <a:latin typeface="Calibri" panose="020F0502020204030204" pitchFamily="34" charset="0"/>
              <a:ea typeface="Calibri" panose="020F0502020204030204" pitchFamily="34" charset="0"/>
            </a:endParaRPr>
          </a:p>
          <a:p>
            <a:pPr>
              <a:spcAft>
                <a:spcPts val="0"/>
              </a:spcAft>
            </a:pPr>
            <a:br>
              <a:rPr lang="nl-NL" sz="2000" dirty="0">
                <a:solidFill>
                  <a:srgbClr val="000000"/>
                </a:solidFill>
                <a:latin typeface="Calibri" panose="020F0502020204030204" pitchFamily="34" charset="0"/>
                <a:ea typeface="Times New Roman" panose="02020603050405020304" pitchFamily="18" charset="0"/>
              </a:rPr>
            </a:br>
            <a:r>
              <a:rPr lang="nl-NL" sz="2000" dirty="0">
                <a:solidFill>
                  <a:srgbClr val="000000"/>
                </a:solidFill>
                <a:latin typeface="Calibri" panose="020F0502020204030204" pitchFamily="34" charset="0"/>
                <a:ea typeface="Times New Roman" panose="02020603050405020304" pitchFamily="18" charset="0"/>
              </a:rPr>
              <a:t>Zorgorganisaties moeten periodiek een gesprek aangaan met mensen die structureel meer uren maken. Wellicht dat we hier nog een HPP </a:t>
            </a:r>
            <a:r>
              <a:rPr lang="nl-NL" sz="2000" dirty="0" err="1">
                <a:solidFill>
                  <a:srgbClr val="000000"/>
                </a:solidFill>
                <a:latin typeface="Calibri" panose="020F0502020204030204" pitchFamily="34" charset="0"/>
                <a:ea typeface="Times New Roman" panose="02020603050405020304" pitchFamily="18" charset="0"/>
              </a:rPr>
              <a:t>touch</a:t>
            </a:r>
            <a:r>
              <a:rPr lang="nl-NL" sz="2000" dirty="0">
                <a:solidFill>
                  <a:srgbClr val="000000"/>
                </a:solidFill>
                <a:latin typeface="Calibri" panose="020F0502020204030204" pitchFamily="34" charset="0"/>
                <a:ea typeface="Times New Roman" panose="02020603050405020304" pitchFamily="18" charset="0"/>
              </a:rPr>
              <a:t> aan kunnen geven. Laten we dit punt in ieder geval toevoegen aan de agenda van 12 november.</a:t>
            </a:r>
            <a:endParaRPr lang="nl-NL" sz="1800" dirty="0">
              <a:effectLst/>
              <a:latin typeface="Calibri" panose="020F0502020204030204" pitchFamily="34" charset="0"/>
              <a:ea typeface="Calibri" panose="020F0502020204030204" pitchFamily="34" charset="0"/>
            </a:endParaRPr>
          </a:p>
        </p:txBody>
      </p:sp>
      <p:sp>
        <p:nvSpPr>
          <p:cNvPr id="6" name="Rechthoek 5">
            <a:extLst>
              <a:ext uri="{FF2B5EF4-FFF2-40B4-BE49-F238E27FC236}">
                <a16:creationId xmlns:a16="http://schemas.microsoft.com/office/drawing/2014/main" id="{A9F97800-A41A-40F2-ABE6-AADC0501E4A2}"/>
              </a:ext>
            </a:extLst>
          </p:cNvPr>
          <p:cNvSpPr/>
          <p:nvPr/>
        </p:nvSpPr>
        <p:spPr>
          <a:xfrm>
            <a:off x="1407237" y="344276"/>
            <a:ext cx="2230970" cy="9518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dirty="0">
                <a:solidFill>
                  <a:schemeClr val="tx2"/>
                </a:solidFill>
                <a:latin typeface="Arial"/>
                <a:ea typeface="ＭＳ Ｐゴシック"/>
              </a:rPr>
              <a:t>Wanneer zouden goede gesprekken plaats moeten vinden?</a:t>
            </a:r>
          </a:p>
        </p:txBody>
      </p:sp>
      <p:pic>
        <p:nvPicPr>
          <p:cNvPr id="7" name="Graphic 6" descr="Agenda">
            <a:extLst>
              <a:ext uri="{FF2B5EF4-FFF2-40B4-BE49-F238E27FC236}">
                <a16:creationId xmlns:a16="http://schemas.microsoft.com/office/drawing/2014/main" id="{0F13DC75-1854-4EA3-9AAA-8CB6DB9060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3485" y="362980"/>
            <a:ext cx="853752" cy="914400"/>
          </a:xfrm>
          <a:prstGeom prst="rect">
            <a:avLst/>
          </a:prstGeom>
        </p:spPr>
      </p:pic>
    </p:spTree>
    <p:extLst>
      <p:ext uri="{BB962C8B-B14F-4D97-AF65-F5344CB8AC3E}">
        <p14:creationId xmlns:p14="http://schemas.microsoft.com/office/powerpoint/2010/main" val="344779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6613E8-CE2E-4087-A742-F5159FF492BB}"/>
              </a:ext>
            </a:extLst>
          </p:cNvPr>
          <p:cNvSpPr>
            <a:spLocks noGrp="1"/>
          </p:cNvSpPr>
          <p:nvPr>
            <p:ph type="title"/>
          </p:nvPr>
        </p:nvSpPr>
        <p:spPr>
          <a:xfrm>
            <a:off x="534188" y="585865"/>
            <a:ext cx="11082528" cy="439639"/>
          </a:xfrm>
        </p:spPr>
        <p:txBody>
          <a:bodyPr/>
          <a:lstStyle/>
          <a:p>
            <a:r>
              <a:rPr lang="nl-NL" dirty="0"/>
              <a:t>Aangescherpte leidraad ter voorbereiding één-op-één testgesprekken (1/2)</a:t>
            </a:r>
          </a:p>
        </p:txBody>
      </p:sp>
      <p:sp>
        <p:nvSpPr>
          <p:cNvPr id="3" name="Tekstvak 2">
            <a:extLst>
              <a:ext uri="{FF2B5EF4-FFF2-40B4-BE49-F238E27FC236}">
                <a16:creationId xmlns:a16="http://schemas.microsoft.com/office/drawing/2014/main" id="{2EF2B854-6A4B-4798-B916-C42E2B837571}"/>
              </a:ext>
            </a:extLst>
          </p:cNvPr>
          <p:cNvSpPr txBox="1"/>
          <p:nvPr/>
        </p:nvSpPr>
        <p:spPr>
          <a:xfrm>
            <a:off x="503433" y="1231094"/>
            <a:ext cx="11126912" cy="59093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fontAlgn="base"/>
            <a:r>
              <a:rPr lang="nl-NL" sz="1200" dirty="0"/>
              <a:t>Dit document bevat tips voor de structuur en inhoud van het gesprek over contractuitbreiding met zorgmedewerkers. Dit kan gebruikt worden als leidraad voor de 1-op-1 testgesprekken. </a:t>
            </a:r>
          </a:p>
          <a:p>
            <a:pPr fontAlgn="base"/>
            <a:r>
              <a:rPr lang="nl-NL" sz="1200" dirty="0"/>
              <a:t> </a:t>
            </a:r>
          </a:p>
          <a:p>
            <a:pPr fontAlgn="base"/>
            <a:r>
              <a:rPr lang="nl-NL" sz="1200" b="1" u="sng" dirty="0"/>
              <a:t>Voorbereiding voor het gesprek</a:t>
            </a:r>
            <a:r>
              <a:rPr lang="nl-NL" sz="1200" u="sng" dirty="0"/>
              <a:t> </a:t>
            </a:r>
          </a:p>
          <a:p>
            <a:pPr fontAlgn="base"/>
            <a:r>
              <a:rPr lang="nl-NL" sz="1200" dirty="0"/>
              <a:t>Informeer de medewerker tijdens het maken van de afspraak alvast over het doel van het gesprek en welke onderwerpen aan bod zullen komen </a:t>
            </a:r>
          </a:p>
          <a:p>
            <a:pPr fontAlgn="base"/>
            <a:r>
              <a:rPr lang="nl-NL" sz="1200" dirty="0"/>
              <a:t>Op die manier kan de medewerker voor zichzelf al eens nadenken over: Hoe kijk ik aan tegen contractuitbreiding? Zou ik extra uren willen werken? Heb ik roosterwensen, andere onderwerpen te bespreken? Dan kunnen we hier tijdens gesprek dieper op ingaan. </a:t>
            </a:r>
          </a:p>
          <a:p>
            <a:pPr fontAlgn="base"/>
            <a:r>
              <a:rPr lang="nl-NL" sz="1200" dirty="0"/>
              <a:t>Bedenk zelf alvast wat je over de situatie van de medewerker weet. Bijvoorbeeld: Tot welke leeftijdsgroep hoort de medewerker, wel of geen kinderen, wat zijn de contracturen, welke wensen zou hij/zij kunnen hebben, waar zou je op in moeten zoomen? </a:t>
            </a:r>
          </a:p>
          <a:p>
            <a:pPr fontAlgn="base"/>
            <a:r>
              <a:rPr lang="nl-NL" sz="1200" dirty="0"/>
              <a:t> </a:t>
            </a:r>
          </a:p>
          <a:p>
            <a:pPr fontAlgn="base"/>
            <a:r>
              <a:rPr lang="nl-NL" sz="1200" b="1" u="sng" dirty="0"/>
              <a:t>Structuur voor het gesprek:</a:t>
            </a:r>
            <a:r>
              <a:rPr lang="nl-NL" sz="1200" u="sng" dirty="0"/>
              <a:t> </a:t>
            </a:r>
          </a:p>
          <a:p>
            <a:pPr fontAlgn="base"/>
            <a:endParaRPr lang="nl-NL" sz="1200" u="sng" dirty="0"/>
          </a:p>
          <a:p>
            <a:pPr fontAlgn="base"/>
            <a:r>
              <a:rPr lang="nl-NL" sz="1200" b="1" dirty="0"/>
              <a:t>Introductie (5 min) </a:t>
            </a:r>
          </a:p>
          <a:p>
            <a:pPr fontAlgn="base"/>
            <a:r>
              <a:rPr lang="nl-NL" sz="1200" dirty="0"/>
              <a:t>Licht de aanleiding van dit (test)gesprek toe:  </a:t>
            </a:r>
          </a:p>
          <a:p>
            <a:pPr fontAlgn="base"/>
            <a:r>
              <a:rPr lang="nl-NL" sz="1200" dirty="0"/>
              <a:t>Dit is onderdeel van Het Potentieel Pakken, waar we samen kijken hoe we contractuitbreiding mogelijk kunnen maken voor medewerkers die dit willen </a:t>
            </a:r>
          </a:p>
          <a:p>
            <a:pPr fontAlgn="base"/>
            <a:r>
              <a:rPr lang="nl-NL" sz="1200" dirty="0"/>
              <a:t>Licht zo nodig toe wat de Stichting Het Potentieel Pakken en de proeftuin inhoud. </a:t>
            </a:r>
          </a:p>
          <a:p>
            <a:pPr fontAlgn="base"/>
            <a:r>
              <a:rPr lang="nl-NL" sz="1200" i="1" dirty="0"/>
              <a:t>Tip: We benadrukken vaak ‘we leren door te doen’. Zo ook dit gesprek. Het kan dat we tegen obstakels gaan aanlopen maar willen graag proberen die samen met jou te verminderen.</a:t>
            </a:r>
            <a:r>
              <a:rPr lang="nl-NL" sz="1200" dirty="0"/>
              <a:t> </a:t>
            </a:r>
          </a:p>
          <a:p>
            <a:pPr fontAlgn="base"/>
            <a:r>
              <a:rPr lang="nl-NL" sz="1200" dirty="0"/>
              <a:t>Licht de agenda en doelen van het gesprek toe. Benadruk de verwachtingen in het gesprek, bijvoorbeeld:  </a:t>
            </a:r>
          </a:p>
          <a:p>
            <a:pPr fontAlgn="base"/>
            <a:r>
              <a:rPr lang="nl-NL" sz="1200" dirty="0"/>
              <a:t>We zitten hier samen omdat ik je heb uitgenodigd om te praten over het thema contractuitbreiding. Dit is geen jaargesprek of functionerings- / beoordelingsgesprek </a:t>
            </a:r>
          </a:p>
          <a:p>
            <a:pPr fontAlgn="base"/>
            <a:r>
              <a:rPr lang="nl-NL" sz="1200" dirty="0"/>
              <a:t>Het doel is om samen te kijken wat jouw overtuigingen zijn ten opzichte van meer werken en wat jij belangrijk vindt met betrekking tot een groter contract. </a:t>
            </a:r>
          </a:p>
          <a:p>
            <a:pPr fontAlgn="base"/>
            <a:r>
              <a:rPr lang="nl-NL" sz="1200" dirty="0"/>
              <a:t>We gaan het hebben over contractgrootte, je huidige werksituatie en rooster en wat jij nodig zou hebben om eventueel meer uren te willen werken. </a:t>
            </a:r>
          </a:p>
          <a:p>
            <a:pPr fontAlgn="base"/>
            <a:r>
              <a:rPr lang="nl-NL" sz="1200" i="1" dirty="0"/>
              <a:t>Tip: Schep duidelijke verwachtingen. Het doel is niet dat de medewerker meer gaat werken, dus geef aan dat het ook goed is als je er samen achter komt dat meer uren werken niet iets voor deze medewerker is.</a:t>
            </a:r>
            <a:r>
              <a:rPr lang="nl-NL" sz="1200" dirty="0"/>
              <a:t> </a:t>
            </a:r>
          </a:p>
          <a:p>
            <a:pPr fontAlgn="base"/>
            <a:endParaRPr lang="nl-NL" sz="1200" dirty="0"/>
          </a:p>
          <a:p>
            <a:pPr fontAlgn="base"/>
            <a:r>
              <a:rPr lang="nl-NL" sz="1200" b="1" dirty="0"/>
              <a:t>Wensen en voorwaarden bespreken (20-30min) </a:t>
            </a:r>
          </a:p>
          <a:p>
            <a:pPr fontAlgn="base"/>
            <a:r>
              <a:rPr lang="nl-NL" sz="1200" dirty="0"/>
              <a:t>Bespreek het thema (huidige) contractgrootte en rooster. Denk je wel eens na over je contractgrootte en of die passend is? Heb je ooit eerder je contracturen verhoogd of verlaagd en wat was daar de reden voor? Wat vind je van je huidige contractgrootte en rooster en wat zou er moeten veranderen? Heb je het hier wel eens met andere over gehad? (bijv. je collega of manager)  Ben je op de hoogte dat je met een grotere contract je meer pensioen opbouwt? </a:t>
            </a:r>
          </a:p>
          <a:p>
            <a:pPr fontAlgn="base"/>
            <a:endParaRPr lang="nl-NL" sz="1200" dirty="0"/>
          </a:p>
          <a:p>
            <a:pPr fontAlgn="base"/>
            <a:r>
              <a:rPr lang="nl-NL" sz="1200" dirty="0"/>
              <a:t> </a:t>
            </a:r>
          </a:p>
          <a:p>
            <a:endParaRPr lang="nl-NL" sz="1200" dirty="0"/>
          </a:p>
        </p:txBody>
      </p:sp>
    </p:spTree>
    <p:extLst>
      <p:ext uri="{BB962C8B-B14F-4D97-AF65-F5344CB8AC3E}">
        <p14:creationId xmlns:p14="http://schemas.microsoft.com/office/powerpoint/2010/main" val="1984663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6613E8-CE2E-4087-A742-F5159FF492BB}"/>
              </a:ext>
            </a:extLst>
          </p:cNvPr>
          <p:cNvSpPr>
            <a:spLocks noGrp="1"/>
          </p:cNvSpPr>
          <p:nvPr>
            <p:ph type="title"/>
          </p:nvPr>
        </p:nvSpPr>
        <p:spPr>
          <a:xfrm>
            <a:off x="534188" y="585865"/>
            <a:ext cx="11082528" cy="439639"/>
          </a:xfrm>
        </p:spPr>
        <p:txBody>
          <a:bodyPr/>
          <a:lstStyle/>
          <a:p>
            <a:r>
              <a:rPr lang="nl-NL" dirty="0"/>
              <a:t>Aangescherpte leidraad ter voorbereiding één-op-één testgesprekken (2/2)</a:t>
            </a:r>
          </a:p>
        </p:txBody>
      </p:sp>
      <p:sp>
        <p:nvSpPr>
          <p:cNvPr id="3" name="Tekstvak 2">
            <a:extLst>
              <a:ext uri="{FF2B5EF4-FFF2-40B4-BE49-F238E27FC236}">
                <a16:creationId xmlns:a16="http://schemas.microsoft.com/office/drawing/2014/main" id="{2EF2B854-6A4B-4798-B916-C42E2B837571}"/>
              </a:ext>
            </a:extLst>
          </p:cNvPr>
          <p:cNvSpPr txBox="1"/>
          <p:nvPr/>
        </p:nvSpPr>
        <p:spPr>
          <a:xfrm>
            <a:off x="523982" y="1169450"/>
            <a:ext cx="10911155" cy="55399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fontAlgn="base"/>
            <a:r>
              <a:rPr lang="nl-NL" sz="1200" b="1" dirty="0"/>
              <a:t>Bespreek het thema (huidige) contractgrootte en rooster </a:t>
            </a:r>
          </a:p>
          <a:p>
            <a:pPr fontAlgn="base"/>
            <a:r>
              <a:rPr lang="nl-NL" sz="1200" dirty="0"/>
              <a:t>Denk je wel eens na over je contractgrootte en of die passend is? Heb je ooit eerder je contracturen verhoogd of verlaagd en wat was daar de reden voor? </a:t>
            </a:r>
          </a:p>
          <a:p>
            <a:pPr fontAlgn="base"/>
            <a:r>
              <a:rPr lang="nl-NL" sz="1200" dirty="0"/>
              <a:t>Wat vind je van je huidige contractgrootte en rooster en wat zou er moeten veranderen? Heb je het hier wel eens met andere over gehad? (bijv. je collega of manager) </a:t>
            </a:r>
          </a:p>
          <a:p>
            <a:pPr fontAlgn="base"/>
            <a:r>
              <a:rPr lang="nl-NL" sz="1200" dirty="0"/>
              <a:t>Ben je op de hoogte dat je met een grotere contract je meer pensioen opbouwt? </a:t>
            </a:r>
          </a:p>
          <a:p>
            <a:pPr fontAlgn="base"/>
            <a:endParaRPr lang="nl-NL" sz="1200" dirty="0"/>
          </a:p>
          <a:p>
            <a:pPr fontAlgn="base"/>
            <a:r>
              <a:rPr lang="nl-NL" sz="1200" b="1" dirty="0"/>
              <a:t>Bespreek samen de wensen en verwachtingen om meer uren te gaan werken </a:t>
            </a:r>
          </a:p>
          <a:p>
            <a:pPr fontAlgn="base"/>
            <a:r>
              <a:rPr lang="nl-NL" sz="1200" dirty="0"/>
              <a:t>Overweeg je om meer te gaan werken? Waarom wel / niet? Hoe zie je dat idealiter voor je met je rooster?  Hoe valt dat in je werk/</a:t>
            </a:r>
            <a:r>
              <a:rPr lang="nl-NL" sz="1200" dirty="0" err="1"/>
              <a:t>prive</a:t>
            </a:r>
            <a:r>
              <a:rPr lang="nl-NL" sz="1200" dirty="0"/>
              <a:t> balans? </a:t>
            </a:r>
          </a:p>
          <a:p>
            <a:pPr fontAlgn="base"/>
            <a:r>
              <a:rPr lang="nl-NL" sz="1200" dirty="0"/>
              <a:t>Heb je dit besproken met je partner / kinderen, hoe kijken zij hier tegenaan? Zou je ook op andere team / locaties willen werken? Waarom wel/niet? </a:t>
            </a:r>
          </a:p>
          <a:p>
            <a:pPr fontAlgn="base"/>
            <a:r>
              <a:rPr lang="nl-NL" sz="1200" dirty="0"/>
              <a:t>Welke voorwaarden stel je aan je rooster? Wat verwacht je als grootste voordelen? Zie je ook risico’s? </a:t>
            </a:r>
          </a:p>
          <a:p>
            <a:pPr fontAlgn="base"/>
            <a:r>
              <a:rPr lang="nl-NL" sz="1200" i="1" dirty="0"/>
              <a:t>Tip: Een contractuitbreiding hoeft niet gelijk veel uur te zijn, 2 uur extra is ook al waardevol</a:t>
            </a:r>
            <a:r>
              <a:rPr lang="nl-NL" sz="1200" dirty="0"/>
              <a:t> </a:t>
            </a:r>
          </a:p>
          <a:p>
            <a:pPr fontAlgn="base"/>
            <a:r>
              <a:rPr lang="nl-NL" sz="1200" i="1" dirty="0"/>
              <a:t>Tip: Geef aan dat altijd iets ‘uitgeprobeerd’ kan worden, en het aantal uren altijd later weer kan worden aangepast</a:t>
            </a:r>
            <a:r>
              <a:rPr lang="nl-NL" sz="1200" dirty="0"/>
              <a:t> </a:t>
            </a:r>
          </a:p>
          <a:p>
            <a:pPr fontAlgn="base"/>
            <a:r>
              <a:rPr lang="nl-NL" sz="1200" dirty="0"/>
              <a:t>Vervolgstappen afspreken (10 min) </a:t>
            </a:r>
          </a:p>
          <a:p>
            <a:pPr fontAlgn="base"/>
            <a:endParaRPr lang="nl-NL" sz="1200" dirty="0"/>
          </a:p>
          <a:p>
            <a:pPr fontAlgn="base"/>
            <a:r>
              <a:rPr lang="nl-NL" sz="1200" b="1" dirty="0"/>
              <a:t>Afsluiting</a:t>
            </a:r>
          </a:p>
          <a:p>
            <a:pPr fontAlgn="base"/>
            <a:r>
              <a:rPr lang="nl-NL" sz="1200" dirty="0"/>
              <a:t>Danken van de medewerker voor het gesprek en kort samenvatten tot welke afspraken of conclusies je samen met de medewerker bent gekomen </a:t>
            </a:r>
          </a:p>
          <a:p>
            <a:pPr fontAlgn="base"/>
            <a:r>
              <a:rPr lang="nl-NL" sz="1200" dirty="0"/>
              <a:t>Herhaling wat de medewerker kan verwachten en wat dat betekent voor de aankomende periode. </a:t>
            </a:r>
          </a:p>
          <a:p>
            <a:pPr fontAlgn="base"/>
            <a:r>
              <a:rPr lang="nl-NL" sz="1200" dirty="0"/>
              <a:t>Aangeven bij wie de medewerker terecht kan voor vragen. Eventueel vervolgafspraak inplannen </a:t>
            </a:r>
          </a:p>
          <a:p>
            <a:pPr fontAlgn="base"/>
            <a:endParaRPr lang="nl-NL" sz="1200" dirty="0"/>
          </a:p>
          <a:p>
            <a:pPr fontAlgn="base"/>
            <a:r>
              <a:rPr lang="nl-NL" sz="1200" b="1" dirty="0"/>
              <a:t>Evalueren</a:t>
            </a:r>
            <a:r>
              <a:rPr lang="nl-NL" sz="1200" dirty="0"/>
              <a:t> </a:t>
            </a:r>
          </a:p>
          <a:p>
            <a:pPr fontAlgn="base"/>
            <a:r>
              <a:rPr lang="nl-NL" sz="1200" dirty="0"/>
              <a:t>De laatste 5 min van het gesprek gebruiken om het gesprek en de uitnodiging te evalueren. Hoe vond je het gesprek gaan? </a:t>
            </a:r>
          </a:p>
          <a:p>
            <a:pPr fontAlgn="base"/>
            <a:r>
              <a:rPr lang="nl-NL" sz="1200" dirty="0"/>
              <a:t>Kwam het gesprek overeen met de verwachtingen die je had? Wat wel/niet?  Is alles wat je wilde bespreken aan bod gekomen </a:t>
            </a:r>
          </a:p>
          <a:p>
            <a:pPr fontAlgn="base"/>
            <a:r>
              <a:rPr lang="nl-NL" sz="1200" dirty="0"/>
              <a:t>Was de uitnodigingsmail met informatie stukken duidelijk en compleet? Overige tips of opmerkingen? </a:t>
            </a:r>
          </a:p>
          <a:p>
            <a:pPr fontAlgn="base"/>
            <a:r>
              <a:rPr lang="nl-NL" sz="1200" dirty="0"/>
              <a:t> </a:t>
            </a:r>
          </a:p>
          <a:p>
            <a:pPr fontAlgn="base"/>
            <a:r>
              <a:rPr lang="nl-NL" sz="1200" b="1" dirty="0"/>
              <a:t>Stappen na het gesprek</a:t>
            </a:r>
            <a:r>
              <a:rPr lang="nl-NL" sz="1200" dirty="0"/>
              <a:t> </a:t>
            </a:r>
          </a:p>
          <a:p>
            <a:pPr fontAlgn="base"/>
            <a:r>
              <a:rPr lang="nl-NL" sz="1200" dirty="0"/>
              <a:t>Maak een kort verslag van het gesprek en evalueer de leidraad, zodat de lessen vergeleken kunnen worden met de andere gesprekken </a:t>
            </a:r>
          </a:p>
          <a:p>
            <a:pPr fontAlgn="base"/>
            <a:r>
              <a:rPr lang="nl-NL" sz="1200" dirty="0"/>
              <a:t>Het kan waardevol zijn om ook de medewerker zelf een bedankmail te sturen met daarin de gemaakte afspraken </a:t>
            </a:r>
          </a:p>
          <a:p>
            <a:pPr fontAlgn="base"/>
            <a:r>
              <a:rPr lang="nl-NL" sz="1200" dirty="0"/>
              <a:t> </a:t>
            </a:r>
          </a:p>
          <a:p>
            <a:endParaRPr lang="nl-NL" sz="1200" dirty="0"/>
          </a:p>
        </p:txBody>
      </p:sp>
    </p:spTree>
    <p:extLst>
      <p:ext uri="{BB962C8B-B14F-4D97-AF65-F5344CB8AC3E}">
        <p14:creationId xmlns:p14="http://schemas.microsoft.com/office/powerpoint/2010/main" val="1169747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11" imgW="346" imgH="346" progId="TCLayout.ActiveDocument.1">
                  <p:embed/>
                </p:oleObj>
              </mc:Choice>
              <mc:Fallback>
                <p:oleObj name="think-cell Slide" r:id="rId11"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2"/>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lang="nl-NL" sz="2857" kern="0" dirty="0">
                <a:solidFill>
                  <a:srgbClr val="003C54"/>
                </a:solidFill>
                <a:latin typeface="Andada"/>
                <a:ea typeface="ＭＳ Ｐゴシック"/>
              </a:rPr>
              <a:t>Agenda voor vandaag</a:t>
            </a:r>
            <a:endParaRPr kumimoji="0" lang="nl-NL" sz="2857" b="0" i="0" u="none" strike="noStrike" kern="0" cap="none" spc="0" normalizeH="0" baseline="0" noProof="0" dirty="0">
              <a:ln>
                <a:noFill/>
              </a:ln>
              <a:solidFill>
                <a:srgbClr val="003C54"/>
              </a:solidFill>
              <a:effectLst/>
              <a:uLnTx/>
              <a:uFillTx/>
              <a:latin typeface="Andada"/>
              <a:ea typeface="ＭＳ Ｐゴシック"/>
              <a:cs typeface="+mj-cs"/>
              <a:sym typeface="+mj-lt"/>
            </a:endParaRP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en-US" sz="1837" b="1" i="0" u="none" strike="noStrike" kern="1200" cap="none" spc="0" normalizeH="0" baseline="0" noProof="0" dirty="0">
                <a:ln>
                  <a:noFill/>
                </a:ln>
                <a:solidFill>
                  <a:srgbClr val="FFFFFF"/>
                </a:solidFill>
                <a:effectLst/>
                <a:uLnTx/>
                <a:uFillTx/>
                <a:latin typeface="Arial"/>
                <a:ea typeface="ＭＳ Ｐゴシック"/>
                <a:cs typeface="+mn-cs"/>
              </a:rPr>
              <a:t>Korte </a:t>
            </a:r>
            <a:r>
              <a:rPr kumimoji="0" lang="en-US" sz="1837" b="1" i="0" u="none" strike="noStrike" kern="1200" cap="none" spc="0" normalizeH="0" baseline="0" noProof="0" dirty="0" err="1">
                <a:ln>
                  <a:noFill/>
                </a:ln>
                <a:solidFill>
                  <a:srgbClr val="FFFFFF"/>
                </a:solidFill>
                <a:effectLst/>
                <a:uLnTx/>
                <a:uFillTx/>
                <a:latin typeface="Arial"/>
                <a:ea typeface="ＭＳ Ｐゴシック"/>
                <a:cs typeface="+mn-cs"/>
              </a:rPr>
              <a:t>introductie</a:t>
            </a:r>
            <a:r>
              <a:rPr kumimoji="0" lang="en-US" sz="1837" b="1" i="0" u="none" strike="noStrike" kern="1200" cap="none" spc="0" normalizeH="0" baseline="0" noProof="0" dirty="0">
                <a:ln>
                  <a:noFill/>
                </a:ln>
                <a:solidFill>
                  <a:srgbClr val="FFFFFF"/>
                </a:solidFill>
                <a:effectLst/>
                <a:uLnTx/>
                <a:uFillTx/>
                <a:latin typeface="Arial"/>
                <a:ea typeface="ＭＳ Ｐゴシック"/>
                <a:cs typeface="+mn-cs"/>
              </a:rPr>
              <a:t> </a:t>
            </a:r>
            <a:r>
              <a:rPr kumimoji="0" lang="en-US" sz="1837" b="1" i="0" u="none" strike="noStrike" kern="1200" cap="none" spc="0" normalizeH="0" baseline="0" noProof="0" dirty="0" err="1">
                <a:ln>
                  <a:noFill/>
                </a:ln>
                <a:solidFill>
                  <a:srgbClr val="FFFFFF"/>
                </a:solidFill>
                <a:effectLst/>
                <a:uLnTx/>
                <a:uFillTx/>
                <a:latin typeface="Arial"/>
                <a:ea typeface="ＭＳ Ｐゴシック"/>
                <a:cs typeface="+mn-cs"/>
              </a:rPr>
              <a:t>en</a:t>
            </a:r>
            <a:r>
              <a:rPr kumimoji="0" lang="en-US" sz="1837" b="1" i="0" u="none" strike="noStrike" kern="1200" cap="none" spc="0" normalizeH="0" baseline="0" noProof="0" dirty="0">
                <a:ln>
                  <a:noFill/>
                </a:ln>
                <a:solidFill>
                  <a:srgbClr val="FFFFFF"/>
                </a:solidFill>
                <a:effectLst/>
                <a:uLnTx/>
                <a:uFillTx/>
                <a:latin typeface="Arial"/>
                <a:ea typeface="ＭＳ Ｐゴシック"/>
                <a:cs typeface="+mn-cs"/>
              </a:rPr>
              <a:t> </a:t>
            </a:r>
            <a:r>
              <a:rPr kumimoji="0" lang="en-US" sz="1837" b="1" i="0" u="none" strike="noStrike" kern="1200" cap="none" spc="0" normalizeH="0" baseline="0" noProof="0" dirty="0" err="1">
                <a:ln>
                  <a:noFill/>
                </a:ln>
                <a:solidFill>
                  <a:srgbClr val="FFFFFF"/>
                </a:solidFill>
                <a:effectLst/>
                <a:uLnTx/>
                <a:uFillTx/>
                <a:latin typeface="Arial"/>
                <a:ea typeface="ＭＳ Ｐゴシック"/>
                <a:cs typeface="+mn-cs"/>
              </a:rPr>
              <a:t>eventueel</a:t>
            </a:r>
            <a:r>
              <a:rPr kumimoji="0" lang="en-US" sz="1837" b="1" i="0" u="none" strike="noStrike" kern="1200" cap="none" spc="0" normalizeH="0" baseline="0" noProof="0" dirty="0">
                <a:ln>
                  <a:noFill/>
                </a:ln>
                <a:solidFill>
                  <a:srgbClr val="FFFFFF"/>
                </a:solidFill>
                <a:effectLst/>
                <a:uLnTx/>
                <a:uFillTx/>
                <a:latin typeface="Arial"/>
                <a:ea typeface="ＭＳ Ｐゴシック"/>
                <a:cs typeface="+mn-cs"/>
              </a:rPr>
              <a:t> </a:t>
            </a:r>
            <a:r>
              <a:rPr kumimoji="0" lang="en-US" sz="1837" b="1" i="0" u="none" strike="noStrike" kern="1200" cap="none" spc="0" normalizeH="0" baseline="0" noProof="0" dirty="0" err="1">
                <a:ln>
                  <a:noFill/>
                </a:ln>
                <a:solidFill>
                  <a:srgbClr val="FFFFFF"/>
                </a:solidFill>
                <a:effectLst/>
                <a:uLnTx/>
                <a:uFillTx/>
                <a:latin typeface="Arial"/>
                <a:ea typeface="ＭＳ Ｐゴシック"/>
                <a:cs typeface="+mn-cs"/>
              </a:rPr>
              <a:t>voorstelronde</a:t>
            </a:r>
            <a:endParaRPr kumimoji="0" lang="en-US" sz="1837" b="1"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001373"/>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Terugblik</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Hoe past het Goede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Gesprek</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in het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totale</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HPP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traject</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wat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zij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de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ervaring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tot nu toe?</a:t>
            </a: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6" y="2783530"/>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lvl="0">
              <a:buClr>
                <a:srgbClr val="FFFFFF"/>
              </a:buClr>
              <a:defRPr/>
            </a:pPr>
            <a:r>
              <a:rPr lang="en-US" sz="1837" b="0" dirty="0" err="1">
                <a:solidFill>
                  <a:schemeClr val="tx1"/>
                </a:solidFill>
              </a:rPr>
              <a:t>Uitgangspunten</a:t>
            </a:r>
            <a:r>
              <a:rPr lang="en-US" sz="1837" b="0" dirty="0">
                <a:solidFill>
                  <a:schemeClr val="tx1"/>
                </a:solidFill>
              </a:rPr>
              <a:t> </a:t>
            </a:r>
            <a:r>
              <a:rPr lang="en-US" sz="1837" b="0" dirty="0" err="1">
                <a:solidFill>
                  <a:schemeClr val="tx1"/>
                </a:solidFill>
              </a:rPr>
              <a:t>bepalen</a:t>
            </a:r>
            <a:r>
              <a:rPr lang="en-US" sz="1837" b="0" dirty="0">
                <a:solidFill>
                  <a:schemeClr val="tx1"/>
                </a:solidFill>
              </a:rPr>
              <a:t> </a:t>
            </a:r>
            <a:r>
              <a:rPr lang="en-US" sz="1837" b="0" dirty="0" err="1">
                <a:solidFill>
                  <a:schemeClr val="tx1"/>
                </a:solidFill>
              </a:rPr>
              <a:t>voor</a:t>
            </a:r>
            <a:r>
              <a:rPr lang="en-US" sz="1837" b="0" dirty="0">
                <a:solidFill>
                  <a:schemeClr val="tx1"/>
                </a:solidFill>
              </a:rPr>
              <a:t> de </a:t>
            </a:r>
            <a:r>
              <a:rPr lang="en-US" sz="1837" b="0" dirty="0" err="1">
                <a:solidFill>
                  <a:schemeClr val="tx1"/>
                </a:solidFill>
              </a:rPr>
              <a:t>verdere</a:t>
            </a:r>
            <a:r>
              <a:rPr lang="en-US" sz="1837" b="0" dirty="0">
                <a:solidFill>
                  <a:schemeClr val="tx1"/>
                </a:solidFill>
              </a:rPr>
              <a:t> </a:t>
            </a:r>
            <a:r>
              <a:rPr lang="en-US" sz="1837" b="0" dirty="0" err="1">
                <a:solidFill>
                  <a:schemeClr val="tx1"/>
                </a:solidFill>
              </a:rPr>
              <a:t>uitrol</a:t>
            </a:r>
            <a:r>
              <a:rPr lang="en-US" sz="1837" b="0" dirty="0">
                <a:solidFill>
                  <a:schemeClr val="tx1"/>
                </a:solidFill>
              </a:rPr>
              <a:t> van het Goede </a:t>
            </a:r>
            <a:r>
              <a:rPr lang="en-US" sz="1837" b="0" dirty="0" err="1">
                <a:solidFill>
                  <a:schemeClr val="tx1"/>
                </a:solidFill>
              </a:rPr>
              <a:t>Gesprek</a:t>
            </a:r>
            <a:r>
              <a:rPr lang="en-US" sz="1837" b="0" dirty="0">
                <a:solidFill>
                  <a:schemeClr val="tx1"/>
                </a:solidFill>
              </a:rPr>
              <a:t> </a:t>
            </a:r>
            <a:r>
              <a:rPr lang="en-US" sz="1837" b="0" dirty="0" err="1">
                <a:solidFill>
                  <a:schemeClr val="tx1"/>
                </a:solidFill>
              </a:rPr>
              <a:t>bij</a:t>
            </a:r>
            <a:r>
              <a:rPr lang="en-US" sz="1837" b="0" dirty="0">
                <a:solidFill>
                  <a:schemeClr val="tx1"/>
                </a:solidFill>
              </a:rPr>
              <a:t> </a:t>
            </a:r>
            <a:r>
              <a:rPr lang="nl-NL" sz="1837" b="0" dirty="0">
                <a:solidFill>
                  <a:schemeClr val="tx1"/>
                </a:solidFill>
              </a:rPr>
              <a:t>[instelling]</a:t>
            </a:r>
            <a:endParaRPr lang="en-US" sz="1837" b="0" dirty="0">
              <a:solidFill>
                <a:schemeClr val="tx1"/>
              </a:solidFill>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6" y="3565687"/>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Vervolgstapp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bepal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p>
        </p:txBody>
      </p:sp>
    </p:spTree>
    <p:custDataLst>
      <p:tags r:id="rId2"/>
    </p:custDataLst>
    <p:extLst>
      <p:ext uri="{BB962C8B-B14F-4D97-AF65-F5344CB8AC3E}">
        <p14:creationId xmlns:p14="http://schemas.microsoft.com/office/powerpoint/2010/main" val="32414041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656A55-1C9E-4E45-AE11-E939B40ED36A}"/>
              </a:ext>
            </a:extLst>
          </p:cNvPr>
          <p:cNvSpPr>
            <a:spLocks noGrp="1"/>
          </p:cNvSpPr>
          <p:nvPr>
            <p:ph type="title"/>
          </p:nvPr>
        </p:nvSpPr>
        <p:spPr/>
        <p:txBody>
          <a:bodyPr/>
          <a:lstStyle/>
          <a:p>
            <a:r>
              <a:rPr lang="nl-NL" dirty="0"/>
              <a:t>Het oplossingspakket Goed Gesprek kan op 2 manieren benaderd worden</a:t>
            </a:r>
          </a:p>
        </p:txBody>
      </p:sp>
      <p:grpSp>
        <p:nvGrpSpPr>
          <p:cNvPr id="4" name="Groep 3">
            <a:extLst>
              <a:ext uri="{FF2B5EF4-FFF2-40B4-BE49-F238E27FC236}">
                <a16:creationId xmlns:a16="http://schemas.microsoft.com/office/drawing/2014/main" id="{D78BD614-0DD1-4E3A-B0F4-FBB00BDF547B}"/>
              </a:ext>
            </a:extLst>
          </p:cNvPr>
          <p:cNvGrpSpPr/>
          <p:nvPr/>
        </p:nvGrpSpPr>
        <p:grpSpPr>
          <a:xfrm>
            <a:off x="2224068" y="3873038"/>
            <a:ext cx="8201478" cy="1729697"/>
            <a:chOff x="5623958" y="2364877"/>
            <a:chExt cx="5463478" cy="1470122"/>
          </a:xfrm>
        </p:grpSpPr>
        <p:sp>
          <p:nvSpPr>
            <p:cNvPr id="8" name="Rechthoek 7">
              <a:extLst>
                <a:ext uri="{FF2B5EF4-FFF2-40B4-BE49-F238E27FC236}">
                  <a16:creationId xmlns:a16="http://schemas.microsoft.com/office/drawing/2014/main" id="{99E948EF-F809-4711-A48A-E361956D988F}"/>
                </a:ext>
              </a:extLst>
            </p:cNvPr>
            <p:cNvSpPr/>
            <p:nvPr/>
          </p:nvSpPr>
          <p:spPr>
            <a:xfrm>
              <a:off x="5623958" y="2364877"/>
              <a:ext cx="5463478" cy="1470122"/>
            </a:xfrm>
            <a:prstGeom prst="rect">
              <a:avLst/>
            </a:prstGeom>
            <a:solidFill>
              <a:schemeClr val="bg2"/>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err="1">
                <a:solidFill>
                  <a:schemeClr val="tx1"/>
                </a:solidFill>
              </a:endParaRPr>
            </a:p>
          </p:txBody>
        </p:sp>
        <p:sp>
          <p:nvSpPr>
            <p:cNvPr id="12" name="Tekstvak 11">
              <a:extLst>
                <a:ext uri="{FF2B5EF4-FFF2-40B4-BE49-F238E27FC236}">
                  <a16:creationId xmlns:a16="http://schemas.microsoft.com/office/drawing/2014/main" id="{D090A5D7-556E-494B-B0CA-9F472670C337}"/>
                </a:ext>
              </a:extLst>
            </p:cNvPr>
            <p:cNvSpPr txBox="1"/>
            <p:nvPr/>
          </p:nvSpPr>
          <p:spPr>
            <a:xfrm>
              <a:off x="5770739" y="2472472"/>
              <a:ext cx="4913687" cy="1242547"/>
            </a:xfrm>
            <a:prstGeom prst="rect">
              <a:avLst/>
            </a:prstGeom>
            <a:solidFill>
              <a:schemeClr val="bg2"/>
            </a:solidFill>
            <a:ln w="9525">
              <a:noFill/>
              <a:miter lim="800000"/>
              <a:headEnd/>
              <a:tailEnd/>
            </a:ln>
            <a:effectLst/>
          </p:spPr>
          <p:txBody>
            <a:bodyPr vert="horz" wrap="square" lIns="0" tIns="0" rIns="0" bIns="0" numCol="1" rtlCol="0" anchor="t" anchorCtr="0" compatLnSpc="1">
              <a:prstTxWarp prst="textNoShape">
                <a:avLst/>
              </a:prstTxWarp>
              <a:spAutoFit/>
            </a:bodyPr>
            <a:lstStyle/>
            <a:p>
              <a:r>
                <a:rPr lang="nl-NL"/>
                <a:t>Op (middel) lange termijn: </a:t>
              </a:r>
            </a:p>
            <a:p>
              <a:pPr marL="457200" indent="-457200">
                <a:buAutoNum type="alphaLcPeriod"/>
              </a:pPr>
              <a:r>
                <a:rPr lang="nl-NL"/>
                <a:t>Contractgrootte expliciet onderwerp maken van bestaande jaargesprekken</a:t>
              </a:r>
              <a:endParaRPr lang="nl-NL">
                <a:cs typeface="Arial"/>
              </a:endParaRPr>
            </a:p>
            <a:p>
              <a:pPr marL="457200" indent="-457200">
                <a:buAutoNum type="alphaLcPeriod"/>
              </a:pPr>
              <a:r>
                <a:rPr lang="nl-NL">
                  <a:ea typeface="+mn-lt"/>
                  <a:cs typeface="+mn-lt"/>
                </a:rPr>
                <a:t>Onderdeel van HR visie/beleid maken: Gesprekken op cruciale momenten levensfase momenten</a:t>
              </a:r>
              <a:endParaRPr lang="nl-NL">
                <a:cs typeface="Arial"/>
              </a:endParaRPr>
            </a:p>
          </p:txBody>
        </p:sp>
      </p:grpSp>
      <p:grpSp>
        <p:nvGrpSpPr>
          <p:cNvPr id="5" name="Groep 4">
            <a:extLst>
              <a:ext uri="{FF2B5EF4-FFF2-40B4-BE49-F238E27FC236}">
                <a16:creationId xmlns:a16="http://schemas.microsoft.com/office/drawing/2014/main" id="{69804C09-59FD-45F9-A582-A14D3427ECB6}"/>
              </a:ext>
            </a:extLst>
          </p:cNvPr>
          <p:cNvGrpSpPr/>
          <p:nvPr/>
        </p:nvGrpSpPr>
        <p:grpSpPr>
          <a:xfrm>
            <a:off x="2224069" y="2057507"/>
            <a:ext cx="8198720" cy="1064240"/>
            <a:chOff x="5623957" y="3894176"/>
            <a:chExt cx="5463477" cy="1113086"/>
          </a:xfrm>
        </p:grpSpPr>
        <p:sp>
          <p:nvSpPr>
            <p:cNvPr id="11" name="Rechthoek 10">
              <a:extLst>
                <a:ext uri="{FF2B5EF4-FFF2-40B4-BE49-F238E27FC236}">
                  <a16:creationId xmlns:a16="http://schemas.microsoft.com/office/drawing/2014/main" id="{B16D1658-0891-44A3-9BEA-008F93DCE445}"/>
                </a:ext>
              </a:extLst>
            </p:cNvPr>
            <p:cNvSpPr/>
            <p:nvPr/>
          </p:nvSpPr>
          <p:spPr>
            <a:xfrm>
              <a:off x="5623957" y="3894176"/>
              <a:ext cx="5463477" cy="1113086"/>
            </a:xfrm>
            <a:prstGeom prst="rect">
              <a:avLst/>
            </a:prstGeom>
            <a:solidFill>
              <a:schemeClr val="bg2"/>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err="1">
                <a:solidFill>
                  <a:schemeClr val="tx1"/>
                </a:solidFill>
              </a:endParaRPr>
            </a:p>
          </p:txBody>
        </p:sp>
        <p:sp>
          <p:nvSpPr>
            <p:cNvPr id="13" name="Tekstvak 12">
              <a:extLst>
                <a:ext uri="{FF2B5EF4-FFF2-40B4-BE49-F238E27FC236}">
                  <a16:creationId xmlns:a16="http://schemas.microsoft.com/office/drawing/2014/main" id="{CBF5B980-D6C6-49C4-9DFE-A980ED2A79DF}"/>
                </a:ext>
              </a:extLst>
            </p:cNvPr>
            <p:cNvSpPr txBox="1"/>
            <p:nvPr/>
          </p:nvSpPr>
          <p:spPr>
            <a:xfrm>
              <a:off x="5790079" y="4130099"/>
              <a:ext cx="5297355" cy="877163"/>
            </a:xfrm>
            <a:prstGeom prst="rect">
              <a:avLst/>
            </a:prstGeom>
            <a:solidFill>
              <a:schemeClr val="bg2"/>
            </a:solidFill>
            <a:ln w="9525">
              <a:noFill/>
              <a:miter lim="800000"/>
              <a:headEnd/>
              <a:tailEnd/>
            </a:ln>
            <a:effectLst/>
          </p:spPr>
          <p:txBody>
            <a:bodyPr vert="horz" wrap="square" lIns="0" tIns="0" rIns="0" bIns="0" numCol="1" rtlCol="0" anchor="t" anchorCtr="0" compatLnSpc="1">
              <a:prstTxWarp prst="textNoShape">
                <a:avLst/>
              </a:prstTxWarp>
              <a:spAutoFit/>
            </a:bodyPr>
            <a:lstStyle/>
            <a:p>
              <a:r>
                <a:rPr lang="nl-NL"/>
                <a:t>Op korte termijn: een extra gesprek om het bestaande potentieel te benutten</a:t>
              </a:r>
            </a:p>
            <a:p>
              <a:endParaRPr lang="nl-NL"/>
            </a:p>
          </p:txBody>
        </p:sp>
      </p:grpSp>
      <p:sp>
        <p:nvSpPr>
          <p:cNvPr id="16" name="TitleTrackerAlpha 4">
            <a:extLst>
              <a:ext uri="{FF2B5EF4-FFF2-40B4-BE49-F238E27FC236}">
                <a16:creationId xmlns:a16="http://schemas.microsoft.com/office/drawing/2014/main" id="{8D06A7E0-30BB-4852-ADEE-245B2215ABB6}"/>
              </a:ext>
            </a:extLst>
          </p:cNvPr>
          <p:cNvSpPr/>
          <p:nvPr>
            <p:custDataLst>
              <p:tags r:id="rId1"/>
            </p:custDataLst>
          </p:nvPr>
        </p:nvSpPr>
        <p:spPr>
          <a:xfrm>
            <a:off x="1587624" y="2340694"/>
            <a:ext cx="435675" cy="435675"/>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14288" marR="0" lvl="0" indent="0" algn="ctr" defTabSz="914400" rtl="0" eaLnBrk="1" fontAlgn="auto" latinLnBrk="0" hangingPunct="1">
              <a:lnSpc>
                <a:spcPct val="100000"/>
              </a:lnSpc>
              <a:spcBef>
                <a:spcPts val="0"/>
              </a:spcBef>
              <a:spcAft>
                <a:spcPts val="0"/>
              </a:spcAft>
              <a:buClr>
                <a:srgbClr val="FFFFFF"/>
              </a:buClr>
              <a:buSzTx/>
              <a:buFontTx/>
              <a:buNone/>
              <a:tabLst/>
              <a:defRPr/>
            </a:pPr>
            <a:r>
              <a:rPr lang="nl-NL" sz="2857" b="1">
                <a:solidFill>
                  <a:srgbClr val="FFFFFF"/>
                </a:solidFill>
                <a:latin typeface="Andada"/>
                <a:ea typeface="ＭＳ Ｐゴシック"/>
              </a:rPr>
              <a:t>1</a:t>
            </a:r>
            <a:endParaRPr kumimoji="0" lang="nl-NL" sz="2857" b="1" i="0" u="none" strike="noStrike" kern="1200" cap="none" spc="0" normalizeH="0" baseline="0" noProof="0">
              <a:ln>
                <a:noFill/>
              </a:ln>
              <a:solidFill>
                <a:srgbClr val="FFFFFF"/>
              </a:solidFill>
              <a:effectLst/>
              <a:uLnTx/>
              <a:uFillTx/>
              <a:latin typeface="Andada"/>
              <a:ea typeface="ＭＳ Ｐゴシック"/>
              <a:cs typeface="+mn-cs"/>
            </a:endParaRPr>
          </a:p>
        </p:txBody>
      </p:sp>
      <p:sp>
        <p:nvSpPr>
          <p:cNvPr id="17" name="TitleTrackerAlpha 4">
            <a:extLst>
              <a:ext uri="{FF2B5EF4-FFF2-40B4-BE49-F238E27FC236}">
                <a16:creationId xmlns:a16="http://schemas.microsoft.com/office/drawing/2014/main" id="{D266311F-AB9F-4700-88AA-9AA89BA0A62B}"/>
              </a:ext>
            </a:extLst>
          </p:cNvPr>
          <p:cNvSpPr/>
          <p:nvPr>
            <p:custDataLst>
              <p:tags r:id="rId2"/>
            </p:custDataLst>
          </p:nvPr>
        </p:nvSpPr>
        <p:spPr>
          <a:xfrm>
            <a:off x="1591600" y="3980550"/>
            <a:ext cx="435675" cy="435675"/>
          </a:xfrm>
          <a:prstGeom prst="ellipse">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14288"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nl-NL" sz="2857" b="1" i="0" u="none" strike="noStrike" kern="1200" cap="none" spc="0" normalizeH="0" baseline="0" noProof="0">
                <a:ln>
                  <a:noFill/>
                </a:ln>
                <a:solidFill>
                  <a:srgbClr val="FFFFFF"/>
                </a:solidFill>
                <a:effectLst/>
                <a:uLnTx/>
                <a:uFillTx/>
                <a:latin typeface="Andada"/>
                <a:ea typeface="ＭＳ Ｐゴシック"/>
                <a:cs typeface="+mn-cs"/>
              </a:rPr>
              <a:t>2</a:t>
            </a:r>
          </a:p>
        </p:txBody>
      </p:sp>
    </p:spTree>
    <p:extLst>
      <p:ext uri="{BB962C8B-B14F-4D97-AF65-F5344CB8AC3E}">
        <p14:creationId xmlns:p14="http://schemas.microsoft.com/office/powerpoint/2010/main" val="576766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11" imgW="346" imgH="346" progId="TCLayout.ActiveDocument.1">
                  <p:embed/>
                </p:oleObj>
              </mc:Choice>
              <mc:Fallback>
                <p:oleObj name="think-cell Slide" r:id="rId11"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2"/>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lang="nl-NL" sz="2857" kern="0" dirty="0">
                <a:solidFill>
                  <a:srgbClr val="003C54"/>
                </a:solidFill>
                <a:latin typeface="Andada"/>
                <a:ea typeface="ＭＳ Ｐゴシック"/>
              </a:rPr>
              <a:t>Agenda voor vandaag</a:t>
            </a:r>
            <a:endParaRPr kumimoji="0" lang="nl-NL" sz="2857" b="0" i="0" u="none" strike="noStrike" kern="0" cap="none" spc="0" normalizeH="0" baseline="0" noProof="0" dirty="0">
              <a:ln>
                <a:noFill/>
              </a:ln>
              <a:solidFill>
                <a:srgbClr val="003C54"/>
              </a:solidFill>
              <a:effectLst/>
              <a:uLnTx/>
              <a:uFillTx/>
              <a:latin typeface="Andada"/>
              <a:ea typeface="ＭＳ Ｐゴシック"/>
              <a:cs typeface="+mj-cs"/>
              <a:sym typeface="+mj-lt"/>
            </a:endParaRP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Korte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introductie</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en</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eventueel</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voorstelronde</a:t>
            </a:r>
            <a:endParaRPr kumimoji="0" lang="en-US" sz="1837" b="0" i="0" u="none" strike="noStrike" kern="1200" cap="none" spc="0" normalizeH="0" baseline="0" noProof="0" dirty="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001373"/>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Terugblik</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Hoe past het Goede </a:t>
            </a: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Gesprek</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in het </a:t>
            </a: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totale</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HPP </a:t>
            </a: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traject</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a:t>
            </a: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en</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wat </a:t>
            </a: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zijn</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de </a:t>
            </a:r>
            <a:r>
              <a:rPr kumimoji="0" lang="en-US" sz="1600" u="none" strike="noStrike" kern="1200" cap="none" spc="0" normalizeH="0" baseline="0" noProof="0" dirty="0" err="1">
                <a:ln>
                  <a:noFill/>
                </a:ln>
                <a:solidFill>
                  <a:schemeClr val="bg1"/>
                </a:solidFill>
                <a:effectLst/>
                <a:uLnTx/>
                <a:uFillTx/>
                <a:latin typeface="Arial"/>
                <a:ea typeface="ＭＳ Ｐゴシック"/>
                <a:cs typeface="+mn-cs"/>
              </a:rPr>
              <a:t>ervaringen</a:t>
            </a:r>
            <a:r>
              <a:rPr kumimoji="0" lang="en-US" sz="1600" u="none" strike="noStrike" kern="1200" cap="none" spc="0" normalizeH="0" baseline="0" noProof="0" dirty="0">
                <a:ln>
                  <a:noFill/>
                </a:ln>
                <a:solidFill>
                  <a:schemeClr val="bg1"/>
                </a:solidFill>
                <a:effectLst/>
                <a:uLnTx/>
                <a:uFillTx/>
                <a:latin typeface="Arial"/>
                <a:ea typeface="ＭＳ Ｐゴシック"/>
                <a:cs typeface="+mn-cs"/>
              </a:rPr>
              <a:t> tot nu toe?</a:t>
            </a: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6" y="2783530"/>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lvl="0">
              <a:buClr>
                <a:srgbClr val="FFFFFF"/>
              </a:buClr>
              <a:defRPr/>
            </a:pPr>
            <a:r>
              <a:rPr lang="en-US" sz="1837" b="0" dirty="0" err="1">
                <a:solidFill>
                  <a:schemeClr val="tx1"/>
                </a:solidFill>
              </a:rPr>
              <a:t>Uitgangspunten</a:t>
            </a:r>
            <a:r>
              <a:rPr lang="en-US" sz="1837" b="0" dirty="0">
                <a:solidFill>
                  <a:schemeClr val="tx1"/>
                </a:solidFill>
              </a:rPr>
              <a:t> </a:t>
            </a:r>
            <a:r>
              <a:rPr lang="en-US" sz="1837" b="0" dirty="0" err="1">
                <a:solidFill>
                  <a:schemeClr val="tx1"/>
                </a:solidFill>
              </a:rPr>
              <a:t>bepalen</a:t>
            </a:r>
            <a:r>
              <a:rPr lang="en-US" sz="1837" b="0" dirty="0">
                <a:solidFill>
                  <a:schemeClr val="tx1"/>
                </a:solidFill>
              </a:rPr>
              <a:t> </a:t>
            </a:r>
            <a:r>
              <a:rPr lang="en-US" sz="1837" b="0" dirty="0" err="1">
                <a:solidFill>
                  <a:schemeClr val="tx1"/>
                </a:solidFill>
              </a:rPr>
              <a:t>voor</a:t>
            </a:r>
            <a:r>
              <a:rPr lang="en-US" sz="1837" b="0" dirty="0">
                <a:solidFill>
                  <a:schemeClr val="tx1"/>
                </a:solidFill>
              </a:rPr>
              <a:t> de </a:t>
            </a:r>
            <a:r>
              <a:rPr lang="en-US" sz="1837" b="0" dirty="0" err="1">
                <a:solidFill>
                  <a:schemeClr val="tx1"/>
                </a:solidFill>
              </a:rPr>
              <a:t>verdere</a:t>
            </a:r>
            <a:r>
              <a:rPr lang="en-US" sz="1837" b="0" dirty="0">
                <a:solidFill>
                  <a:schemeClr val="tx1"/>
                </a:solidFill>
              </a:rPr>
              <a:t> </a:t>
            </a:r>
            <a:r>
              <a:rPr lang="en-US" sz="1837" b="0" dirty="0" err="1">
                <a:solidFill>
                  <a:schemeClr val="tx1"/>
                </a:solidFill>
              </a:rPr>
              <a:t>uitrol</a:t>
            </a:r>
            <a:r>
              <a:rPr lang="en-US" sz="1837" b="0" dirty="0">
                <a:solidFill>
                  <a:schemeClr val="tx1"/>
                </a:solidFill>
              </a:rPr>
              <a:t> van het Goede </a:t>
            </a:r>
            <a:r>
              <a:rPr lang="en-US" sz="1837" b="0" dirty="0" err="1">
                <a:solidFill>
                  <a:schemeClr val="tx1"/>
                </a:solidFill>
              </a:rPr>
              <a:t>Gesprek</a:t>
            </a:r>
            <a:r>
              <a:rPr lang="en-US" sz="1837" b="0" dirty="0">
                <a:solidFill>
                  <a:schemeClr val="tx1"/>
                </a:solidFill>
              </a:rPr>
              <a:t> </a:t>
            </a:r>
            <a:r>
              <a:rPr lang="en-US" sz="1837" b="0" dirty="0" err="1">
                <a:solidFill>
                  <a:schemeClr val="tx1"/>
                </a:solidFill>
              </a:rPr>
              <a:t>bij</a:t>
            </a:r>
            <a:r>
              <a:rPr lang="en-US" sz="1837" b="0" dirty="0">
                <a:solidFill>
                  <a:schemeClr val="tx1"/>
                </a:solidFill>
              </a:rPr>
              <a:t> </a:t>
            </a:r>
            <a:r>
              <a:rPr lang="nl-NL" sz="1837" b="0" dirty="0">
                <a:solidFill>
                  <a:schemeClr val="tx1"/>
                </a:solidFill>
              </a:rPr>
              <a:t>[instelling]</a:t>
            </a:r>
            <a:endParaRPr lang="en-US" sz="1837" b="0" dirty="0">
              <a:solidFill>
                <a:schemeClr val="tx1"/>
              </a:solidFill>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6" y="3565687"/>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Vervolgstapp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bepal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p>
        </p:txBody>
      </p:sp>
    </p:spTree>
    <p:custDataLst>
      <p:tags r:id="rId2"/>
    </p:custDataLst>
    <p:extLst>
      <p:ext uri="{BB962C8B-B14F-4D97-AF65-F5344CB8AC3E}">
        <p14:creationId xmlns:p14="http://schemas.microsoft.com/office/powerpoint/2010/main" val="2200524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EC8F-A834-4717-87C4-5DDD6F6884F3}"/>
              </a:ext>
            </a:extLst>
          </p:cNvPr>
          <p:cNvGraphicFramePr>
            <a:graphicFrameLocks noChangeAspect="1"/>
          </p:cNvGraphicFramePr>
          <p:nvPr>
            <p:custDataLst>
              <p:tags r:id="rId3"/>
            </p:custDataLst>
          </p:nvPr>
        </p:nvGraphicFramePr>
        <p:xfrm>
          <a:off x="1801" y="1672"/>
          <a:ext cx="1620" cy="1620"/>
        </p:xfrm>
        <a:graphic>
          <a:graphicData uri="http://schemas.openxmlformats.org/presentationml/2006/ole">
            <mc:AlternateContent xmlns:mc="http://schemas.openxmlformats.org/markup-compatibility/2006">
              <mc:Choice xmlns:v="urn:schemas-microsoft-com:vml" Requires="v">
                <p:oleObj spid="_x0000_s112643" name="think-cell Slide" r:id="rId11" imgW="395" imgH="394" progId="TCLayout.ActiveDocument.1">
                  <p:embed/>
                </p:oleObj>
              </mc:Choice>
              <mc:Fallback>
                <p:oleObj name="think-cell Slide" r:id="rId11" imgW="395" imgH="394" progId="TCLayout.ActiveDocument.1">
                  <p:embed/>
                  <p:pic>
                    <p:nvPicPr>
                      <p:cNvPr id="4" name="Object 3" hidden="1">
                        <a:extLst>
                          <a:ext uri="{FF2B5EF4-FFF2-40B4-BE49-F238E27FC236}">
                            <a16:creationId xmlns:a16="http://schemas.microsoft.com/office/drawing/2014/main" id="{680AEC8F-A834-4717-87C4-5DDD6F6884F3}"/>
                          </a:ext>
                        </a:extLst>
                      </p:cNvPr>
                      <p:cNvPicPr/>
                      <p:nvPr/>
                    </p:nvPicPr>
                    <p:blipFill>
                      <a:blip r:embed="rId12"/>
                      <a:stretch>
                        <a:fillRect/>
                      </a:stretch>
                    </p:blipFill>
                    <p:spPr>
                      <a:xfrm>
                        <a:off x="1801" y="1672"/>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69D0B3-B757-4EEE-8955-EF084ADF47B7}"/>
              </a:ext>
            </a:extLst>
          </p:cNvPr>
          <p:cNvSpPr/>
          <p:nvPr>
            <p:custDataLst>
              <p:tags r:id="rId4"/>
            </p:custDataLst>
          </p:nvPr>
        </p:nvSpPr>
        <p:spPr>
          <a:xfrm>
            <a:off x="181" y="52"/>
            <a:ext cx="161971" cy="16197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58">
              <a:defRPr/>
            </a:pPr>
            <a:endParaRPr lang="en-US" sz="2857" dirty="0">
              <a:solidFill>
                <a:srgbClr val="000000"/>
              </a:solidFill>
              <a:latin typeface="Andada" panose="02000000000000000000" pitchFamily="50" charset="0"/>
              <a:ea typeface="ＭＳ Ｐゴシック" panose="020B0600070205080204" pitchFamily="34" charset="-128"/>
              <a:sym typeface="Andada" panose="02000000000000000000" pitchFamily="50" charset="0"/>
            </a:endParaRPr>
          </a:p>
        </p:txBody>
      </p:sp>
      <p:sp>
        <p:nvSpPr>
          <p:cNvPr id="2" name="Title 1">
            <a:extLst>
              <a:ext uri="{FF2B5EF4-FFF2-40B4-BE49-F238E27FC236}">
                <a16:creationId xmlns:a16="http://schemas.microsoft.com/office/drawing/2014/main" id="{BF59F7B8-AC88-4996-BBA6-744009F20A12}"/>
              </a:ext>
            </a:extLst>
          </p:cNvPr>
          <p:cNvSpPr>
            <a:spLocks noGrp="1"/>
          </p:cNvSpPr>
          <p:nvPr>
            <p:ph type="title"/>
          </p:nvPr>
        </p:nvSpPr>
        <p:spPr bwMode="gray">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defTabSz="913328">
              <a:tabLst>
                <a:tab pos="453425" algn="l"/>
              </a:tabLst>
            </a:pPr>
            <a:r>
              <a:rPr lang="en-US" dirty="0">
                <a:solidFill>
                  <a:srgbClr val="003C54"/>
                </a:solidFill>
              </a:rPr>
              <a:t>Het </a:t>
            </a:r>
            <a:r>
              <a:rPr lang="en-US" dirty="0" err="1">
                <a:solidFill>
                  <a:srgbClr val="003C54"/>
                </a:solidFill>
              </a:rPr>
              <a:t>Potentieel</a:t>
            </a:r>
            <a:r>
              <a:rPr lang="en-US" dirty="0">
                <a:solidFill>
                  <a:srgbClr val="003C54"/>
                </a:solidFill>
              </a:rPr>
              <a:t> </a:t>
            </a:r>
            <a:r>
              <a:rPr lang="en-US" dirty="0" err="1">
                <a:solidFill>
                  <a:srgbClr val="003C54"/>
                </a:solidFill>
              </a:rPr>
              <a:t>Pakken</a:t>
            </a:r>
            <a:r>
              <a:rPr lang="en-US" dirty="0">
                <a:solidFill>
                  <a:srgbClr val="003C54"/>
                </a:solidFill>
              </a:rPr>
              <a:t> </a:t>
            </a:r>
            <a:r>
              <a:rPr lang="en-US" dirty="0" err="1">
                <a:solidFill>
                  <a:srgbClr val="003C54"/>
                </a:solidFill>
              </a:rPr>
              <a:t>Contractuitbreiding</a:t>
            </a:r>
            <a:r>
              <a:rPr lang="en-US" dirty="0">
                <a:solidFill>
                  <a:srgbClr val="003C54"/>
                </a:solidFill>
              </a:rPr>
              <a:t> in de Zorg </a:t>
            </a:r>
            <a:r>
              <a:rPr lang="en-US" dirty="0" err="1">
                <a:solidFill>
                  <a:srgbClr val="003C54"/>
                </a:solidFill>
              </a:rPr>
              <a:t>traject</a:t>
            </a:r>
            <a:r>
              <a:rPr lang="en-US" dirty="0">
                <a:solidFill>
                  <a:srgbClr val="003C54"/>
                </a:solidFill>
              </a:rPr>
              <a:t> op </a:t>
            </a:r>
            <a:r>
              <a:rPr lang="en-US" dirty="0" err="1">
                <a:solidFill>
                  <a:srgbClr val="003C54"/>
                </a:solidFill>
              </a:rPr>
              <a:t>één</a:t>
            </a:r>
            <a:r>
              <a:rPr lang="en-US" dirty="0">
                <a:solidFill>
                  <a:srgbClr val="003C54"/>
                </a:solidFill>
              </a:rPr>
              <a:t> </a:t>
            </a:r>
            <a:r>
              <a:rPr lang="en-US" dirty="0" err="1">
                <a:solidFill>
                  <a:srgbClr val="003C54"/>
                </a:solidFill>
              </a:rPr>
              <a:t>pagina</a:t>
            </a:r>
            <a:r>
              <a:rPr lang="en-US" dirty="0">
                <a:solidFill>
                  <a:srgbClr val="003C54"/>
                </a:solidFill>
              </a:rPr>
              <a:t> </a:t>
            </a:r>
            <a:endParaRPr lang="en-US" sz="2857" dirty="0">
              <a:solidFill>
                <a:srgbClr val="003C54"/>
              </a:solidFill>
            </a:endParaRPr>
          </a:p>
        </p:txBody>
      </p:sp>
      <p:sp>
        <p:nvSpPr>
          <p:cNvPr id="159" name="Body3 3">
            <a:extLst>
              <a:ext uri="{FF2B5EF4-FFF2-40B4-BE49-F238E27FC236}">
                <a16:creationId xmlns:a16="http://schemas.microsoft.com/office/drawing/2014/main" id="{A81E90A8-EDE1-4B04-8178-3B9B8F87FAF7}"/>
              </a:ext>
            </a:extLst>
          </p:cNvPr>
          <p:cNvSpPr txBox="1">
            <a:spLocks/>
          </p:cNvSpPr>
          <p:nvPr>
            <p:custDataLst>
              <p:tags r:id="rId5"/>
            </p:custDataLst>
          </p:nvPr>
        </p:nvSpPr>
        <p:spPr>
          <a:xfrm>
            <a:off x="1412811" y="1116517"/>
            <a:ext cx="10166019" cy="535217"/>
          </a:xfrm>
          <a:prstGeom prst="rect">
            <a:avLst/>
          </a:prstGeom>
          <a:solidFill>
            <a:schemeClr val="accent4"/>
          </a:solidFill>
          <a:ln w="9525">
            <a:solidFill>
              <a:schemeClr val="accent3"/>
            </a:solidFill>
            <a:miter lim="800000"/>
            <a:headEnd/>
            <a:tailEnd/>
          </a:ln>
          <a:effectLst/>
        </p:spPr>
        <p:txBody>
          <a:bodyPr vert="horz" wrap="square" lIns="46649" tIns="46649" rIns="46649" bIns="46649" numCol="1" anchor="ctr"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lgn="ctr" defTabSz="1218011">
              <a:buClr>
                <a:schemeClr val="accent4"/>
              </a:buClr>
            </a:pPr>
            <a:r>
              <a:rPr lang="nl-NL">
                <a:solidFill>
                  <a:schemeClr val="bg1"/>
                </a:solidFill>
                <a:cs typeface="Arial"/>
              </a:rPr>
              <a:t>Contractuitbreiding onderdeel maken van het DNA van een organisatie</a:t>
            </a:r>
          </a:p>
        </p:txBody>
      </p:sp>
      <p:sp>
        <p:nvSpPr>
          <p:cNvPr id="5" name="Rectangle 4">
            <a:extLst>
              <a:ext uri="{FF2B5EF4-FFF2-40B4-BE49-F238E27FC236}">
                <a16:creationId xmlns:a16="http://schemas.microsoft.com/office/drawing/2014/main" id="{5A81E344-5554-9942-BFD0-2B89F1AE455F}"/>
              </a:ext>
            </a:extLst>
          </p:cNvPr>
          <p:cNvSpPr/>
          <p:nvPr/>
        </p:nvSpPr>
        <p:spPr>
          <a:xfrm>
            <a:off x="34972" y="1129990"/>
            <a:ext cx="1573556" cy="471042"/>
          </a:xfrm>
          <a:prstGeom prst="rect">
            <a:avLst/>
          </a:prstGeom>
        </p:spPr>
        <p:txBody>
          <a:bodyPr wrap="square">
            <a:spAutoFit/>
          </a:bodyPr>
          <a:lstStyle/>
          <a:p>
            <a:pPr defTabSz="895344">
              <a:buClr>
                <a:srgbClr val="003C54"/>
              </a:buClr>
              <a:defRPr/>
            </a:pPr>
            <a:r>
              <a:rPr lang="nl-NL" sz="1200" b="1" i="1">
                <a:solidFill>
                  <a:srgbClr val="005777"/>
                </a:solidFill>
              </a:rPr>
              <a:t>Wat willen we bereiken? </a:t>
            </a:r>
          </a:p>
        </p:txBody>
      </p:sp>
      <p:sp>
        <p:nvSpPr>
          <p:cNvPr id="18" name="Rectangle 17">
            <a:extLst>
              <a:ext uri="{FF2B5EF4-FFF2-40B4-BE49-F238E27FC236}">
                <a16:creationId xmlns:a16="http://schemas.microsoft.com/office/drawing/2014/main" id="{4862EC42-0E19-A841-AC93-238F728D8309}"/>
              </a:ext>
            </a:extLst>
          </p:cNvPr>
          <p:cNvSpPr/>
          <p:nvPr/>
        </p:nvSpPr>
        <p:spPr>
          <a:xfrm>
            <a:off x="34971" y="2688703"/>
            <a:ext cx="1294980" cy="471042"/>
          </a:xfrm>
          <a:prstGeom prst="rect">
            <a:avLst/>
          </a:prstGeom>
        </p:spPr>
        <p:txBody>
          <a:bodyPr wrap="square">
            <a:spAutoFit/>
          </a:bodyPr>
          <a:lstStyle/>
          <a:p>
            <a:pPr>
              <a:spcBef>
                <a:spcPts val="300"/>
              </a:spcBef>
            </a:pPr>
            <a:r>
              <a:rPr lang="nl-NL" sz="1200" b="1" i="1">
                <a:solidFill>
                  <a:schemeClr val="accent4"/>
                </a:solidFill>
              </a:rPr>
              <a:t>Hoe gaan we dat doen?</a:t>
            </a:r>
          </a:p>
        </p:txBody>
      </p:sp>
      <p:sp>
        <p:nvSpPr>
          <p:cNvPr id="19" name="Rectangle 18">
            <a:extLst>
              <a:ext uri="{FF2B5EF4-FFF2-40B4-BE49-F238E27FC236}">
                <a16:creationId xmlns:a16="http://schemas.microsoft.com/office/drawing/2014/main" id="{82D1B6E9-8887-0444-89FB-3BC3E70F7CDA}"/>
              </a:ext>
            </a:extLst>
          </p:cNvPr>
          <p:cNvSpPr/>
          <p:nvPr/>
        </p:nvSpPr>
        <p:spPr>
          <a:xfrm>
            <a:off x="34971" y="1809390"/>
            <a:ext cx="1294980" cy="659459"/>
          </a:xfrm>
          <a:prstGeom prst="rect">
            <a:avLst/>
          </a:prstGeom>
        </p:spPr>
        <p:txBody>
          <a:bodyPr wrap="square">
            <a:spAutoFit/>
          </a:bodyPr>
          <a:lstStyle/>
          <a:p>
            <a:pPr>
              <a:spcBef>
                <a:spcPts val="300"/>
              </a:spcBef>
            </a:pPr>
            <a:r>
              <a:rPr lang="nl-NL" sz="1200" b="1" i="1">
                <a:solidFill>
                  <a:schemeClr val="accent4"/>
                </a:solidFill>
              </a:rPr>
              <a:t>Welke doelstellingen hebben we? </a:t>
            </a:r>
          </a:p>
        </p:txBody>
      </p:sp>
      <p:grpSp>
        <p:nvGrpSpPr>
          <p:cNvPr id="6" name="Groep 5">
            <a:extLst>
              <a:ext uri="{FF2B5EF4-FFF2-40B4-BE49-F238E27FC236}">
                <a16:creationId xmlns:a16="http://schemas.microsoft.com/office/drawing/2014/main" id="{4BEC20C5-ABA0-4F61-8DBF-DB0B8065170C}"/>
              </a:ext>
            </a:extLst>
          </p:cNvPr>
          <p:cNvGrpSpPr/>
          <p:nvPr/>
        </p:nvGrpSpPr>
        <p:grpSpPr>
          <a:xfrm>
            <a:off x="1412811" y="1758234"/>
            <a:ext cx="1821888" cy="2601633"/>
            <a:chOff x="1733827" y="2225874"/>
            <a:chExt cx="2286741" cy="2601671"/>
          </a:xfrm>
        </p:grpSpPr>
        <p:sp>
          <p:nvSpPr>
            <p:cNvPr id="21" name="Rechthoek 2">
              <a:extLst>
                <a:ext uri="{FF2B5EF4-FFF2-40B4-BE49-F238E27FC236}">
                  <a16:creationId xmlns:a16="http://schemas.microsoft.com/office/drawing/2014/main" id="{E34451B1-B0FB-C344-9CC5-A5C8FD4043E4}"/>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In kaart brengen hoe het écht zit</a:t>
              </a:r>
            </a:p>
          </p:txBody>
        </p:sp>
        <p:sp>
          <p:nvSpPr>
            <p:cNvPr id="24" name="Rechthoek 3">
              <a:extLst>
                <a:ext uri="{FF2B5EF4-FFF2-40B4-BE49-F238E27FC236}">
                  <a16:creationId xmlns:a16="http://schemas.microsoft.com/office/drawing/2014/main" id="{9916CCD7-F50E-A344-8E00-D4409F884EE8}"/>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1218011">
                <a:buClr>
                  <a:schemeClr val="accent4"/>
                </a:buClr>
                <a:buFont typeface="Wingdings" panose="05000000000000000000" pitchFamily="2" charset="2"/>
                <a:buChar char="§"/>
              </a:pPr>
              <a:r>
                <a:rPr lang="nl-NL" sz="1400">
                  <a:solidFill>
                    <a:schemeClr val="tx1"/>
                  </a:solidFill>
                  <a:ea typeface="+mn-lt"/>
                  <a:cs typeface="+mn-lt"/>
                </a:rPr>
                <a:t>Value case</a:t>
              </a:r>
            </a:p>
          </p:txBody>
        </p:sp>
      </p:grpSp>
      <p:sp>
        <p:nvSpPr>
          <p:cNvPr id="30" name="Rectangle 29">
            <a:extLst>
              <a:ext uri="{FF2B5EF4-FFF2-40B4-BE49-F238E27FC236}">
                <a16:creationId xmlns:a16="http://schemas.microsoft.com/office/drawing/2014/main" id="{063B28CC-BD75-E547-A6DB-16A57F35F41E}"/>
              </a:ext>
            </a:extLst>
          </p:cNvPr>
          <p:cNvSpPr/>
          <p:nvPr/>
        </p:nvSpPr>
        <p:spPr>
          <a:xfrm>
            <a:off x="34971" y="5951396"/>
            <a:ext cx="1429953" cy="646331"/>
          </a:xfrm>
          <a:prstGeom prst="rect">
            <a:avLst/>
          </a:prstGeom>
        </p:spPr>
        <p:txBody>
          <a:bodyPr wrap="square">
            <a:spAutoFit/>
          </a:bodyPr>
          <a:lstStyle/>
          <a:p>
            <a:pPr>
              <a:spcBef>
                <a:spcPts val="300"/>
              </a:spcBef>
            </a:pPr>
            <a:r>
              <a:rPr lang="nl-NL" sz="1200" b="1" i="1">
                <a:solidFill>
                  <a:schemeClr val="accent4"/>
                </a:solidFill>
              </a:rPr>
              <a:t>Wat is er nodig om dit succesvol te doen?</a:t>
            </a:r>
          </a:p>
        </p:txBody>
      </p:sp>
      <p:grpSp>
        <p:nvGrpSpPr>
          <p:cNvPr id="27" name="Groep 26">
            <a:extLst>
              <a:ext uri="{FF2B5EF4-FFF2-40B4-BE49-F238E27FC236}">
                <a16:creationId xmlns:a16="http://schemas.microsoft.com/office/drawing/2014/main" id="{5D100233-640A-426F-A59E-D98619ECFDDD}"/>
              </a:ext>
            </a:extLst>
          </p:cNvPr>
          <p:cNvGrpSpPr/>
          <p:nvPr/>
        </p:nvGrpSpPr>
        <p:grpSpPr>
          <a:xfrm>
            <a:off x="3498844" y="1758234"/>
            <a:ext cx="1821888" cy="2601633"/>
            <a:chOff x="1733827" y="2225874"/>
            <a:chExt cx="2286741" cy="2601671"/>
          </a:xfrm>
        </p:grpSpPr>
        <p:sp>
          <p:nvSpPr>
            <p:cNvPr id="28" name="Rechthoek 2">
              <a:extLst>
                <a:ext uri="{FF2B5EF4-FFF2-40B4-BE49-F238E27FC236}">
                  <a16:creationId xmlns:a16="http://schemas.microsoft.com/office/drawing/2014/main" id="{5A6856DD-CEDE-4AFC-852C-B4E79018DD07}"/>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Bewustwording creëren</a:t>
              </a:r>
            </a:p>
          </p:txBody>
        </p:sp>
        <p:sp>
          <p:nvSpPr>
            <p:cNvPr id="31" name="Rechthoek 3">
              <a:extLst>
                <a:ext uri="{FF2B5EF4-FFF2-40B4-BE49-F238E27FC236}">
                  <a16:creationId xmlns:a16="http://schemas.microsoft.com/office/drawing/2014/main" id="{D63FEE6A-7623-4FCE-9DC1-9742BAAE892F}"/>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1218011">
                <a:buClr>
                  <a:schemeClr val="accent4"/>
                </a:buClr>
                <a:buFont typeface="Wingdings" panose="05000000000000000000" pitchFamily="2" charset="2"/>
                <a:buChar char="§"/>
              </a:pPr>
              <a:r>
                <a:rPr lang="nl-NL" sz="1400" dirty="0">
                  <a:solidFill>
                    <a:schemeClr val="tx1"/>
                  </a:solidFill>
                  <a:ea typeface="+mn-lt"/>
                  <a:cs typeface="+mn-lt"/>
                </a:rPr>
                <a:t>Communicatie:  een overtuigend verhaal</a:t>
              </a:r>
            </a:p>
            <a:p>
              <a:pPr marL="180975" indent="-180975" defTabSz="1218011">
                <a:buClr>
                  <a:schemeClr val="accent4"/>
                </a:buClr>
                <a:buFont typeface="Wingdings" panose="05000000000000000000" pitchFamily="2" charset="2"/>
                <a:buChar char="§"/>
              </a:pPr>
              <a:r>
                <a:rPr lang="nl-NL" sz="1400" dirty="0">
                  <a:solidFill>
                    <a:schemeClr val="tx1"/>
                  </a:solidFill>
                  <a:ea typeface="+mn-lt"/>
                  <a:cs typeface="+mn-lt"/>
                </a:rPr>
                <a:t>teamsessies medewerkers en aanspreekpunten</a:t>
              </a:r>
            </a:p>
          </p:txBody>
        </p:sp>
      </p:grpSp>
      <p:grpSp>
        <p:nvGrpSpPr>
          <p:cNvPr id="32" name="Groep 31">
            <a:extLst>
              <a:ext uri="{FF2B5EF4-FFF2-40B4-BE49-F238E27FC236}">
                <a16:creationId xmlns:a16="http://schemas.microsoft.com/office/drawing/2014/main" id="{24F30EBB-D5C7-456B-88F9-8592790C05DE}"/>
              </a:ext>
            </a:extLst>
          </p:cNvPr>
          <p:cNvGrpSpPr/>
          <p:nvPr/>
        </p:nvGrpSpPr>
        <p:grpSpPr>
          <a:xfrm>
            <a:off x="5584875" y="1758234"/>
            <a:ext cx="1821888" cy="2601633"/>
            <a:chOff x="1733827" y="2225874"/>
            <a:chExt cx="2286741" cy="2601671"/>
          </a:xfrm>
        </p:grpSpPr>
        <p:sp>
          <p:nvSpPr>
            <p:cNvPr id="37" name="Rechthoek 2">
              <a:extLst>
                <a:ext uri="{FF2B5EF4-FFF2-40B4-BE49-F238E27FC236}">
                  <a16:creationId xmlns:a16="http://schemas.microsoft.com/office/drawing/2014/main" id="{28E73FB0-1D81-429C-9FB2-D0EAF2C929ED}"/>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Informeren</a:t>
              </a:r>
            </a:p>
          </p:txBody>
        </p:sp>
        <p:sp>
          <p:nvSpPr>
            <p:cNvPr id="38" name="Rechthoek 3">
              <a:extLst>
                <a:ext uri="{FF2B5EF4-FFF2-40B4-BE49-F238E27FC236}">
                  <a16:creationId xmlns:a16="http://schemas.microsoft.com/office/drawing/2014/main" id="{E583B17D-1985-4B96-94F8-7C2409E6A01A}"/>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1218011">
                <a:buClr>
                  <a:schemeClr val="accent4"/>
                </a:buClr>
                <a:buFont typeface="Wingdings" panose="05000000000000000000" pitchFamily="2" charset="2"/>
                <a:buChar char="§"/>
              </a:pPr>
              <a:r>
                <a:rPr lang="nl-NL" sz="1400">
                  <a:solidFill>
                    <a:schemeClr val="tx1"/>
                  </a:solidFill>
                  <a:ea typeface="+mn-lt"/>
                  <a:cs typeface="+mn-lt"/>
                </a:rPr>
                <a:t>Infopakketten medewerkers en aanspreekpunten</a:t>
              </a:r>
            </a:p>
            <a:p>
              <a:pPr marL="180975" indent="-180975" defTabSz="1218011">
                <a:buClr>
                  <a:schemeClr val="accent4"/>
                </a:buClr>
                <a:buFont typeface="Wingdings" panose="05000000000000000000" pitchFamily="2" charset="2"/>
                <a:buChar char="§"/>
              </a:pPr>
              <a:r>
                <a:rPr lang="nl-NL" sz="1400" err="1">
                  <a:solidFill>
                    <a:schemeClr val="tx1"/>
                  </a:solidFill>
                  <a:ea typeface="+mn-lt"/>
                  <a:cs typeface="+mn-lt"/>
                </a:rPr>
                <a:t>Deeltijdbereke-naar</a:t>
              </a:r>
              <a:r>
                <a:rPr lang="nl-NL" sz="1400">
                  <a:solidFill>
                    <a:schemeClr val="tx1"/>
                  </a:solidFill>
                  <a:ea typeface="+mn-lt"/>
                  <a:cs typeface="+mn-lt"/>
                </a:rPr>
                <a:t> </a:t>
              </a:r>
            </a:p>
          </p:txBody>
        </p:sp>
      </p:grpSp>
      <p:grpSp>
        <p:nvGrpSpPr>
          <p:cNvPr id="39" name="Groep 38">
            <a:extLst>
              <a:ext uri="{FF2B5EF4-FFF2-40B4-BE49-F238E27FC236}">
                <a16:creationId xmlns:a16="http://schemas.microsoft.com/office/drawing/2014/main" id="{0018E063-7536-45FD-A59A-8681A8F27C88}"/>
              </a:ext>
            </a:extLst>
          </p:cNvPr>
          <p:cNvGrpSpPr/>
          <p:nvPr/>
        </p:nvGrpSpPr>
        <p:grpSpPr>
          <a:xfrm>
            <a:off x="7670909" y="1746475"/>
            <a:ext cx="1821888" cy="2601633"/>
            <a:chOff x="1733827" y="2225874"/>
            <a:chExt cx="2286741" cy="2601671"/>
          </a:xfrm>
        </p:grpSpPr>
        <p:sp>
          <p:nvSpPr>
            <p:cNvPr id="40" name="Rechthoek 2">
              <a:extLst>
                <a:ext uri="{FF2B5EF4-FFF2-40B4-BE49-F238E27FC236}">
                  <a16:creationId xmlns:a16="http://schemas.microsoft.com/office/drawing/2014/main" id="{E04A9066-1DC8-4BDE-893A-38366AF02169}"/>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Concrete resultaten behalen</a:t>
              </a:r>
            </a:p>
          </p:txBody>
        </p:sp>
        <p:sp>
          <p:nvSpPr>
            <p:cNvPr id="41" name="Rechthoek 3">
              <a:extLst>
                <a:ext uri="{FF2B5EF4-FFF2-40B4-BE49-F238E27FC236}">
                  <a16:creationId xmlns:a16="http://schemas.microsoft.com/office/drawing/2014/main" id="{6775A540-8019-43DC-8905-097112F540D0}"/>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1218011">
                <a:buClr>
                  <a:schemeClr val="accent4"/>
                </a:buClr>
                <a:buFont typeface="Wingdings" panose="05000000000000000000" pitchFamily="2" charset="2"/>
                <a:buChar char="§"/>
              </a:pPr>
              <a:r>
                <a:rPr lang="nl-NL" sz="1400" dirty="0">
                  <a:solidFill>
                    <a:schemeClr val="tx1"/>
                  </a:solidFill>
                  <a:ea typeface="+mn-lt"/>
                  <a:cs typeface="+mn-lt"/>
                </a:rPr>
                <a:t>Vraag en Aanbod matching-pilot</a:t>
              </a:r>
            </a:p>
            <a:p>
              <a:pPr marL="180975" indent="-180975" defTabSz="1218011">
                <a:buClr>
                  <a:schemeClr val="accent4"/>
                </a:buClr>
                <a:buFont typeface="Wingdings" panose="05000000000000000000" pitchFamily="2" charset="2"/>
                <a:buChar char="§"/>
              </a:pPr>
              <a:r>
                <a:rPr lang="nl-NL" sz="1400" b="1" dirty="0">
                  <a:solidFill>
                    <a:schemeClr val="tx1"/>
                  </a:solidFill>
                  <a:ea typeface="+mn-lt"/>
                  <a:cs typeface="+mn-lt"/>
                </a:rPr>
                <a:t>Leidraad Goed Gesprekken</a:t>
              </a:r>
            </a:p>
          </p:txBody>
        </p:sp>
      </p:grpSp>
      <p:grpSp>
        <p:nvGrpSpPr>
          <p:cNvPr id="43" name="Groep 42">
            <a:extLst>
              <a:ext uri="{FF2B5EF4-FFF2-40B4-BE49-F238E27FC236}">
                <a16:creationId xmlns:a16="http://schemas.microsoft.com/office/drawing/2014/main" id="{EFD8ABAC-6892-415E-80C0-379666C8F2CA}"/>
              </a:ext>
            </a:extLst>
          </p:cNvPr>
          <p:cNvGrpSpPr/>
          <p:nvPr/>
        </p:nvGrpSpPr>
        <p:grpSpPr>
          <a:xfrm>
            <a:off x="9756942" y="1746475"/>
            <a:ext cx="1821888" cy="2601633"/>
            <a:chOff x="1733827" y="2225874"/>
            <a:chExt cx="2286741" cy="2601671"/>
          </a:xfrm>
        </p:grpSpPr>
        <p:sp>
          <p:nvSpPr>
            <p:cNvPr id="44" name="Rechthoek 2">
              <a:extLst>
                <a:ext uri="{FF2B5EF4-FFF2-40B4-BE49-F238E27FC236}">
                  <a16:creationId xmlns:a16="http://schemas.microsoft.com/office/drawing/2014/main" id="{39320446-EC4F-485F-A2D0-30915877EA8E}"/>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Inbedden</a:t>
              </a:r>
            </a:p>
          </p:txBody>
        </p:sp>
        <p:sp>
          <p:nvSpPr>
            <p:cNvPr id="45" name="Rechthoek 3">
              <a:extLst>
                <a:ext uri="{FF2B5EF4-FFF2-40B4-BE49-F238E27FC236}">
                  <a16:creationId xmlns:a16="http://schemas.microsoft.com/office/drawing/2014/main" id="{0C9E1331-370A-4235-BFA4-9B5221305599}"/>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defTabSz="1218011">
                <a:buClr>
                  <a:schemeClr val="accent4"/>
                </a:buClr>
                <a:buFont typeface="Wingdings" panose="05000000000000000000" pitchFamily="2" charset="2"/>
                <a:buChar char="§"/>
              </a:pPr>
              <a:r>
                <a:rPr lang="nl-NL" sz="1400" dirty="0">
                  <a:solidFill>
                    <a:schemeClr val="tx1"/>
                  </a:solidFill>
                  <a:ea typeface="+mn-lt"/>
                  <a:cs typeface="+mn-lt"/>
                </a:rPr>
                <a:t>Aanbevelingen roosteren</a:t>
              </a:r>
            </a:p>
            <a:p>
              <a:pPr marL="180975" indent="-180975" defTabSz="1218011">
                <a:buClr>
                  <a:schemeClr val="accent4"/>
                </a:buClr>
                <a:buFont typeface="Wingdings" panose="05000000000000000000" pitchFamily="2" charset="2"/>
                <a:buChar char="§"/>
              </a:pPr>
              <a:r>
                <a:rPr lang="nl-NL" sz="1400" b="1" dirty="0">
                  <a:solidFill>
                    <a:schemeClr val="tx1"/>
                  </a:solidFill>
                  <a:ea typeface="+mn-lt"/>
                  <a:cs typeface="+mn-lt"/>
                </a:rPr>
                <a:t>Aanbevelingen Goed Gesprek</a:t>
              </a:r>
            </a:p>
            <a:p>
              <a:pPr marL="180975" indent="-180975" defTabSz="1218011">
                <a:buClr>
                  <a:schemeClr val="accent4"/>
                </a:buClr>
                <a:buFont typeface="Wingdings" panose="05000000000000000000" pitchFamily="2" charset="2"/>
                <a:buChar char="§"/>
              </a:pPr>
              <a:r>
                <a:rPr lang="nl-NL" sz="1400" dirty="0">
                  <a:solidFill>
                    <a:schemeClr val="tx1"/>
                  </a:solidFill>
                  <a:ea typeface="+mn-lt"/>
                  <a:cs typeface="+mn-lt"/>
                </a:rPr>
                <a:t>Opschalingsplan bredere organisatie</a:t>
              </a:r>
            </a:p>
          </p:txBody>
        </p:sp>
      </p:grpSp>
      <p:sp>
        <p:nvSpPr>
          <p:cNvPr id="46" name="Rectangle 29">
            <a:extLst>
              <a:ext uri="{FF2B5EF4-FFF2-40B4-BE49-F238E27FC236}">
                <a16:creationId xmlns:a16="http://schemas.microsoft.com/office/drawing/2014/main" id="{258CFFA1-0D58-4658-B07B-4F7371AB01F8}"/>
              </a:ext>
            </a:extLst>
          </p:cNvPr>
          <p:cNvSpPr/>
          <p:nvPr/>
        </p:nvSpPr>
        <p:spPr>
          <a:xfrm>
            <a:off x="34971" y="4441011"/>
            <a:ext cx="1294980" cy="659459"/>
          </a:xfrm>
          <a:prstGeom prst="rect">
            <a:avLst/>
          </a:prstGeom>
        </p:spPr>
        <p:txBody>
          <a:bodyPr wrap="square">
            <a:spAutoFit/>
          </a:bodyPr>
          <a:lstStyle/>
          <a:p>
            <a:pPr>
              <a:spcBef>
                <a:spcPts val="300"/>
              </a:spcBef>
            </a:pPr>
            <a:r>
              <a:rPr lang="nl-NL" sz="1200" b="1" i="1">
                <a:solidFill>
                  <a:schemeClr val="accent4"/>
                </a:solidFill>
              </a:rPr>
              <a:t>Op welke manier werken we?</a:t>
            </a:r>
          </a:p>
        </p:txBody>
      </p:sp>
      <p:sp>
        <p:nvSpPr>
          <p:cNvPr id="47" name="Body3 3">
            <a:extLst>
              <a:ext uri="{FF2B5EF4-FFF2-40B4-BE49-F238E27FC236}">
                <a16:creationId xmlns:a16="http://schemas.microsoft.com/office/drawing/2014/main" id="{26DE2A43-C6B1-4C90-8BFC-17054C378793}"/>
              </a:ext>
            </a:extLst>
          </p:cNvPr>
          <p:cNvSpPr txBox="1">
            <a:spLocks/>
          </p:cNvSpPr>
          <p:nvPr>
            <p:custDataLst>
              <p:tags r:id="rId6"/>
            </p:custDataLst>
          </p:nvPr>
        </p:nvSpPr>
        <p:spPr>
          <a:xfrm>
            <a:off x="1412810" y="4453555"/>
            <a:ext cx="10167528" cy="384337"/>
          </a:xfrm>
          <a:prstGeom prst="rect">
            <a:avLst/>
          </a:prstGeom>
          <a:solidFill>
            <a:schemeClr val="accent2"/>
          </a:solidFill>
          <a:ln w="9525">
            <a:solidFill>
              <a:schemeClr val="accent3"/>
            </a:solidFill>
            <a:miter lim="800000"/>
            <a:headEnd/>
            <a:tailEnd/>
          </a:ln>
          <a:effectLst/>
        </p:spPr>
        <p:txBody>
          <a:bodyPr vert="horz" wrap="square" lIns="46649" tIns="46649" rIns="46649" bIns="46649" numCol="1" anchor="t"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lgn="ctr" defTabSz="1218011">
              <a:buClr>
                <a:schemeClr val="accent4"/>
              </a:buClr>
            </a:pPr>
            <a:r>
              <a:rPr lang="nl-NL">
                <a:cs typeface="Arial"/>
              </a:rPr>
              <a:t>We bundelen krachten</a:t>
            </a:r>
          </a:p>
        </p:txBody>
      </p:sp>
      <p:sp>
        <p:nvSpPr>
          <p:cNvPr id="48" name="Body3 3">
            <a:extLst>
              <a:ext uri="{FF2B5EF4-FFF2-40B4-BE49-F238E27FC236}">
                <a16:creationId xmlns:a16="http://schemas.microsoft.com/office/drawing/2014/main" id="{20CA9C7E-E03F-4957-B270-5C549F988A9F}"/>
              </a:ext>
            </a:extLst>
          </p:cNvPr>
          <p:cNvSpPr txBox="1">
            <a:spLocks/>
          </p:cNvSpPr>
          <p:nvPr>
            <p:custDataLst>
              <p:tags r:id="rId7"/>
            </p:custDataLst>
          </p:nvPr>
        </p:nvSpPr>
        <p:spPr>
          <a:xfrm>
            <a:off x="1430043" y="4944649"/>
            <a:ext cx="10148787" cy="384337"/>
          </a:xfrm>
          <a:prstGeom prst="rect">
            <a:avLst/>
          </a:prstGeom>
          <a:solidFill>
            <a:schemeClr val="accent2"/>
          </a:solidFill>
          <a:ln w="9525">
            <a:solidFill>
              <a:schemeClr val="accent3"/>
            </a:solidFill>
            <a:miter lim="800000"/>
            <a:headEnd/>
            <a:tailEnd/>
          </a:ln>
          <a:effectLst/>
        </p:spPr>
        <p:txBody>
          <a:bodyPr vert="horz" wrap="square" lIns="46649" tIns="46649" rIns="46649" bIns="46649" numCol="1" anchor="t"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lgn="ctr" defTabSz="1218011">
              <a:buClr>
                <a:schemeClr val="accent4"/>
              </a:buClr>
            </a:pPr>
            <a:r>
              <a:rPr lang="nl-NL">
                <a:cs typeface="Arial"/>
              </a:rPr>
              <a:t>We leren door te doen</a:t>
            </a:r>
          </a:p>
        </p:txBody>
      </p:sp>
      <p:sp>
        <p:nvSpPr>
          <p:cNvPr id="49" name="Body3 3">
            <a:extLst>
              <a:ext uri="{FF2B5EF4-FFF2-40B4-BE49-F238E27FC236}">
                <a16:creationId xmlns:a16="http://schemas.microsoft.com/office/drawing/2014/main" id="{B19194C4-EAF1-4803-B87A-401A2A58179D}"/>
              </a:ext>
            </a:extLst>
          </p:cNvPr>
          <p:cNvSpPr txBox="1">
            <a:spLocks/>
          </p:cNvSpPr>
          <p:nvPr>
            <p:custDataLst>
              <p:tags r:id="rId8"/>
            </p:custDataLst>
          </p:nvPr>
        </p:nvSpPr>
        <p:spPr>
          <a:xfrm>
            <a:off x="1430043" y="5435741"/>
            <a:ext cx="10148787" cy="384337"/>
          </a:xfrm>
          <a:prstGeom prst="rect">
            <a:avLst/>
          </a:prstGeom>
          <a:solidFill>
            <a:schemeClr val="accent2"/>
          </a:solidFill>
          <a:ln w="9525">
            <a:solidFill>
              <a:schemeClr val="accent3"/>
            </a:solidFill>
            <a:miter lim="800000"/>
            <a:headEnd/>
            <a:tailEnd/>
          </a:ln>
          <a:effectLst/>
        </p:spPr>
        <p:txBody>
          <a:bodyPr vert="horz" wrap="square" lIns="46649" tIns="46649" rIns="46649" bIns="46649" numCol="1" anchor="t"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lgn="ctr" defTabSz="1218011">
              <a:buClr>
                <a:schemeClr val="accent4"/>
              </a:buClr>
            </a:pPr>
            <a:r>
              <a:rPr lang="nl-NL">
                <a:cs typeface="Arial"/>
              </a:rPr>
              <a:t>We denken in mogelijkheden </a:t>
            </a:r>
          </a:p>
        </p:txBody>
      </p:sp>
      <p:sp>
        <p:nvSpPr>
          <p:cNvPr id="50" name="Rechthoek 49">
            <a:extLst>
              <a:ext uri="{FF2B5EF4-FFF2-40B4-BE49-F238E27FC236}">
                <a16:creationId xmlns:a16="http://schemas.microsoft.com/office/drawing/2014/main" id="{88C181F6-18EF-4323-B207-A15F02CA0E27}"/>
              </a:ext>
            </a:extLst>
          </p:cNvPr>
          <p:cNvSpPr/>
          <p:nvPr/>
        </p:nvSpPr>
        <p:spPr>
          <a:xfrm>
            <a:off x="1412811" y="5946626"/>
            <a:ext cx="3090606" cy="49884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Volledige commitment bestuur</a:t>
            </a:r>
          </a:p>
        </p:txBody>
      </p:sp>
      <p:sp>
        <p:nvSpPr>
          <p:cNvPr id="52" name="Rechthoek 51">
            <a:extLst>
              <a:ext uri="{FF2B5EF4-FFF2-40B4-BE49-F238E27FC236}">
                <a16:creationId xmlns:a16="http://schemas.microsoft.com/office/drawing/2014/main" id="{29879E8E-7F5C-424D-9A99-3F40132D6001}"/>
              </a:ext>
            </a:extLst>
          </p:cNvPr>
          <p:cNvSpPr/>
          <p:nvPr/>
        </p:nvSpPr>
        <p:spPr>
          <a:xfrm>
            <a:off x="4950517" y="5946626"/>
            <a:ext cx="3090606" cy="49884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Effectieve projectopzet</a:t>
            </a:r>
          </a:p>
        </p:txBody>
      </p:sp>
      <p:sp>
        <p:nvSpPr>
          <p:cNvPr id="54" name="Rechthoek 53">
            <a:extLst>
              <a:ext uri="{FF2B5EF4-FFF2-40B4-BE49-F238E27FC236}">
                <a16:creationId xmlns:a16="http://schemas.microsoft.com/office/drawing/2014/main" id="{A137AC91-25AE-4E42-853F-5729863779E5}"/>
              </a:ext>
            </a:extLst>
          </p:cNvPr>
          <p:cNvSpPr/>
          <p:nvPr/>
        </p:nvSpPr>
        <p:spPr>
          <a:xfrm>
            <a:off x="8488223" y="5946625"/>
            <a:ext cx="3090606" cy="535217"/>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b="1">
                <a:solidFill>
                  <a:schemeClr val="bg1"/>
                </a:solidFill>
              </a:rPr>
              <a:t>Juiste </a:t>
            </a:r>
            <a:r>
              <a:rPr lang="nl-NL" sz="1400" b="1" err="1">
                <a:solidFill>
                  <a:schemeClr val="bg1"/>
                </a:solidFill>
              </a:rPr>
              <a:t>mindset</a:t>
            </a:r>
            <a:endParaRPr lang="nl-NL" sz="1400" b="1">
              <a:solidFill>
                <a:schemeClr val="bg1"/>
              </a:solidFill>
            </a:endParaRPr>
          </a:p>
        </p:txBody>
      </p:sp>
    </p:spTree>
    <p:custDataLst>
      <p:tags r:id="rId2"/>
    </p:custDataLst>
    <p:extLst>
      <p:ext uri="{BB962C8B-B14F-4D97-AF65-F5344CB8AC3E}">
        <p14:creationId xmlns:p14="http://schemas.microsoft.com/office/powerpoint/2010/main" val="1671905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D9A544-D6DB-4AB1-8713-95BE6E5FF1ED}"/>
              </a:ext>
            </a:extLst>
          </p:cNvPr>
          <p:cNvGraphicFramePr>
            <a:graphicFrameLocks noChangeAspect="1"/>
          </p:cNvGraphicFramePr>
          <p:nvPr>
            <p:custDataLst>
              <p:tags r:id="rId2"/>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14691" name="think-cell Slide" r:id="rId24" imgW="395" imgH="396" progId="TCLayout.ActiveDocument.1">
                  <p:embed/>
                </p:oleObj>
              </mc:Choice>
              <mc:Fallback>
                <p:oleObj name="think-cell Slide" r:id="rId24" imgW="395" imgH="396" progId="TCLayout.ActiveDocument.1">
                  <p:embed/>
                  <p:pic>
                    <p:nvPicPr>
                      <p:cNvPr id="4" name="Object 3" hidden="1">
                        <a:extLst>
                          <a:ext uri="{FF2B5EF4-FFF2-40B4-BE49-F238E27FC236}">
                            <a16:creationId xmlns:a16="http://schemas.microsoft.com/office/drawing/2014/main" id="{BBD9A544-D6DB-4AB1-8713-95BE6E5FF1ED}"/>
                          </a:ext>
                        </a:extLst>
                      </p:cNvPr>
                      <p:cNvPicPr/>
                      <p:nvPr/>
                    </p:nvPicPr>
                    <p:blipFill>
                      <a:blip r:embed="rId25"/>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880C4F4-0D4E-421F-B59F-CC590C553764}"/>
              </a:ext>
            </a:extLst>
          </p:cNvPr>
          <p:cNvSpPr/>
          <p:nvPr>
            <p:custDataLst>
              <p:tags r:id="rId3"/>
            </p:custDataLst>
          </p:nvPr>
        </p:nvSpPr>
        <p:spPr>
          <a:xfrm>
            <a:off x="90" y="1"/>
            <a:ext cx="161974" cy="16197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 name="Title 1">
            <a:extLst>
              <a:ext uri="{FF2B5EF4-FFF2-40B4-BE49-F238E27FC236}">
                <a16:creationId xmlns:a16="http://schemas.microsoft.com/office/drawing/2014/main" id="{BA96EDF0-CC1A-4E11-BC20-CD1D99E42EDD}"/>
              </a:ext>
            </a:extLst>
          </p:cNvPr>
          <p:cNvSpPr>
            <a:spLocks noGrp="1"/>
          </p:cNvSpPr>
          <p:nvPr>
            <p:ph type="title"/>
          </p:nvPr>
        </p:nvSpPr>
        <p:spPr/>
        <p:txBody>
          <a:bodyPr/>
          <a:lstStyle/>
          <a:p>
            <a:r>
              <a:rPr lang="nl-NL" dirty="0"/>
              <a:t>Goed Gesprek is meer dan alleen het gesprek voeren: de voorbereiding en opvolging zijn een belangrijk onderdeel</a:t>
            </a:r>
          </a:p>
        </p:txBody>
      </p:sp>
      <p:grpSp>
        <p:nvGrpSpPr>
          <p:cNvPr id="34" name="Group 33">
            <a:extLst>
              <a:ext uri="{FF2B5EF4-FFF2-40B4-BE49-F238E27FC236}">
                <a16:creationId xmlns:a16="http://schemas.microsoft.com/office/drawing/2014/main" id="{4A2581E8-EF3E-4CA5-B093-EB26611187A3}"/>
              </a:ext>
            </a:extLst>
          </p:cNvPr>
          <p:cNvGrpSpPr/>
          <p:nvPr>
            <p:custDataLst>
              <p:tags r:id="rId4"/>
            </p:custDataLst>
          </p:nvPr>
        </p:nvGrpSpPr>
        <p:grpSpPr>
          <a:xfrm>
            <a:off x="2159077" y="1590163"/>
            <a:ext cx="1896854" cy="1268528"/>
            <a:chOff x="2116006" y="1317954"/>
            <a:chExt cx="1859093" cy="1243275"/>
          </a:xfrm>
          <a:solidFill>
            <a:schemeClr val="accent2">
              <a:lumMod val="40000"/>
              <a:lumOff val="60000"/>
            </a:schemeClr>
          </a:solidFill>
        </p:grpSpPr>
        <p:sp>
          <p:nvSpPr>
            <p:cNvPr id="78" name="Freeform 105">
              <a:extLst>
                <a:ext uri="{FF2B5EF4-FFF2-40B4-BE49-F238E27FC236}">
                  <a16:creationId xmlns:a16="http://schemas.microsoft.com/office/drawing/2014/main" id="{BE56636C-A39F-4C13-8B80-2ABD3436AF09}"/>
                </a:ext>
              </a:extLst>
            </p:cNvPr>
            <p:cNvSpPr/>
            <p:nvPr>
              <p:custDataLst>
                <p:tags r:id="rId21"/>
              </p:custDataLst>
            </p:nvPr>
          </p:nvSpPr>
          <p:spPr bwMode="auto">
            <a:xfrm>
              <a:off x="2116006" y="1317954"/>
              <a:ext cx="1859093" cy="124327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29367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29367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29367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12259 w 1828800"/>
                <a:gd name="connsiteY5" fmla="*/ 457202 h 914402"/>
                <a:gd name="connsiteX0" fmla="*/ 0 w 1828800"/>
                <a:gd name="connsiteY0" fmla="*/ 0 h 914402"/>
                <a:gd name="connsiteX1" fmla="*/ 1716541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12259 w 1828800"/>
                <a:gd name="connsiteY5" fmla="*/ 457202 h 914402"/>
                <a:gd name="connsiteX0" fmla="*/ 0 w 1828800"/>
                <a:gd name="connsiteY0" fmla="*/ 0 h 914402"/>
                <a:gd name="connsiteX1" fmla="*/ 1716541 w 1828800"/>
                <a:gd name="connsiteY1" fmla="*/ 0 h 914402"/>
                <a:gd name="connsiteX2" fmla="*/ 1828800 w 1828800"/>
                <a:gd name="connsiteY2" fmla="*/ 457200 h 914402"/>
                <a:gd name="connsiteX3" fmla="*/ 1716541 w 1828800"/>
                <a:gd name="connsiteY3" fmla="*/ 914402 h 914402"/>
                <a:gd name="connsiteX4" fmla="*/ 0 w 1828800"/>
                <a:gd name="connsiteY4" fmla="*/ 914400 h 914402"/>
                <a:gd name="connsiteX5" fmla="*/ 112259 w 1828800"/>
                <a:gd name="connsiteY5" fmla="*/ 457202 h 914402"/>
                <a:gd name="connsiteX0" fmla="*/ 0 w 1828800"/>
                <a:gd name="connsiteY0" fmla="*/ 0 h 914402"/>
                <a:gd name="connsiteX1" fmla="*/ 1716541 w 1828800"/>
                <a:gd name="connsiteY1" fmla="*/ 0 h 914402"/>
                <a:gd name="connsiteX2" fmla="*/ 1828800 w 1828800"/>
                <a:gd name="connsiteY2" fmla="*/ 457200 h 914402"/>
                <a:gd name="connsiteX3" fmla="*/ 171654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654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111675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111675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111675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206891 w 1828800"/>
                <a:gd name="connsiteY5" fmla="*/ 457202 h 914402"/>
                <a:gd name="connsiteX0" fmla="*/ 0 w 1828800"/>
                <a:gd name="connsiteY0" fmla="*/ 0 h 914402"/>
                <a:gd name="connsiteX1" fmla="*/ 1621909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206891 w 1828800"/>
                <a:gd name="connsiteY5" fmla="*/ 457202 h 914402"/>
                <a:gd name="connsiteX0" fmla="*/ 0 w 1828800"/>
                <a:gd name="connsiteY0" fmla="*/ 0 h 914402"/>
                <a:gd name="connsiteX1" fmla="*/ 1621909 w 1828800"/>
                <a:gd name="connsiteY1" fmla="*/ 0 h 914402"/>
                <a:gd name="connsiteX2" fmla="*/ 1828800 w 1828800"/>
                <a:gd name="connsiteY2" fmla="*/ 457200 h 914402"/>
                <a:gd name="connsiteX3" fmla="*/ 1621909 w 1828800"/>
                <a:gd name="connsiteY3" fmla="*/ 914402 h 914402"/>
                <a:gd name="connsiteX4" fmla="*/ 0 w 1828800"/>
                <a:gd name="connsiteY4" fmla="*/ 914400 h 914402"/>
                <a:gd name="connsiteX5" fmla="*/ 206891 w 1828800"/>
                <a:gd name="connsiteY5" fmla="*/ 457202 h 914402"/>
                <a:gd name="connsiteX0" fmla="*/ 0 w 1828800"/>
                <a:gd name="connsiteY0" fmla="*/ 0 h 914402"/>
                <a:gd name="connsiteX1" fmla="*/ 1621909 w 1828800"/>
                <a:gd name="connsiteY1" fmla="*/ 0 h 914402"/>
                <a:gd name="connsiteX2" fmla="*/ 1828800 w 1828800"/>
                <a:gd name="connsiteY2" fmla="*/ 457200 h 914402"/>
                <a:gd name="connsiteX3" fmla="*/ 1621909 w 1828800"/>
                <a:gd name="connsiteY3" fmla="*/ 914402 h 914402"/>
                <a:gd name="connsiteX4" fmla="*/ 0 w 1828800"/>
                <a:gd name="connsiteY4" fmla="*/ 914400 h 914402"/>
                <a:gd name="connsiteX5" fmla="*/ 248797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621909 w 1828800"/>
                <a:gd name="connsiteY3" fmla="*/ 914402 h 914402"/>
                <a:gd name="connsiteX4" fmla="*/ 0 w 1828800"/>
                <a:gd name="connsiteY4" fmla="*/ 914400 h 914402"/>
                <a:gd name="connsiteX5" fmla="*/ 248797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48797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27862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27862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227862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220142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220142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220142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08657" y="0"/>
                  </a:lnTo>
                  <a:lnTo>
                    <a:pt x="1828800" y="457200"/>
                  </a:lnTo>
                  <a:lnTo>
                    <a:pt x="1608657" y="914402"/>
                  </a:lnTo>
                  <a:lnTo>
                    <a:pt x="0" y="914400"/>
                  </a:lnTo>
                  <a:lnTo>
                    <a:pt x="220142" y="457202"/>
                  </a:lnTo>
                  <a:close/>
                </a:path>
              </a:pathLst>
            </a:custGeom>
            <a:grpFill/>
            <a:ln w="9525">
              <a:solidFill>
                <a:srgbClr val="FFFFFF"/>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9" name="TextBox 4">
              <a:extLst>
                <a:ext uri="{FF2B5EF4-FFF2-40B4-BE49-F238E27FC236}">
                  <a16:creationId xmlns:a16="http://schemas.microsoft.com/office/drawing/2014/main" id="{0B421A3B-69EF-4C50-BEC0-B669FA6F8CC7}"/>
                </a:ext>
              </a:extLst>
            </p:cNvPr>
            <p:cNvSpPr txBox="1">
              <a:spLocks noChangeArrowheads="1"/>
            </p:cNvSpPr>
            <p:nvPr>
              <p:custDataLst>
                <p:tags r:id="rId22"/>
              </p:custDataLst>
            </p:nvPr>
          </p:nvSpPr>
          <p:spPr bwMode="auto">
            <a:xfrm>
              <a:off x="2390595" y="1849097"/>
              <a:ext cx="1360714" cy="180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Arial"/>
                </a:rPr>
                <a:t>Dialoogsessies</a:t>
              </a:r>
              <a:endParaRPr kumimoji="0" lang="en-US" sz="1200" b="1" i="0" u="none" strike="noStrike" kern="1200" cap="none" spc="0" normalizeH="0" baseline="0" noProof="0">
                <a:ln>
                  <a:noFill/>
                </a:ln>
                <a:solidFill>
                  <a:srgbClr val="000000"/>
                </a:solidFill>
                <a:effectLst/>
                <a:uLnTx/>
                <a:uFillTx/>
                <a:latin typeface="Arial"/>
                <a:ea typeface="ＭＳ Ｐゴシック"/>
                <a:cs typeface="Arial"/>
              </a:endParaRPr>
            </a:p>
          </p:txBody>
        </p:sp>
      </p:grpSp>
      <p:sp>
        <p:nvSpPr>
          <p:cNvPr id="80" name="Freeform 5">
            <a:extLst>
              <a:ext uri="{FF2B5EF4-FFF2-40B4-BE49-F238E27FC236}">
                <a16:creationId xmlns:a16="http://schemas.microsoft.com/office/drawing/2014/main" id="{9ADCED8E-295F-4B85-A562-3E9F378973D9}"/>
              </a:ext>
            </a:extLst>
          </p:cNvPr>
          <p:cNvSpPr>
            <a:spLocks/>
          </p:cNvSpPr>
          <p:nvPr>
            <p:custDataLst>
              <p:tags r:id="rId5"/>
            </p:custDataLst>
          </p:nvPr>
        </p:nvSpPr>
        <p:spPr bwMode="auto">
          <a:xfrm>
            <a:off x="5930210" y="1588651"/>
            <a:ext cx="2112165" cy="2098296"/>
          </a:xfrm>
          <a:custGeom>
            <a:avLst/>
            <a:gdLst>
              <a:gd name="T0" fmla="*/ 2147483647 w 1530"/>
              <a:gd name="T1" fmla="*/ 2147483647 h 1871"/>
              <a:gd name="T2" fmla="*/ 2147483647 w 1530"/>
              <a:gd name="T3" fmla="*/ 2147483647 h 1871"/>
              <a:gd name="T4" fmla="*/ 2147483647 w 1530"/>
              <a:gd name="T5" fmla="*/ 2147483647 h 1871"/>
              <a:gd name="T6" fmla="*/ 2147483647 w 1530"/>
              <a:gd name="T7" fmla="*/ 2147483647 h 1871"/>
              <a:gd name="T8" fmla="*/ 2147483647 w 1530"/>
              <a:gd name="T9" fmla="*/ 2147483647 h 1871"/>
              <a:gd name="T10" fmla="*/ 2147483647 w 1530"/>
              <a:gd name="T11" fmla="*/ 2147483647 h 1871"/>
              <a:gd name="T12" fmla="*/ 2147483647 w 1530"/>
              <a:gd name="T13" fmla="*/ 2147483647 h 1871"/>
              <a:gd name="T14" fmla="*/ 2147483647 w 1530"/>
              <a:gd name="T15" fmla="*/ 2147483647 h 1871"/>
              <a:gd name="T16" fmla="*/ 2147483647 w 1530"/>
              <a:gd name="T17" fmla="*/ 2147483647 h 1871"/>
              <a:gd name="T18" fmla="*/ 2147483647 w 1530"/>
              <a:gd name="T19" fmla="*/ 2147483647 h 1871"/>
              <a:gd name="T20" fmla="*/ 2147483647 w 1530"/>
              <a:gd name="T21" fmla="*/ 2147483647 h 1871"/>
              <a:gd name="T22" fmla="*/ 2147483647 w 1530"/>
              <a:gd name="T23" fmla="*/ 2147483647 h 1871"/>
              <a:gd name="T24" fmla="*/ 2147483647 w 1530"/>
              <a:gd name="T25" fmla="*/ 2147483647 h 1871"/>
              <a:gd name="T26" fmla="*/ 2147483647 w 1530"/>
              <a:gd name="T27" fmla="*/ 2147483647 h 1871"/>
              <a:gd name="T28" fmla="*/ 2147483647 w 1530"/>
              <a:gd name="T29" fmla="*/ 2147483647 h 1871"/>
              <a:gd name="T30" fmla="*/ 2147483647 w 1530"/>
              <a:gd name="T31" fmla="*/ 2147483647 h 1871"/>
              <a:gd name="T32" fmla="*/ 2147483647 w 1530"/>
              <a:gd name="T33" fmla="*/ 2147483647 h 1871"/>
              <a:gd name="T34" fmla="*/ 2147483647 w 1530"/>
              <a:gd name="T35" fmla="*/ 2147483647 h 1871"/>
              <a:gd name="T36" fmla="*/ 2147483647 w 1530"/>
              <a:gd name="T37" fmla="*/ 2147483647 h 1871"/>
              <a:gd name="T38" fmla="*/ 2147483647 w 1530"/>
              <a:gd name="T39" fmla="*/ 2147483647 h 1871"/>
              <a:gd name="T40" fmla="*/ 2147483647 w 1530"/>
              <a:gd name="T41" fmla="*/ 2147483647 h 1871"/>
              <a:gd name="T42" fmla="*/ 2147483647 w 1530"/>
              <a:gd name="T43" fmla="*/ 2147483647 h 1871"/>
              <a:gd name="T44" fmla="*/ 2147483647 w 1530"/>
              <a:gd name="T45" fmla="*/ 2147483647 h 1871"/>
              <a:gd name="T46" fmla="*/ 2147483647 w 1530"/>
              <a:gd name="T47" fmla="*/ 2147483647 h 1871"/>
              <a:gd name="T48" fmla="*/ 2147483647 w 1530"/>
              <a:gd name="T49" fmla="*/ 2147483647 h 1871"/>
              <a:gd name="T50" fmla="*/ 2147483647 w 1530"/>
              <a:gd name="T51" fmla="*/ 2147483647 h 1871"/>
              <a:gd name="T52" fmla="*/ 2147483647 w 1530"/>
              <a:gd name="T53" fmla="*/ 2147483647 h 1871"/>
              <a:gd name="T54" fmla="*/ 2147483647 w 1530"/>
              <a:gd name="T55" fmla="*/ 2147483647 h 1871"/>
              <a:gd name="T56" fmla="*/ 2147483647 w 1530"/>
              <a:gd name="T57" fmla="*/ 2147483647 h 1871"/>
              <a:gd name="T58" fmla="*/ 2147483647 w 1530"/>
              <a:gd name="T59" fmla="*/ 2147483647 h 1871"/>
              <a:gd name="T60" fmla="*/ 2147483647 w 1530"/>
              <a:gd name="T61" fmla="*/ 2147483647 h 1871"/>
              <a:gd name="T62" fmla="*/ 2147483647 w 1530"/>
              <a:gd name="T63" fmla="*/ 2147483647 h 1871"/>
              <a:gd name="T64" fmla="*/ 2147483647 w 1530"/>
              <a:gd name="T65" fmla="*/ 2147483647 h 1871"/>
              <a:gd name="T66" fmla="*/ 2147483647 w 1530"/>
              <a:gd name="T67" fmla="*/ 2147483647 h 1871"/>
              <a:gd name="T68" fmla="*/ 2147483647 w 1530"/>
              <a:gd name="T69" fmla="*/ 2147483647 h 1871"/>
              <a:gd name="T70" fmla="*/ 2147483647 w 1530"/>
              <a:gd name="T71" fmla="*/ 2147483647 h 1871"/>
              <a:gd name="T72" fmla="*/ 2147483647 w 1530"/>
              <a:gd name="T73" fmla="*/ 2147483647 h 1871"/>
              <a:gd name="T74" fmla="*/ 2147483647 w 1530"/>
              <a:gd name="T75" fmla="*/ 2147483647 h 1871"/>
              <a:gd name="T76" fmla="*/ 2147483647 w 1530"/>
              <a:gd name="T77" fmla="*/ 2147483647 h 1871"/>
              <a:gd name="T78" fmla="*/ 2147483647 w 1530"/>
              <a:gd name="T79" fmla="*/ 2147483647 h 1871"/>
              <a:gd name="T80" fmla="*/ 2147483647 w 1530"/>
              <a:gd name="T81" fmla="*/ 2147483647 h 1871"/>
              <a:gd name="T82" fmla="*/ 2147483647 w 1530"/>
              <a:gd name="T83" fmla="*/ 2147483647 h 1871"/>
              <a:gd name="T84" fmla="*/ 2147483647 w 1530"/>
              <a:gd name="T85" fmla="*/ 2147483647 h 1871"/>
              <a:gd name="T86" fmla="*/ 2147483647 w 1530"/>
              <a:gd name="T87" fmla="*/ 2147483647 h 1871"/>
              <a:gd name="T88" fmla="*/ 2147483647 w 1530"/>
              <a:gd name="T89" fmla="*/ 2147483647 h 1871"/>
              <a:gd name="T90" fmla="*/ 2147483647 w 1530"/>
              <a:gd name="T91" fmla="*/ 2147483647 h 1871"/>
              <a:gd name="T92" fmla="*/ 2147483647 w 1530"/>
              <a:gd name="T93" fmla="*/ 2147483647 h 1871"/>
              <a:gd name="T94" fmla="*/ 2147483647 w 1530"/>
              <a:gd name="T95" fmla="*/ 2147483647 h 1871"/>
              <a:gd name="T96" fmla="*/ 2147483647 w 1530"/>
              <a:gd name="T97" fmla="*/ 0 h 1871"/>
              <a:gd name="T98" fmla="*/ 2147483647 w 1530"/>
              <a:gd name="T99" fmla="*/ 2147483647 h 18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30"/>
              <a:gd name="T151" fmla="*/ 0 h 1871"/>
              <a:gd name="T152" fmla="*/ 1530 w 1530"/>
              <a:gd name="T153" fmla="*/ 1871 h 1871"/>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75 h 10000"/>
              <a:gd name="connsiteX146" fmla="*/ 26 w 10000"/>
              <a:gd name="connsiteY146" fmla="*/ 4768 h 10000"/>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43 h 10000"/>
              <a:gd name="connsiteX146" fmla="*/ 26 w 10000"/>
              <a:gd name="connsiteY146" fmla="*/ 4768 h 10000"/>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43 h 10000"/>
              <a:gd name="connsiteX146" fmla="*/ 26 w 10000"/>
              <a:gd name="connsiteY146" fmla="*/ 4768 h 10000"/>
              <a:gd name="connsiteX0" fmla="*/ 0 w 9974"/>
              <a:gd name="connsiteY0" fmla="*/ 4771 h 10003"/>
              <a:gd name="connsiteX1" fmla="*/ 33 w 9974"/>
              <a:gd name="connsiteY1" fmla="*/ 4765 h 10003"/>
              <a:gd name="connsiteX2" fmla="*/ 137 w 9974"/>
              <a:gd name="connsiteY2" fmla="*/ 4765 h 10003"/>
              <a:gd name="connsiteX3" fmla="*/ 242 w 9974"/>
              <a:gd name="connsiteY3" fmla="*/ 4771 h 10003"/>
              <a:gd name="connsiteX4" fmla="*/ 347 w 9974"/>
              <a:gd name="connsiteY4" fmla="*/ 4776 h 10003"/>
              <a:gd name="connsiteX5" fmla="*/ 451 w 9974"/>
              <a:gd name="connsiteY5" fmla="*/ 4781 h 10003"/>
              <a:gd name="connsiteX6" fmla="*/ 556 w 9974"/>
              <a:gd name="connsiteY6" fmla="*/ 4797 h 10003"/>
              <a:gd name="connsiteX7" fmla="*/ 660 w 9974"/>
              <a:gd name="connsiteY7" fmla="*/ 4808 h 10003"/>
              <a:gd name="connsiteX8" fmla="*/ 758 w 9974"/>
              <a:gd name="connsiteY8" fmla="*/ 4819 h 10003"/>
              <a:gd name="connsiteX9" fmla="*/ 856 w 9974"/>
              <a:gd name="connsiteY9" fmla="*/ 4835 h 10003"/>
              <a:gd name="connsiteX10" fmla="*/ 961 w 9974"/>
              <a:gd name="connsiteY10" fmla="*/ 4851 h 10003"/>
              <a:gd name="connsiteX11" fmla="*/ 1059 w 9974"/>
              <a:gd name="connsiteY11" fmla="*/ 4872 h 10003"/>
              <a:gd name="connsiteX12" fmla="*/ 1157 w 9974"/>
              <a:gd name="connsiteY12" fmla="*/ 4893 h 10003"/>
              <a:gd name="connsiteX13" fmla="*/ 1255 w 9974"/>
              <a:gd name="connsiteY13" fmla="*/ 4915 h 10003"/>
              <a:gd name="connsiteX14" fmla="*/ 1347 w 9974"/>
              <a:gd name="connsiteY14" fmla="*/ 4942 h 10003"/>
              <a:gd name="connsiteX15" fmla="*/ 1445 w 9974"/>
              <a:gd name="connsiteY15" fmla="*/ 4968 h 10003"/>
              <a:gd name="connsiteX16" fmla="*/ 1536 w 9974"/>
              <a:gd name="connsiteY16" fmla="*/ 5000 h 10003"/>
              <a:gd name="connsiteX17" fmla="*/ 1628 w 9974"/>
              <a:gd name="connsiteY17" fmla="*/ 5032 h 10003"/>
              <a:gd name="connsiteX18" fmla="*/ 1719 w 9974"/>
              <a:gd name="connsiteY18" fmla="*/ 5064 h 10003"/>
              <a:gd name="connsiteX19" fmla="*/ 1811 w 9974"/>
              <a:gd name="connsiteY19" fmla="*/ 5097 h 10003"/>
              <a:gd name="connsiteX20" fmla="*/ 1902 w 9974"/>
              <a:gd name="connsiteY20" fmla="*/ 5134 h 10003"/>
              <a:gd name="connsiteX21" fmla="*/ 1994 w 9974"/>
              <a:gd name="connsiteY21" fmla="*/ 5171 h 10003"/>
              <a:gd name="connsiteX22" fmla="*/ 2079 w 9974"/>
              <a:gd name="connsiteY22" fmla="*/ 5214 h 10003"/>
              <a:gd name="connsiteX23" fmla="*/ 2164 w 9974"/>
              <a:gd name="connsiteY23" fmla="*/ 5252 h 10003"/>
              <a:gd name="connsiteX24" fmla="*/ 2249 w 9974"/>
              <a:gd name="connsiteY24" fmla="*/ 5294 h 10003"/>
              <a:gd name="connsiteX25" fmla="*/ 2327 w 9974"/>
              <a:gd name="connsiteY25" fmla="*/ 5337 h 10003"/>
              <a:gd name="connsiteX26" fmla="*/ 2412 w 9974"/>
              <a:gd name="connsiteY26" fmla="*/ 5385 h 10003"/>
              <a:gd name="connsiteX27" fmla="*/ 2490 w 9974"/>
              <a:gd name="connsiteY27" fmla="*/ 5433 h 10003"/>
              <a:gd name="connsiteX28" fmla="*/ 2569 w 9974"/>
              <a:gd name="connsiteY28" fmla="*/ 5481 h 10003"/>
              <a:gd name="connsiteX29" fmla="*/ 2647 w 9974"/>
              <a:gd name="connsiteY29" fmla="*/ 5529 h 10003"/>
              <a:gd name="connsiteX30" fmla="*/ 2726 w 9974"/>
              <a:gd name="connsiteY30" fmla="*/ 5583 h 10003"/>
              <a:gd name="connsiteX31" fmla="*/ 2798 w 9974"/>
              <a:gd name="connsiteY31" fmla="*/ 5636 h 10003"/>
              <a:gd name="connsiteX32" fmla="*/ 2869 w 9974"/>
              <a:gd name="connsiteY32" fmla="*/ 5690 h 10003"/>
              <a:gd name="connsiteX33" fmla="*/ 2941 w 9974"/>
              <a:gd name="connsiteY33" fmla="*/ 5749 h 10003"/>
              <a:gd name="connsiteX34" fmla="*/ 3007 w 9974"/>
              <a:gd name="connsiteY34" fmla="*/ 5807 h 10003"/>
              <a:gd name="connsiteX35" fmla="*/ 3079 w 9974"/>
              <a:gd name="connsiteY35" fmla="*/ 5866 h 10003"/>
              <a:gd name="connsiteX36" fmla="*/ 3144 w 9974"/>
              <a:gd name="connsiteY36" fmla="*/ 5925 h 10003"/>
              <a:gd name="connsiteX37" fmla="*/ 3203 w 9974"/>
              <a:gd name="connsiteY37" fmla="*/ 5989 h 10003"/>
              <a:gd name="connsiteX38" fmla="*/ 3268 w 9974"/>
              <a:gd name="connsiteY38" fmla="*/ 6048 h 10003"/>
              <a:gd name="connsiteX39" fmla="*/ 3327 w 9974"/>
              <a:gd name="connsiteY39" fmla="*/ 6112 h 10003"/>
              <a:gd name="connsiteX40" fmla="*/ 3386 w 9974"/>
              <a:gd name="connsiteY40" fmla="*/ 6176 h 10003"/>
              <a:gd name="connsiteX41" fmla="*/ 3445 w 9974"/>
              <a:gd name="connsiteY41" fmla="*/ 6240 h 10003"/>
              <a:gd name="connsiteX42" fmla="*/ 3497 w 9974"/>
              <a:gd name="connsiteY42" fmla="*/ 6310 h 10003"/>
              <a:gd name="connsiteX43" fmla="*/ 3549 w 9974"/>
              <a:gd name="connsiteY43" fmla="*/ 6379 h 10003"/>
              <a:gd name="connsiteX44" fmla="*/ 3601 w 9974"/>
              <a:gd name="connsiteY44" fmla="*/ 6449 h 10003"/>
              <a:gd name="connsiteX45" fmla="*/ 3654 w 9974"/>
              <a:gd name="connsiteY45" fmla="*/ 6518 h 10003"/>
              <a:gd name="connsiteX46" fmla="*/ 3693 w 9974"/>
              <a:gd name="connsiteY46" fmla="*/ 6593 h 10003"/>
              <a:gd name="connsiteX47" fmla="*/ 3745 w 9974"/>
              <a:gd name="connsiteY47" fmla="*/ 6668 h 10003"/>
              <a:gd name="connsiteX48" fmla="*/ 3784 w 9974"/>
              <a:gd name="connsiteY48" fmla="*/ 6737 h 10003"/>
              <a:gd name="connsiteX49" fmla="*/ 3824 w 9974"/>
              <a:gd name="connsiteY49" fmla="*/ 6812 h 10003"/>
              <a:gd name="connsiteX50" fmla="*/ 3863 w 9974"/>
              <a:gd name="connsiteY50" fmla="*/ 6887 h 10003"/>
              <a:gd name="connsiteX51" fmla="*/ 3896 w 9974"/>
              <a:gd name="connsiteY51" fmla="*/ 6962 h 10003"/>
              <a:gd name="connsiteX52" fmla="*/ 3928 w 9974"/>
              <a:gd name="connsiteY52" fmla="*/ 7042 h 10003"/>
              <a:gd name="connsiteX53" fmla="*/ 3961 w 9974"/>
              <a:gd name="connsiteY53" fmla="*/ 7122 h 10003"/>
              <a:gd name="connsiteX54" fmla="*/ 3994 w 9974"/>
              <a:gd name="connsiteY54" fmla="*/ 7197 h 10003"/>
              <a:gd name="connsiteX55" fmla="*/ 4020 w 9974"/>
              <a:gd name="connsiteY55" fmla="*/ 7277 h 10003"/>
              <a:gd name="connsiteX56" fmla="*/ 4039 w 9974"/>
              <a:gd name="connsiteY56" fmla="*/ 7357 h 10003"/>
              <a:gd name="connsiteX57" fmla="*/ 4066 w 9974"/>
              <a:gd name="connsiteY57" fmla="*/ 7443 h 10003"/>
              <a:gd name="connsiteX58" fmla="*/ 4085 w 9974"/>
              <a:gd name="connsiteY58" fmla="*/ 7523 h 10003"/>
              <a:gd name="connsiteX59" fmla="*/ 4105 w 9974"/>
              <a:gd name="connsiteY59" fmla="*/ 7603 h 10003"/>
              <a:gd name="connsiteX60" fmla="*/ 4118 w 9974"/>
              <a:gd name="connsiteY60" fmla="*/ 7689 h 10003"/>
              <a:gd name="connsiteX61" fmla="*/ 4131 w 9974"/>
              <a:gd name="connsiteY61" fmla="*/ 7774 h 10003"/>
              <a:gd name="connsiteX62" fmla="*/ 4137 w 9974"/>
              <a:gd name="connsiteY62" fmla="*/ 7860 h 10003"/>
              <a:gd name="connsiteX63" fmla="*/ 4144 w 9974"/>
              <a:gd name="connsiteY63" fmla="*/ 7945 h 10003"/>
              <a:gd name="connsiteX64" fmla="*/ 4144 w 9974"/>
              <a:gd name="connsiteY64" fmla="*/ 8031 h 10003"/>
              <a:gd name="connsiteX65" fmla="*/ 4150 w 9974"/>
              <a:gd name="connsiteY65" fmla="*/ 8116 h 10003"/>
              <a:gd name="connsiteX66" fmla="*/ 4144 w 9974"/>
              <a:gd name="connsiteY66" fmla="*/ 8229 h 10003"/>
              <a:gd name="connsiteX67" fmla="*/ 4137 w 9974"/>
              <a:gd name="connsiteY67" fmla="*/ 8346 h 10003"/>
              <a:gd name="connsiteX68" fmla="*/ 4131 w 9974"/>
              <a:gd name="connsiteY68" fmla="*/ 8453 h 10003"/>
              <a:gd name="connsiteX69" fmla="*/ 4111 w 9974"/>
              <a:gd name="connsiteY69" fmla="*/ 8565 h 10003"/>
              <a:gd name="connsiteX70" fmla="*/ 6713 w 9974"/>
              <a:gd name="connsiteY70" fmla="*/ 10003 h 10003"/>
              <a:gd name="connsiteX71" fmla="*/ 9824 w 9974"/>
              <a:gd name="connsiteY71" fmla="*/ 9501 h 10003"/>
              <a:gd name="connsiteX72" fmla="*/ 9863 w 9974"/>
              <a:gd name="connsiteY72" fmla="*/ 9335 h 10003"/>
              <a:gd name="connsiteX73" fmla="*/ 9889 w 9974"/>
              <a:gd name="connsiteY73" fmla="*/ 9164 h 10003"/>
              <a:gd name="connsiteX74" fmla="*/ 9915 w 9974"/>
              <a:gd name="connsiteY74" fmla="*/ 8993 h 10003"/>
              <a:gd name="connsiteX75" fmla="*/ 9935 w 9974"/>
              <a:gd name="connsiteY75" fmla="*/ 8816 h 10003"/>
              <a:gd name="connsiteX76" fmla="*/ 9948 w 9974"/>
              <a:gd name="connsiteY76" fmla="*/ 8640 h 10003"/>
              <a:gd name="connsiteX77" fmla="*/ 9961 w 9974"/>
              <a:gd name="connsiteY77" fmla="*/ 8469 h 10003"/>
              <a:gd name="connsiteX78" fmla="*/ 9967 w 9974"/>
              <a:gd name="connsiteY78" fmla="*/ 8293 h 10003"/>
              <a:gd name="connsiteX79" fmla="*/ 9974 w 9974"/>
              <a:gd name="connsiteY79" fmla="*/ 8116 h 10003"/>
              <a:gd name="connsiteX80" fmla="*/ 9967 w 9974"/>
              <a:gd name="connsiteY80" fmla="*/ 7903 h 10003"/>
              <a:gd name="connsiteX81" fmla="*/ 9961 w 9974"/>
              <a:gd name="connsiteY81" fmla="*/ 7699 h 10003"/>
              <a:gd name="connsiteX82" fmla="*/ 9941 w 9974"/>
              <a:gd name="connsiteY82" fmla="*/ 7491 h 10003"/>
              <a:gd name="connsiteX83" fmla="*/ 9922 w 9974"/>
              <a:gd name="connsiteY83" fmla="*/ 7288 h 10003"/>
              <a:gd name="connsiteX84" fmla="*/ 9889 w 9974"/>
              <a:gd name="connsiteY84" fmla="*/ 7079 h 10003"/>
              <a:gd name="connsiteX85" fmla="*/ 9856 w 9974"/>
              <a:gd name="connsiteY85" fmla="*/ 6882 h 10003"/>
              <a:gd name="connsiteX86" fmla="*/ 9817 w 9974"/>
              <a:gd name="connsiteY86" fmla="*/ 6679 h 10003"/>
              <a:gd name="connsiteX87" fmla="*/ 9771 w 9974"/>
              <a:gd name="connsiteY87" fmla="*/ 6481 h 10003"/>
              <a:gd name="connsiteX88" fmla="*/ 9719 w 9974"/>
              <a:gd name="connsiteY88" fmla="*/ 6283 h 10003"/>
              <a:gd name="connsiteX89" fmla="*/ 9660 w 9974"/>
              <a:gd name="connsiteY89" fmla="*/ 6091 h 10003"/>
              <a:gd name="connsiteX90" fmla="*/ 9595 w 9974"/>
              <a:gd name="connsiteY90" fmla="*/ 5893 h 10003"/>
              <a:gd name="connsiteX91" fmla="*/ 9530 w 9974"/>
              <a:gd name="connsiteY91" fmla="*/ 5700 h 10003"/>
              <a:gd name="connsiteX92" fmla="*/ 9451 w 9974"/>
              <a:gd name="connsiteY92" fmla="*/ 5513 h 10003"/>
              <a:gd name="connsiteX93" fmla="*/ 9373 w 9974"/>
              <a:gd name="connsiteY93" fmla="*/ 5326 h 10003"/>
              <a:gd name="connsiteX94" fmla="*/ 9281 w 9974"/>
              <a:gd name="connsiteY94" fmla="*/ 5139 h 10003"/>
              <a:gd name="connsiteX95" fmla="*/ 9190 w 9974"/>
              <a:gd name="connsiteY95" fmla="*/ 4958 h 10003"/>
              <a:gd name="connsiteX96" fmla="*/ 9098 w 9974"/>
              <a:gd name="connsiteY96" fmla="*/ 4776 h 10003"/>
              <a:gd name="connsiteX97" fmla="*/ 8994 w 9974"/>
              <a:gd name="connsiteY97" fmla="*/ 4599 h 10003"/>
              <a:gd name="connsiteX98" fmla="*/ 8889 w 9974"/>
              <a:gd name="connsiteY98" fmla="*/ 4423 h 10003"/>
              <a:gd name="connsiteX99" fmla="*/ 8778 w 9974"/>
              <a:gd name="connsiteY99" fmla="*/ 4247 h 10003"/>
              <a:gd name="connsiteX100" fmla="*/ 8660 w 9974"/>
              <a:gd name="connsiteY100" fmla="*/ 4076 h 10003"/>
              <a:gd name="connsiteX101" fmla="*/ 8536 w 9974"/>
              <a:gd name="connsiteY101" fmla="*/ 3910 h 10003"/>
              <a:gd name="connsiteX102" fmla="*/ 8412 w 9974"/>
              <a:gd name="connsiteY102" fmla="*/ 3744 h 10003"/>
              <a:gd name="connsiteX103" fmla="*/ 8281 w 9974"/>
              <a:gd name="connsiteY103" fmla="*/ 3579 h 10003"/>
              <a:gd name="connsiteX104" fmla="*/ 8144 w 9974"/>
              <a:gd name="connsiteY104" fmla="*/ 3418 h 10003"/>
              <a:gd name="connsiteX105" fmla="*/ 8000 w 9974"/>
              <a:gd name="connsiteY105" fmla="*/ 3263 h 10003"/>
              <a:gd name="connsiteX106" fmla="*/ 7856 w 9974"/>
              <a:gd name="connsiteY106" fmla="*/ 3108 h 10003"/>
              <a:gd name="connsiteX107" fmla="*/ 7706 w 9974"/>
              <a:gd name="connsiteY107" fmla="*/ 2953 h 10003"/>
              <a:gd name="connsiteX108" fmla="*/ 7556 w 9974"/>
              <a:gd name="connsiteY108" fmla="*/ 2809 h 10003"/>
              <a:gd name="connsiteX109" fmla="*/ 7392 w 9974"/>
              <a:gd name="connsiteY109" fmla="*/ 2665 h 10003"/>
              <a:gd name="connsiteX110" fmla="*/ 7235 w 9974"/>
              <a:gd name="connsiteY110" fmla="*/ 2520 h 10003"/>
              <a:gd name="connsiteX111" fmla="*/ 7066 w 9974"/>
              <a:gd name="connsiteY111" fmla="*/ 2376 h 10003"/>
              <a:gd name="connsiteX112" fmla="*/ 6896 w 9974"/>
              <a:gd name="connsiteY112" fmla="*/ 2242 h 10003"/>
              <a:gd name="connsiteX113" fmla="*/ 6726 w 9974"/>
              <a:gd name="connsiteY113" fmla="*/ 2109 h 10003"/>
              <a:gd name="connsiteX114" fmla="*/ 6543 w 9974"/>
              <a:gd name="connsiteY114" fmla="*/ 1981 h 10003"/>
              <a:gd name="connsiteX115" fmla="*/ 6360 w 9974"/>
              <a:gd name="connsiteY115" fmla="*/ 1858 h 10003"/>
              <a:gd name="connsiteX116" fmla="*/ 6177 w 9974"/>
              <a:gd name="connsiteY116" fmla="*/ 1735 h 10003"/>
              <a:gd name="connsiteX117" fmla="*/ 5987 w 9974"/>
              <a:gd name="connsiteY117" fmla="*/ 1617 h 10003"/>
              <a:gd name="connsiteX118" fmla="*/ 5791 w 9974"/>
              <a:gd name="connsiteY118" fmla="*/ 1500 h 10003"/>
              <a:gd name="connsiteX119" fmla="*/ 5595 w 9974"/>
              <a:gd name="connsiteY119" fmla="*/ 1387 h 10003"/>
              <a:gd name="connsiteX120" fmla="*/ 5399 w 9974"/>
              <a:gd name="connsiteY120" fmla="*/ 1280 h 10003"/>
              <a:gd name="connsiteX121" fmla="*/ 5196 w 9974"/>
              <a:gd name="connsiteY121" fmla="*/ 1179 h 10003"/>
              <a:gd name="connsiteX122" fmla="*/ 4994 w 9974"/>
              <a:gd name="connsiteY122" fmla="*/ 1077 h 10003"/>
              <a:gd name="connsiteX123" fmla="*/ 4778 w 9974"/>
              <a:gd name="connsiteY123" fmla="*/ 981 h 10003"/>
              <a:gd name="connsiteX124" fmla="*/ 4569 w 9974"/>
              <a:gd name="connsiteY124" fmla="*/ 890 h 10003"/>
              <a:gd name="connsiteX125" fmla="*/ 4353 w 9974"/>
              <a:gd name="connsiteY125" fmla="*/ 805 h 10003"/>
              <a:gd name="connsiteX126" fmla="*/ 4131 w 9974"/>
              <a:gd name="connsiteY126" fmla="*/ 719 h 10003"/>
              <a:gd name="connsiteX127" fmla="*/ 3915 w 9974"/>
              <a:gd name="connsiteY127" fmla="*/ 639 h 10003"/>
              <a:gd name="connsiteX128" fmla="*/ 3693 w 9974"/>
              <a:gd name="connsiteY128" fmla="*/ 570 h 10003"/>
              <a:gd name="connsiteX129" fmla="*/ 3464 w 9974"/>
              <a:gd name="connsiteY129" fmla="*/ 495 h 10003"/>
              <a:gd name="connsiteX130" fmla="*/ 3235 w 9974"/>
              <a:gd name="connsiteY130" fmla="*/ 431 h 10003"/>
              <a:gd name="connsiteX131" fmla="*/ 3000 w 9974"/>
              <a:gd name="connsiteY131" fmla="*/ 366 h 10003"/>
              <a:gd name="connsiteX132" fmla="*/ 2771 w 9974"/>
              <a:gd name="connsiteY132" fmla="*/ 313 h 10003"/>
              <a:gd name="connsiteX133" fmla="*/ 2530 w 9974"/>
              <a:gd name="connsiteY133" fmla="*/ 260 h 10003"/>
              <a:gd name="connsiteX134" fmla="*/ 2288 w 9974"/>
              <a:gd name="connsiteY134" fmla="*/ 211 h 10003"/>
              <a:gd name="connsiteX135" fmla="*/ 2052 w 9974"/>
              <a:gd name="connsiteY135" fmla="*/ 169 h 10003"/>
              <a:gd name="connsiteX136" fmla="*/ 1811 w 9974"/>
              <a:gd name="connsiteY136" fmla="*/ 131 h 10003"/>
              <a:gd name="connsiteX137" fmla="*/ 1562 w 9974"/>
              <a:gd name="connsiteY137" fmla="*/ 94 h 10003"/>
              <a:gd name="connsiteX138" fmla="*/ 1314 w 9974"/>
              <a:gd name="connsiteY138" fmla="*/ 67 h 10003"/>
              <a:gd name="connsiteX139" fmla="*/ 1066 w 9974"/>
              <a:gd name="connsiteY139" fmla="*/ 46 h 10003"/>
              <a:gd name="connsiteX140" fmla="*/ 817 w 9974"/>
              <a:gd name="connsiteY140" fmla="*/ 30 h 10003"/>
              <a:gd name="connsiteX141" fmla="*/ 562 w 9974"/>
              <a:gd name="connsiteY141" fmla="*/ 14 h 10003"/>
              <a:gd name="connsiteX142" fmla="*/ 307 w 9974"/>
              <a:gd name="connsiteY142" fmla="*/ 8 h 10003"/>
              <a:gd name="connsiteX143" fmla="*/ 52 w 9974"/>
              <a:gd name="connsiteY143" fmla="*/ 3 h 10003"/>
              <a:gd name="connsiteX144" fmla="*/ 13 w 9974"/>
              <a:gd name="connsiteY144" fmla="*/ 0 h 10003"/>
              <a:gd name="connsiteX145" fmla="*/ 1219 w 9974"/>
              <a:gd name="connsiteY145" fmla="*/ 2446 h 10003"/>
              <a:gd name="connsiteX146" fmla="*/ 0 w 9974"/>
              <a:gd name="connsiteY146" fmla="*/ 4771 h 10003"/>
              <a:gd name="connsiteX0" fmla="*/ 0 w 9990"/>
              <a:gd name="connsiteY0" fmla="*/ 4770 h 10000"/>
              <a:gd name="connsiteX1" fmla="*/ 23 w 9990"/>
              <a:gd name="connsiteY1" fmla="*/ 4764 h 10000"/>
              <a:gd name="connsiteX2" fmla="*/ 127 w 9990"/>
              <a:gd name="connsiteY2" fmla="*/ 4764 h 10000"/>
              <a:gd name="connsiteX3" fmla="*/ 233 w 9990"/>
              <a:gd name="connsiteY3" fmla="*/ 4770 h 10000"/>
              <a:gd name="connsiteX4" fmla="*/ 338 w 9990"/>
              <a:gd name="connsiteY4" fmla="*/ 4775 h 10000"/>
              <a:gd name="connsiteX5" fmla="*/ 442 w 9990"/>
              <a:gd name="connsiteY5" fmla="*/ 4780 h 10000"/>
              <a:gd name="connsiteX6" fmla="*/ 547 w 9990"/>
              <a:gd name="connsiteY6" fmla="*/ 4796 h 10000"/>
              <a:gd name="connsiteX7" fmla="*/ 652 w 9990"/>
              <a:gd name="connsiteY7" fmla="*/ 4807 h 10000"/>
              <a:gd name="connsiteX8" fmla="*/ 750 w 9990"/>
              <a:gd name="connsiteY8" fmla="*/ 4818 h 10000"/>
              <a:gd name="connsiteX9" fmla="*/ 848 w 9990"/>
              <a:gd name="connsiteY9" fmla="*/ 4834 h 10000"/>
              <a:gd name="connsiteX10" fmla="*/ 954 w 9990"/>
              <a:gd name="connsiteY10" fmla="*/ 4850 h 10000"/>
              <a:gd name="connsiteX11" fmla="*/ 1052 w 9990"/>
              <a:gd name="connsiteY11" fmla="*/ 4871 h 10000"/>
              <a:gd name="connsiteX12" fmla="*/ 1150 w 9990"/>
              <a:gd name="connsiteY12" fmla="*/ 4892 h 10000"/>
              <a:gd name="connsiteX13" fmla="*/ 1248 w 9990"/>
              <a:gd name="connsiteY13" fmla="*/ 4914 h 10000"/>
              <a:gd name="connsiteX14" fmla="*/ 1341 w 9990"/>
              <a:gd name="connsiteY14" fmla="*/ 4941 h 10000"/>
              <a:gd name="connsiteX15" fmla="*/ 1439 w 9990"/>
              <a:gd name="connsiteY15" fmla="*/ 4967 h 10000"/>
              <a:gd name="connsiteX16" fmla="*/ 1530 w 9990"/>
              <a:gd name="connsiteY16" fmla="*/ 4999 h 10000"/>
              <a:gd name="connsiteX17" fmla="*/ 1622 w 9990"/>
              <a:gd name="connsiteY17" fmla="*/ 5030 h 10000"/>
              <a:gd name="connsiteX18" fmla="*/ 1713 w 9990"/>
              <a:gd name="connsiteY18" fmla="*/ 5062 h 10000"/>
              <a:gd name="connsiteX19" fmla="*/ 1806 w 9990"/>
              <a:gd name="connsiteY19" fmla="*/ 5095 h 10000"/>
              <a:gd name="connsiteX20" fmla="*/ 1897 w 9990"/>
              <a:gd name="connsiteY20" fmla="*/ 5132 h 10000"/>
              <a:gd name="connsiteX21" fmla="*/ 1989 w 9990"/>
              <a:gd name="connsiteY21" fmla="*/ 5169 h 10000"/>
              <a:gd name="connsiteX22" fmla="*/ 2074 w 9990"/>
              <a:gd name="connsiteY22" fmla="*/ 5212 h 10000"/>
              <a:gd name="connsiteX23" fmla="*/ 2160 w 9990"/>
              <a:gd name="connsiteY23" fmla="*/ 5250 h 10000"/>
              <a:gd name="connsiteX24" fmla="*/ 2245 w 9990"/>
              <a:gd name="connsiteY24" fmla="*/ 5292 h 10000"/>
              <a:gd name="connsiteX25" fmla="*/ 2323 w 9990"/>
              <a:gd name="connsiteY25" fmla="*/ 5335 h 10000"/>
              <a:gd name="connsiteX26" fmla="*/ 2408 w 9990"/>
              <a:gd name="connsiteY26" fmla="*/ 5383 h 10000"/>
              <a:gd name="connsiteX27" fmla="*/ 2486 w 9990"/>
              <a:gd name="connsiteY27" fmla="*/ 5431 h 10000"/>
              <a:gd name="connsiteX28" fmla="*/ 2566 w 9990"/>
              <a:gd name="connsiteY28" fmla="*/ 5479 h 10000"/>
              <a:gd name="connsiteX29" fmla="*/ 2644 w 9990"/>
              <a:gd name="connsiteY29" fmla="*/ 5527 h 10000"/>
              <a:gd name="connsiteX30" fmla="*/ 2723 w 9990"/>
              <a:gd name="connsiteY30" fmla="*/ 5581 h 10000"/>
              <a:gd name="connsiteX31" fmla="*/ 2795 w 9990"/>
              <a:gd name="connsiteY31" fmla="*/ 5634 h 10000"/>
              <a:gd name="connsiteX32" fmla="*/ 2866 w 9990"/>
              <a:gd name="connsiteY32" fmla="*/ 5688 h 10000"/>
              <a:gd name="connsiteX33" fmla="*/ 2939 w 9990"/>
              <a:gd name="connsiteY33" fmla="*/ 5747 h 10000"/>
              <a:gd name="connsiteX34" fmla="*/ 3005 w 9990"/>
              <a:gd name="connsiteY34" fmla="*/ 5805 h 10000"/>
              <a:gd name="connsiteX35" fmla="*/ 3077 w 9990"/>
              <a:gd name="connsiteY35" fmla="*/ 5864 h 10000"/>
              <a:gd name="connsiteX36" fmla="*/ 3142 w 9990"/>
              <a:gd name="connsiteY36" fmla="*/ 5923 h 10000"/>
              <a:gd name="connsiteX37" fmla="*/ 3201 w 9990"/>
              <a:gd name="connsiteY37" fmla="*/ 5987 h 10000"/>
              <a:gd name="connsiteX38" fmla="*/ 3267 w 9990"/>
              <a:gd name="connsiteY38" fmla="*/ 6046 h 10000"/>
              <a:gd name="connsiteX39" fmla="*/ 3326 w 9990"/>
              <a:gd name="connsiteY39" fmla="*/ 6110 h 10000"/>
              <a:gd name="connsiteX40" fmla="*/ 3385 w 9990"/>
              <a:gd name="connsiteY40" fmla="*/ 6174 h 10000"/>
              <a:gd name="connsiteX41" fmla="*/ 3444 w 9990"/>
              <a:gd name="connsiteY41" fmla="*/ 6238 h 10000"/>
              <a:gd name="connsiteX42" fmla="*/ 3496 w 9990"/>
              <a:gd name="connsiteY42" fmla="*/ 6308 h 10000"/>
              <a:gd name="connsiteX43" fmla="*/ 3548 w 9990"/>
              <a:gd name="connsiteY43" fmla="*/ 6377 h 10000"/>
              <a:gd name="connsiteX44" fmla="*/ 3600 w 9990"/>
              <a:gd name="connsiteY44" fmla="*/ 6447 h 10000"/>
              <a:gd name="connsiteX45" fmla="*/ 3654 w 9990"/>
              <a:gd name="connsiteY45" fmla="*/ 6516 h 10000"/>
              <a:gd name="connsiteX46" fmla="*/ 3693 w 9990"/>
              <a:gd name="connsiteY46" fmla="*/ 6591 h 10000"/>
              <a:gd name="connsiteX47" fmla="*/ 3745 w 9990"/>
              <a:gd name="connsiteY47" fmla="*/ 6666 h 10000"/>
              <a:gd name="connsiteX48" fmla="*/ 3784 w 9990"/>
              <a:gd name="connsiteY48" fmla="*/ 6735 h 10000"/>
              <a:gd name="connsiteX49" fmla="*/ 3824 w 9990"/>
              <a:gd name="connsiteY49" fmla="*/ 6810 h 10000"/>
              <a:gd name="connsiteX50" fmla="*/ 3863 w 9990"/>
              <a:gd name="connsiteY50" fmla="*/ 6885 h 10000"/>
              <a:gd name="connsiteX51" fmla="*/ 3896 w 9990"/>
              <a:gd name="connsiteY51" fmla="*/ 6960 h 10000"/>
              <a:gd name="connsiteX52" fmla="*/ 3928 w 9990"/>
              <a:gd name="connsiteY52" fmla="*/ 7040 h 10000"/>
              <a:gd name="connsiteX53" fmla="*/ 3961 w 9990"/>
              <a:gd name="connsiteY53" fmla="*/ 7120 h 10000"/>
              <a:gd name="connsiteX54" fmla="*/ 3994 w 9990"/>
              <a:gd name="connsiteY54" fmla="*/ 7195 h 10000"/>
              <a:gd name="connsiteX55" fmla="*/ 4020 w 9990"/>
              <a:gd name="connsiteY55" fmla="*/ 7275 h 10000"/>
              <a:gd name="connsiteX56" fmla="*/ 4040 w 9990"/>
              <a:gd name="connsiteY56" fmla="*/ 7355 h 10000"/>
              <a:gd name="connsiteX57" fmla="*/ 4067 w 9990"/>
              <a:gd name="connsiteY57" fmla="*/ 7441 h 10000"/>
              <a:gd name="connsiteX58" fmla="*/ 4086 w 9990"/>
              <a:gd name="connsiteY58" fmla="*/ 7521 h 10000"/>
              <a:gd name="connsiteX59" fmla="*/ 4106 w 9990"/>
              <a:gd name="connsiteY59" fmla="*/ 7601 h 10000"/>
              <a:gd name="connsiteX60" fmla="*/ 4119 w 9990"/>
              <a:gd name="connsiteY60" fmla="*/ 7687 h 10000"/>
              <a:gd name="connsiteX61" fmla="*/ 4132 w 9990"/>
              <a:gd name="connsiteY61" fmla="*/ 7772 h 10000"/>
              <a:gd name="connsiteX62" fmla="*/ 4138 w 9990"/>
              <a:gd name="connsiteY62" fmla="*/ 7858 h 10000"/>
              <a:gd name="connsiteX63" fmla="*/ 4145 w 9990"/>
              <a:gd name="connsiteY63" fmla="*/ 7943 h 10000"/>
              <a:gd name="connsiteX64" fmla="*/ 4145 w 9990"/>
              <a:gd name="connsiteY64" fmla="*/ 8029 h 10000"/>
              <a:gd name="connsiteX65" fmla="*/ 4151 w 9990"/>
              <a:gd name="connsiteY65" fmla="*/ 8114 h 10000"/>
              <a:gd name="connsiteX66" fmla="*/ 4145 w 9990"/>
              <a:gd name="connsiteY66" fmla="*/ 8227 h 10000"/>
              <a:gd name="connsiteX67" fmla="*/ 4138 w 9990"/>
              <a:gd name="connsiteY67" fmla="*/ 8343 h 10000"/>
              <a:gd name="connsiteX68" fmla="*/ 4132 w 9990"/>
              <a:gd name="connsiteY68" fmla="*/ 8450 h 10000"/>
              <a:gd name="connsiteX69" fmla="*/ 4112 w 9990"/>
              <a:gd name="connsiteY69" fmla="*/ 8562 h 10000"/>
              <a:gd name="connsiteX70" fmla="*/ 6720 w 9990"/>
              <a:gd name="connsiteY70" fmla="*/ 10000 h 10000"/>
              <a:gd name="connsiteX71" fmla="*/ 9840 w 9990"/>
              <a:gd name="connsiteY71" fmla="*/ 9498 h 10000"/>
              <a:gd name="connsiteX72" fmla="*/ 9879 w 9990"/>
              <a:gd name="connsiteY72" fmla="*/ 9332 h 10000"/>
              <a:gd name="connsiteX73" fmla="*/ 9905 w 9990"/>
              <a:gd name="connsiteY73" fmla="*/ 9161 h 10000"/>
              <a:gd name="connsiteX74" fmla="*/ 9931 w 9990"/>
              <a:gd name="connsiteY74" fmla="*/ 8990 h 10000"/>
              <a:gd name="connsiteX75" fmla="*/ 9951 w 9990"/>
              <a:gd name="connsiteY75" fmla="*/ 8813 h 10000"/>
              <a:gd name="connsiteX76" fmla="*/ 9964 w 9990"/>
              <a:gd name="connsiteY76" fmla="*/ 8637 h 10000"/>
              <a:gd name="connsiteX77" fmla="*/ 9977 w 9990"/>
              <a:gd name="connsiteY77" fmla="*/ 8466 h 10000"/>
              <a:gd name="connsiteX78" fmla="*/ 9983 w 9990"/>
              <a:gd name="connsiteY78" fmla="*/ 8291 h 10000"/>
              <a:gd name="connsiteX79" fmla="*/ 9990 w 9990"/>
              <a:gd name="connsiteY79" fmla="*/ 8114 h 10000"/>
              <a:gd name="connsiteX80" fmla="*/ 9983 w 9990"/>
              <a:gd name="connsiteY80" fmla="*/ 7901 h 10000"/>
              <a:gd name="connsiteX81" fmla="*/ 9977 w 9990"/>
              <a:gd name="connsiteY81" fmla="*/ 7697 h 10000"/>
              <a:gd name="connsiteX82" fmla="*/ 9957 w 9990"/>
              <a:gd name="connsiteY82" fmla="*/ 7489 h 10000"/>
              <a:gd name="connsiteX83" fmla="*/ 9938 w 9990"/>
              <a:gd name="connsiteY83" fmla="*/ 7286 h 10000"/>
              <a:gd name="connsiteX84" fmla="*/ 9905 w 9990"/>
              <a:gd name="connsiteY84" fmla="*/ 7077 h 10000"/>
              <a:gd name="connsiteX85" fmla="*/ 9872 w 9990"/>
              <a:gd name="connsiteY85" fmla="*/ 6880 h 10000"/>
              <a:gd name="connsiteX86" fmla="*/ 9833 w 9990"/>
              <a:gd name="connsiteY86" fmla="*/ 6677 h 10000"/>
              <a:gd name="connsiteX87" fmla="*/ 9786 w 9990"/>
              <a:gd name="connsiteY87" fmla="*/ 6479 h 10000"/>
              <a:gd name="connsiteX88" fmla="*/ 9734 w 9990"/>
              <a:gd name="connsiteY88" fmla="*/ 6281 h 10000"/>
              <a:gd name="connsiteX89" fmla="*/ 9675 w 9990"/>
              <a:gd name="connsiteY89" fmla="*/ 6089 h 10000"/>
              <a:gd name="connsiteX90" fmla="*/ 9610 w 9990"/>
              <a:gd name="connsiteY90" fmla="*/ 5891 h 10000"/>
              <a:gd name="connsiteX91" fmla="*/ 9545 w 9990"/>
              <a:gd name="connsiteY91" fmla="*/ 5698 h 10000"/>
              <a:gd name="connsiteX92" fmla="*/ 9466 w 9990"/>
              <a:gd name="connsiteY92" fmla="*/ 5511 h 10000"/>
              <a:gd name="connsiteX93" fmla="*/ 9387 w 9990"/>
              <a:gd name="connsiteY93" fmla="*/ 5324 h 10000"/>
              <a:gd name="connsiteX94" fmla="*/ 9295 w 9990"/>
              <a:gd name="connsiteY94" fmla="*/ 5137 h 10000"/>
              <a:gd name="connsiteX95" fmla="*/ 9204 w 9990"/>
              <a:gd name="connsiteY95" fmla="*/ 4957 h 10000"/>
              <a:gd name="connsiteX96" fmla="*/ 9112 w 9990"/>
              <a:gd name="connsiteY96" fmla="*/ 4775 h 10000"/>
              <a:gd name="connsiteX97" fmla="*/ 9007 w 9990"/>
              <a:gd name="connsiteY97" fmla="*/ 4598 h 10000"/>
              <a:gd name="connsiteX98" fmla="*/ 8902 w 9990"/>
              <a:gd name="connsiteY98" fmla="*/ 4422 h 10000"/>
              <a:gd name="connsiteX99" fmla="*/ 8791 w 9990"/>
              <a:gd name="connsiteY99" fmla="*/ 4246 h 10000"/>
              <a:gd name="connsiteX100" fmla="*/ 8673 w 9990"/>
              <a:gd name="connsiteY100" fmla="*/ 4075 h 10000"/>
              <a:gd name="connsiteX101" fmla="*/ 8548 w 9990"/>
              <a:gd name="connsiteY101" fmla="*/ 3909 h 10000"/>
              <a:gd name="connsiteX102" fmla="*/ 8424 w 9990"/>
              <a:gd name="connsiteY102" fmla="*/ 3743 h 10000"/>
              <a:gd name="connsiteX103" fmla="*/ 8293 w 9990"/>
              <a:gd name="connsiteY103" fmla="*/ 3578 h 10000"/>
              <a:gd name="connsiteX104" fmla="*/ 8155 w 9990"/>
              <a:gd name="connsiteY104" fmla="*/ 3417 h 10000"/>
              <a:gd name="connsiteX105" fmla="*/ 8011 w 9990"/>
              <a:gd name="connsiteY105" fmla="*/ 3262 h 10000"/>
              <a:gd name="connsiteX106" fmla="*/ 7866 w 9990"/>
              <a:gd name="connsiteY106" fmla="*/ 3107 h 10000"/>
              <a:gd name="connsiteX107" fmla="*/ 7716 w 9990"/>
              <a:gd name="connsiteY107" fmla="*/ 2952 h 10000"/>
              <a:gd name="connsiteX108" fmla="*/ 7566 w 9990"/>
              <a:gd name="connsiteY108" fmla="*/ 2808 h 10000"/>
              <a:gd name="connsiteX109" fmla="*/ 7401 w 9990"/>
              <a:gd name="connsiteY109" fmla="*/ 2664 h 10000"/>
              <a:gd name="connsiteX110" fmla="*/ 7244 w 9990"/>
              <a:gd name="connsiteY110" fmla="*/ 2519 h 10000"/>
              <a:gd name="connsiteX111" fmla="*/ 7074 w 9990"/>
              <a:gd name="connsiteY111" fmla="*/ 2375 h 10000"/>
              <a:gd name="connsiteX112" fmla="*/ 6904 w 9990"/>
              <a:gd name="connsiteY112" fmla="*/ 2241 h 10000"/>
              <a:gd name="connsiteX113" fmla="*/ 6734 w 9990"/>
              <a:gd name="connsiteY113" fmla="*/ 2108 h 10000"/>
              <a:gd name="connsiteX114" fmla="*/ 6550 w 9990"/>
              <a:gd name="connsiteY114" fmla="*/ 1980 h 10000"/>
              <a:gd name="connsiteX115" fmla="*/ 6367 w 9990"/>
              <a:gd name="connsiteY115" fmla="*/ 1857 h 10000"/>
              <a:gd name="connsiteX116" fmla="*/ 6183 w 9990"/>
              <a:gd name="connsiteY116" fmla="*/ 1734 h 10000"/>
              <a:gd name="connsiteX117" fmla="*/ 5993 w 9990"/>
              <a:gd name="connsiteY117" fmla="*/ 1617 h 10000"/>
              <a:gd name="connsiteX118" fmla="*/ 5796 w 9990"/>
              <a:gd name="connsiteY118" fmla="*/ 1500 h 10000"/>
              <a:gd name="connsiteX119" fmla="*/ 5600 w 9990"/>
              <a:gd name="connsiteY119" fmla="*/ 1387 h 10000"/>
              <a:gd name="connsiteX120" fmla="*/ 5403 w 9990"/>
              <a:gd name="connsiteY120" fmla="*/ 1280 h 10000"/>
              <a:gd name="connsiteX121" fmla="*/ 5200 w 9990"/>
              <a:gd name="connsiteY121" fmla="*/ 1179 h 10000"/>
              <a:gd name="connsiteX122" fmla="*/ 4997 w 9990"/>
              <a:gd name="connsiteY122" fmla="*/ 1077 h 10000"/>
              <a:gd name="connsiteX123" fmla="*/ 4780 w 9990"/>
              <a:gd name="connsiteY123" fmla="*/ 981 h 10000"/>
              <a:gd name="connsiteX124" fmla="*/ 4571 w 9990"/>
              <a:gd name="connsiteY124" fmla="*/ 890 h 10000"/>
              <a:gd name="connsiteX125" fmla="*/ 4354 w 9990"/>
              <a:gd name="connsiteY125" fmla="*/ 805 h 10000"/>
              <a:gd name="connsiteX126" fmla="*/ 4132 w 9990"/>
              <a:gd name="connsiteY126" fmla="*/ 719 h 10000"/>
              <a:gd name="connsiteX127" fmla="*/ 3915 w 9990"/>
              <a:gd name="connsiteY127" fmla="*/ 639 h 10000"/>
              <a:gd name="connsiteX128" fmla="*/ 3693 w 9990"/>
              <a:gd name="connsiteY128" fmla="*/ 570 h 10000"/>
              <a:gd name="connsiteX129" fmla="*/ 3463 w 9990"/>
              <a:gd name="connsiteY129" fmla="*/ 495 h 10000"/>
              <a:gd name="connsiteX130" fmla="*/ 3233 w 9990"/>
              <a:gd name="connsiteY130" fmla="*/ 431 h 10000"/>
              <a:gd name="connsiteX131" fmla="*/ 2998 w 9990"/>
              <a:gd name="connsiteY131" fmla="*/ 366 h 10000"/>
              <a:gd name="connsiteX132" fmla="*/ 2768 w 9990"/>
              <a:gd name="connsiteY132" fmla="*/ 313 h 10000"/>
              <a:gd name="connsiteX133" fmla="*/ 2527 w 9990"/>
              <a:gd name="connsiteY133" fmla="*/ 260 h 10000"/>
              <a:gd name="connsiteX134" fmla="*/ 2284 w 9990"/>
              <a:gd name="connsiteY134" fmla="*/ 211 h 10000"/>
              <a:gd name="connsiteX135" fmla="*/ 2047 w 9990"/>
              <a:gd name="connsiteY135" fmla="*/ 169 h 10000"/>
              <a:gd name="connsiteX136" fmla="*/ 1806 w 9990"/>
              <a:gd name="connsiteY136" fmla="*/ 131 h 10000"/>
              <a:gd name="connsiteX137" fmla="*/ 1556 w 9990"/>
              <a:gd name="connsiteY137" fmla="*/ 94 h 10000"/>
              <a:gd name="connsiteX138" fmla="*/ 1307 w 9990"/>
              <a:gd name="connsiteY138" fmla="*/ 67 h 10000"/>
              <a:gd name="connsiteX139" fmla="*/ 1059 w 9990"/>
              <a:gd name="connsiteY139" fmla="*/ 46 h 10000"/>
              <a:gd name="connsiteX140" fmla="*/ 809 w 9990"/>
              <a:gd name="connsiteY140" fmla="*/ 30 h 10000"/>
              <a:gd name="connsiteX141" fmla="*/ 553 w 9990"/>
              <a:gd name="connsiteY141" fmla="*/ 14 h 10000"/>
              <a:gd name="connsiteX142" fmla="*/ 298 w 9990"/>
              <a:gd name="connsiteY142" fmla="*/ 8 h 10000"/>
              <a:gd name="connsiteX143" fmla="*/ 42 w 9990"/>
              <a:gd name="connsiteY143" fmla="*/ 3 h 10000"/>
              <a:gd name="connsiteX144" fmla="*/ 3 w 9990"/>
              <a:gd name="connsiteY144" fmla="*/ 0 h 10000"/>
              <a:gd name="connsiteX145" fmla="*/ 1212 w 9990"/>
              <a:gd name="connsiteY145" fmla="*/ 2445 h 10000"/>
              <a:gd name="connsiteX146" fmla="*/ 0 w 9990"/>
              <a:gd name="connsiteY146" fmla="*/ 4770 h 10000"/>
              <a:gd name="connsiteX0" fmla="*/ 7 w 9997"/>
              <a:gd name="connsiteY0" fmla="*/ 4770 h 10000"/>
              <a:gd name="connsiteX1" fmla="*/ 20 w 9997"/>
              <a:gd name="connsiteY1" fmla="*/ 4764 h 10000"/>
              <a:gd name="connsiteX2" fmla="*/ 124 w 9997"/>
              <a:gd name="connsiteY2" fmla="*/ 4764 h 10000"/>
              <a:gd name="connsiteX3" fmla="*/ 230 w 9997"/>
              <a:gd name="connsiteY3" fmla="*/ 4770 h 10000"/>
              <a:gd name="connsiteX4" fmla="*/ 335 w 9997"/>
              <a:gd name="connsiteY4" fmla="*/ 4775 h 10000"/>
              <a:gd name="connsiteX5" fmla="*/ 439 w 9997"/>
              <a:gd name="connsiteY5" fmla="*/ 4780 h 10000"/>
              <a:gd name="connsiteX6" fmla="*/ 545 w 9997"/>
              <a:gd name="connsiteY6" fmla="*/ 4796 h 10000"/>
              <a:gd name="connsiteX7" fmla="*/ 650 w 9997"/>
              <a:gd name="connsiteY7" fmla="*/ 4807 h 10000"/>
              <a:gd name="connsiteX8" fmla="*/ 748 w 9997"/>
              <a:gd name="connsiteY8" fmla="*/ 4818 h 10000"/>
              <a:gd name="connsiteX9" fmla="*/ 846 w 9997"/>
              <a:gd name="connsiteY9" fmla="*/ 4834 h 10000"/>
              <a:gd name="connsiteX10" fmla="*/ 952 w 9997"/>
              <a:gd name="connsiteY10" fmla="*/ 4850 h 10000"/>
              <a:gd name="connsiteX11" fmla="*/ 1050 w 9997"/>
              <a:gd name="connsiteY11" fmla="*/ 4871 h 10000"/>
              <a:gd name="connsiteX12" fmla="*/ 1148 w 9997"/>
              <a:gd name="connsiteY12" fmla="*/ 4892 h 10000"/>
              <a:gd name="connsiteX13" fmla="*/ 1246 w 9997"/>
              <a:gd name="connsiteY13" fmla="*/ 4914 h 10000"/>
              <a:gd name="connsiteX14" fmla="*/ 1339 w 9997"/>
              <a:gd name="connsiteY14" fmla="*/ 4941 h 10000"/>
              <a:gd name="connsiteX15" fmla="*/ 1437 w 9997"/>
              <a:gd name="connsiteY15" fmla="*/ 4967 h 10000"/>
              <a:gd name="connsiteX16" fmla="*/ 1529 w 9997"/>
              <a:gd name="connsiteY16" fmla="*/ 4999 h 10000"/>
              <a:gd name="connsiteX17" fmla="*/ 1621 w 9997"/>
              <a:gd name="connsiteY17" fmla="*/ 5030 h 10000"/>
              <a:gd name="connsiteX18" fmla="*/ 1712 w 9997"/>
              <a:gd name="connsiteY18" fmla="*/ 5062 h 10000"/>
              <a:gd name="connsiteX19" fmla="*/ 1805 w 9997"/>
              <a:gd name="connsiteY19" fmla="*/ 5095 h 10000"/>
              <a:gd name="connsiteX20" fmla="*/ 1896 w 9997"/>
              <a:gd name="connsiteY20" fmla="*/ 5132 h 10000"/>
              <a:gd name="connsiteX21" fmla="*/ 1988 w 9997"/>
              <a:gd name="connsiteY21" fmla="*/ 5169 h 10000"/>
              <a:gd name="connsiteX22" fmla="*/ 2073 w 9997"/>
              <a:gd name="connsiteY22" fmla="*/ 5212 h 10000"/>
              <a:gd name="connsiteX23" fmla="*/ 2159 w 9997"/>
              <a:gd name="connsiteY23" fmla="*/ 5250 h 10000"/>
              <a:gd name="connsiteX24" fmla="*/ 2244 w 9997"/>
              <a:gd name="connsiteY24" fmla="*/ 5292 h 10000"/>
              <a:gd name="connsiteX25" fmla="*/ 2322 w 9997"/>
              <a:gd name="connsiteY25" fmla="*/ 5335 h 10000"/>
              <a:gd name="connsiteX26" fmla="*/ 2407 w 9997"/>
              <a:gd name="connsiteY26" fmla="*/ 5383 h 10000"/>
              <a:gd name="connsiteX27" fmla="*/ 2485 w 9997"/>
              <a:gd name="connsiteY27" fmla="*/ 5431 h 10000"/>
              <a:gd name="connsiteX28" fmla="*/ 2566 w 9997"/>
              <a:gd name="connsiteY28" fmla="*/ 5479 h 10000"/>
              <a:gd name="connsiteX29" fmla="*/ 2644 w 9997"/>
              <a:gd name="connsiteY29" fmla="*/ 5527 h 10000"/>
              <a:gd name="connsiteX30" fmla="*/ 2723 w 9997"/>
              <a:gd name="connsiteY30" fmla="*/ 5581 h 10000"/>
              <a:gd name="connsiteX31" fmla="*/ 2795 w 9997"/>
              <a:gd name="connsiteY31" fmla="*/ 5634 h 10000"/>
              <a:gd name="connsiteX32" fmla="*/ 2866 w 9997"/>
              <a:gd name="connsiteY32" fmla="*/ 5688 h 10000"/>
              <a:gd name="connsiteX33" fmla="*/ 2939 w 9997"/>
              <a:gd name="connsiteY33" fmla="*/ 5747 h 10000"/>
              <a:gd name="connsiteX34" fmla="*/ 3005 w 9997"/>
              <a:gd name="connsiteY34" fmla="*/ 5805 h 10000"/>
              <a:gd name="connsiteX35" fmla="*/ 3077 w 9997"/>
              <a:gd name="connsiteY35" fmla="*/ 5864 h 10000"/>
              <a:gd name="connsiteX36" fmla="*/ 3142 w 9997"/>
              <a:gd name="connsiteY36" fmla="*/ 5923 h 10000"/>
              <a:gd name="connsiteX37" fmla="*/ 3201 w 9997"/>
              <a:gd name="connsiteY37" fmla="*/ 5987 h 10000"/>
              <a:gd name="connsiteX38" fmla="*/ 3267 w 9997"/>
              <a:gd name="connsiteY38" fmla="*/ 6046 h 10000"/>
              <a:gd name="connsiteX39" fmla="*/ 3326 w 9997"/>
              <a:gd name="connsiteY39" fmla="*/ 6110 h 10000"/>
              <a:gd name="connsiteX40" fmla="*/ 3385 w 9997"/>
              <a:gd name="connsiteY40" fmla="*/ 6174 h 10000"/>
              <a:gd name="connsiteX41" fmla="*/ 3444 w 9997"/>
              <a:gd name="connsiteY41" fmla="*/ 6238 h 10000"/>
              <a:gd name="connsiteX42" fmla="*/ 3496 w 9997"/>
              <a:gd name="connsiteY42" fmla="*/ 6308 h 10000"/>
              <a:gd name="connsiteX43" fmla="*/ 3549 w 9997"/>
              <a:gd name="connsiteY43" fmla="*/ 6377 h 10000"/>
              <a:gd name="connsiteX44" fmla="*/ 3601 w 9997"/>
              <a:gd name="connsiteY44" fmla="*/ 6447 h 10000"/>
              <a:gd name="connsiteX45" fmla="*/ 3655 w 9997"/>
              <a:gd name="connsiteY45" fmla="*/ 6516 h 10000"/>
              <a:gd name="connsiteX46" fmla="*/ 3694 w 9997"/>
              <a:gd name="connsiteY46" fmla="*/ 6591 h 10000"/>
              <a:gd name="connsiteX47" fmla="*/ 3746 w 9997"/>
              <a:gd name="connsiteY47" fmla="*/ 6666 h 10000"/>
              <a:gd name="connsiteX48" fmla="*/ 3785 w 9997"/>
              <a:gd name="connsiteY48" fmla="*/ 6735 h 10000"/>
              <a:gd name="connsiteX49" fmla="*/ 3825 w 9997"/>
              <a:gd name="connsiteY49" fmla="*/ 6810 h 10000"/>
              <a:gd name="connsiteX50" fmla="*/ 3864 w 9997"/>
              <a:gd name="connsiteY50" fmla="*/ 6885 h 10000"/>
              <a:gd name="connsiteX51" fmla="*/ 3897 w 9997"/>
              <a:gd name="connsiteY51" fmla="*/ 6960 h 10000"/>
              <a:gd name="connsiteX52" fmla="*/ 3929 w 9997"/>
              <a:gd name="connsiteY52" fmla="*/ 7040 h 10000"/>
              <a:gd name="connsiteX53" fmla="*/ 3962 w 9997"/>
              <a:gd name="connsiteY53" fmla="*/ 7120 h 10000"/>
              <a:gd name="connsiteX54" fmla="*/ 3995 w 9997"/>
              <a:gd name="connsiteY54" fmla="*/ 7195 h 10000"/>
              <a:gd name="connsiteX55" fmla="*/ 4021 w 9997"/>
              <a:gd name="connsiteY55" fmla="*/ 7275 h 10000"/>
              <a:gd name="connsiteX56" fmla="*/ 4041 w 9997"/>
              <a:gd name="connsiteY56" fmla="*/ 7355 h 10000"/>
              <a:gd name="connsiteX57" fmla="*/ 4068 w 9997"/>
              <a:gd name="connsiteY57" fmla="*/ 7441 h 10000"/>
              <a:gd name="connsiteX58" fmla="*/ 4087 w 9997"/>
              <a:gd name="connsiteY58" fmla="*/ 7521 h 10000"/>
              <a:gd name="connsiteX59" fmla="*/ 4107 w 9997"/>
              <a:gd name="connsiteY59" fmla="*/ 7601 h 10000"/>
              <a:gd name="connsiteX60" fmla="*/ 4120 w 9997"/>
              <a:gd name="connsiteY60" fmla="*/ 7687 h 10000"/>
              <a:gd name="connsiteX61" fmla="*/ 4133 w 9997"/>
              <a:gd name="connsiteY61" fmla="*/ 7772 h 10000"/>
              <a:gd name="connsiteX62" fmla="*/ 4139 w 9997"/>
              <a:gd name="connsiteY62" fmla="*/ 7858 h 10000"/>
              <a:gd name="connsiteX63" fmla="*/ 4146 w 9997"/>
              <a:gd name="connsiteY63" fmla="*/ 7943 h 10000"/>
              <a:gd name="connsiteX64" fmla="*/ 4146 w 9997"/>
              <a:gd name="connsiteY64" fmla="*/ 8029 h 10000"/>
              <a:gd name="connsiteX65" fmla="*/ 4152 w 9997"/>
              <a:gd name="connsiteY65" fmla="*/ 8114 h 10000"/>
              <a:gd name="connsiteX66" fmla="*/ 4146 w 9997"/>
              <a:gd name="connsiteY66" fmla="*/ 8227 h 10000"/>
              <a:gd name="connsiteX67" fmla="*/ 4139 w 9997"/>
              <a:gd name="connsiteY67" fmla="*/ 8343 h 10000"/>
              <a:gd name="connsiteX68" fmla="*/ 4133 w 9997"/>
              <a:gd name="connsiteY68" fmla="*/ 8450 h 10000"/>
              <a:gd name="connsiteX69" fmla="*/ 4113 w 9997"/>
              <a:gd name="connsiteY69" fmla="*/ 8562 h 10000"/>
              <a:gd name="connsiteX70" fmla="*/ 6724 w 9997"/>
              <a:gd name="connsiteY70" fmla="*/ 10000 h 10000"/>
              <a:gd name="connsiteX71" fmla="*/ 9847 w 9997"/>
              <a:gd name="connsiteY71" fmla="*/ 9498 h 10000"/>
              <a:gd name="connsiteX72" fmla="*/ 9886 w 9997"/>
              <a:gd name="connsiteY72" fmla="*/ 9332 h 10000"/>
              <a:gd name="connsiteX73" fmla="*/ 9912 w 9997"/>
              <a:gd name="connsiteY73" fmla="*/ 9161 h 10000"/>
              <a:gd name="connsiteX74" fmla="*/ 9938 w 9997"/>
              <a:gd name="connsiteY74" fmla="*/ 8990 h 10000"/>
              <a:gd name="connsiteX75" fmla="*/ 9958 w 9997"/>
              <a:gd name="connsiteY75" fmla="*/ 8813 h 10000"/>
              <a:gd name="connsiteX76" fmla="*/ 9971 w 9997"/>
              <a:gd name="connsiteY76" fmla="*/ 8637 h 10000"/>
              <a:gd name="connsiteX77" fmla="*/ 9984 w 9997"/>
              <a:gd name="connsiteY77" fmla="*/ 8466 h 10000"/>
              <a:gd name="connsiteX78" fmla="*/ 9990 w 9997"/>
              <a:gd name="connsiteY78" fmla="*/ 8291 h 10000"/>
              <a:gd name="connsiteX79" fmla="*/ 9997 w 9997"/>
              <a:gd name="connsiteY79" fmla="*/ 8114 h 10000"/>
              <a:gd name="connsiteX80" fmla="*/ 9990 w 9997"/>
              <a:gd name="connsiteY80" fmla="*/ 7901 h 10000"/>
              <a:gd name="connsiteX81" fmla="*/ 9984 w 9997"/>
              <a:gd name="connsiteY81" fmla="*/ 7697 h 10000"/>
              <a:gd name="connsiteX82" fmla="*/ 9964 w 9997"/>
              <a:gd name="connsiteY82" fmla="*/ 7489 h 10000"/>
              <a:gd name="connsiteX83" fmla="*/ 9945 w 9997"/>
              <a:gd name="connsiteY83" fmla="*/ 7286 h 10000"/>
              <a:gd name="connsiteX84" fmla="*/ 9912 w 9997"/>
              <a:gd name="connsiteY84" fmla="*/ 7077 h 10000"/>
              <a:gd name="connsiteX85" fmla="*/ 9879 w 9997"/>
              <a:gd name="connsiteY85" fmla="*/ 6880 h 10000"/>
              <a:gd name="connsiteX86" fmla="*/ 9840 w 9997"/>
              <a:gd name="connsiteY86" fmla="*/ 6677 h 10000"/>
              <a:gd name="connsiteX87" fmla="*/ 9793 w 9997"/>
              <a:gd name="connsiteY87" fmla="*/ 6479 h 10000"/>
              <a:gd name="connsiteX88" fmla="*/ 9741 w 9997"/>
              <a:gd name="connsiteY88" fmla="*/ 6281 h 10000"/>
              <a:gd name="connsiteX89" fmla="*/ 9682 w 9997"/>
              <a:gd name="connsiteY89" fmla="*/ 6089 h 10000"/>
              <a:gd name="connsiteX90" fmla="*/ 9617 w 9997"/>
              <a:gd name="connsiteY90" fmla="*/ 5891 h 10000"/>
              <a:gd name="connsiteX91" fmla="*/ 9552 w 9997"/>
              <a:gd name="connsiteY91" fmla="*/ 5698 h 10000"/>
              <a:gd name="connsiteX92" fmla="*/ 9472 w 9997"/>
              <a:gd name="connsiteY92" fmla="*/ 5511 h 10000"/>
              <a:gd name="connsiteX93" fmla="*/ 9393 w 9997"/>
              <a:gd name="connsiteY93" fmla="*/ 5324 h 10000"/>
              <a:gd name="connsiteX94" fmla="*/ 9301 w 9997"/>
              <a:gd name="connsiteY94" fmla="*/ 5137 h 10000"/>
              <a:gd name="connsiteX95" fmla="*/ 9210 w 9997"/>
              <a:gd name="connsiteY95" fmla="*/ 4957 h 10000"/>
              <a:gd name="connsiteX96" fmla="*/ 9118 w 9997"/>
              <a:gd name="connsiteY96" fmla="*/ 4775 h 10000"/>
              <a:gd name="connsiteX97" fmla="*/ 9013 w 9997"/>
              <a:gd name="connsiteY97" fmla="*/ 4598 h 10000"/>
              <a:gd name="connsiteX98" fmla="*/ 8908 w 9997"/>
              <a:gd name="connsiteY98" fmla="*/ 4422 h 10000"/>
              <a:gd name="connsiteX99" fmla="*/ 8797 w 9997"/>
              <a:gd name="connsiteY99" fmla="*/ 4246 h 10000"/>
              <a:gd name="connsiteX100" fmla="*/ 8679 w 9997"/>
              <a:gd name="connsiteY100" fmla="*/ 4075 h 10000"/>
              <a:gd name="connsiteX101" fmla="*/ 8554 w 9997"/>
              <a:gd name="connsiteY101" fmla="*/ 3909 h 10000"/>
              <a:gd name="connsiteX102" fmla="*/ 8429 w 9997"/>
              <a:gd name="connsiteY102" fmla="*/ 3743 h 10000"/>
              <a:gd name="connsiteX103" fmla="*/ 8298 w 9997"/>
              <a:gd name="connsiteY103" fmla="*/ 3578 h 10000"/>
              <a:gd name="connsiteX104" fmla="*/ 8160 w 9997"/>
              <a:gd name="connsiteY104" fmla="*/ 3417 h 10000"/>
              <a:gd name="connsiteX105" fmla="*/ 8016 w 9997"/>
              <a:gd name="connsiteY105" fmla="*/ 3262 h 10000"/>
              <a:gd name="connsiteX106" fmla="*/ 7871 w 9997"/>
              <a:gd name="connsiteY106" fmla="*/ 3107 h 10000"/>
              <a:gd name="connsiteX107" fmla="*/ 7721 w 9997"/>
              <a:gd name="connsiteY107" fmla="*/ 2952 h 10000"/>
              <a:gd name="connsiteX108" fmla="*/ 7571 w 9997"/>
              <a:gd name="connsiteY108" fmla="*/ 2808 h 10000"/>
              <a:gd name="connsiteX109" fmla="*/ 7405 w 9997"/>
              <a:gd name="connsiteY109" fmla="*/ 2664 h 10000"/>
              <a:gd name="connsiteX110" fmla="*/ 7248 w 9997"/>
              <a:gd name="connsiteY110" fmla="*/ 2519 h 10000"/>
              <a:gd name="connsiteX111" fmla="*/ 7078 w 9997"/>
              <a:gd name="connsiteY111" fmla="*/ 2375 h 10000"/>
              <a:gd name="connsiteX112" fmla="*/ 6908 w 9997"/>
              <a:gd name="connsiteY112" fmla="*/ 2241 h 10000"/>
              <a:gd name="connsiteX113" fmla="*/ 6738 w 9997"/>
              <a:gd name="connsiteY113" fmla="*/ 2108 h 10000"/>
              <a:gd name="connsiteX114" fmla="*/ 6554 w 9997"/>
              <a:gd name="connsiteY114" fmla="*/ 1980 h 10000"/>
              <a:gd name="connsiteX115" fmla="*/ 6370 w 9997"/>
              <a:gd name="connsiteY115" fmla="*/ 1857 h 10000"/>
              <a:gd name="connsiteX116" fmla="*/ 6186 w 9997"/>
              <a:gd name="connsiteY116" fmla="*/ 1734 h 10000"/>
              <a:gd name="connsiteX117" fmla="*/ 5996 w 9997"/>
              <a:gd name="connsiteY117" fmla="*/ 1617 h 10000"/>
              <a:gd name="connsiteX118" fmla="*/ 5799 w 9997"/>
              <a:gd name="connsiteY118" fmla="*/ 1500 h 10000"/>
              <a:gd name="connsiteX119" fmla="*/ 5603 w 9997"/>
              <a:gd name="connsiteY119" fmla="*/ 1387 h 10000"/>
              <a:gd name="connsiteX120" fmla="*/ 5405 w 9997"/>
              <a:gd name="connsiteY120" fmla="*/ 1280 h 10000"/>
              <a:gd name="connsiteX121" fmla="*/ 5202 w 9997"/>
              <a:gd name="connsiteY121" fmla="*/ 1179 h 10000"/>
              <a:gd name="connsiteX122" fmla="*/ 4999 w 9997"/>
              <a:gd name="connsiteY122" fmla="*/ 1077 h 10000"/>
              <a:gd name="connsiteX123" fmla="*/ 4782 w 9997"/>
              <a:gd name="connsiteY123" fmla="*/ 981 h 10000"/>
              <a:gd name="connsiteX124" fmla="*/ 4573 w 9997"/>
              <a:gd name="connsiteY124" fmla="*/ 890 h 10000"/>
              <a:gd name="connsiteX125" fmla="*/ 4355 w 9997"/>
              <a:gd name="connsiteY125" fmla="*/ 805 h 10000"/>
              <a:gd name="connsiteX126" fmla="*/ 4133 w 9997"/>
              <a:gd name="connsiteY126" fmla="*/ 719 h 10000"/>
              <a:gd name="connsiteX127" fmla="*/ 3916 w 9997"/>
              <a:gd name="connsiteY127" fmla="*/ 639 h 10000"/>
              <a:gd name="connsiteX128" fmla="*/ 3694 w 9997"/>
              <a:gd name="connsiteY128" fmla="*/ 570 h 10000"/>
              <a:gd name="connsiteX129" fmla="*/ 3463 w 9997"/>
              <a:gd name="connsiteY129" fmla="*/ 495 h 10000"/>
              <a:gd name="connsiteX130" fmla="*/ 3233 w 9997"/>
              <a:gd name="connsiteY130" fmla="*/ 431 h 10000"/>
              <a:gd name="connsiteX131" fmla="*/ 2998 w 9997"/>
              <a:gd name="connsiteY131" fmla="*/ 366 h 10000"/>
              <a:gd name="connsiteX132" fmla="*/ 2768 w 9997"/>
              <a:gd name="connsiteY132" fmla="*/ 313 h 10000"/>
              <a:gd name="connsiteX133" fmla="*/ 2527 w 9997"/>
              <a:gd name="connsiteY133" fmla="*/ 260 h 10000"/>
              <a:gd name="connsiteX134" fmla="*/ 2283 w 9997"/>
              <a:gd name="connsiteY134" fmla="*/ 211 h 10000"/>
              <a:gd name="connsiteX135" fmla="*/ 2046 w 9997"/>
              <a:gd name="connsiteY135" fmla="*/ 169 h 10000"/>
              <a:gd name="connsiteX136" fmla="*/ 1805 w 9997"/>
              <a:gd name="connsiteY136" fmla="*/ 131 h 10000"/>
              <a:gd name="connsiteX137" fmla="*/ 1555 w 9997"/>
              <a:gd name="connsiteY137" fmla="*/ 94 h 10000"/>
              <a:gd name="connsiteX138" fmla="*/ 1305 w 9997"/>
              <a:gd name="connsiteY138" fmla="*/ 67 h 10000"/>
              <a:gd name="connsiteX139" fmla="*/ 1057 w 9997"/>
              <a:gd name="connsiteY139" fmla="*/ 46 h 10000"/>
              <a:gd name="connsiteX140" fmla="*/ 807 w 9997"/>
              <a:gd name="connsiteY140" fmla="*/ 30 h 10000"/>
              <a:gd name="connsiteX141" fmla="*/ 551 w 9997"/>
              <a:gd name="connsiteY141" fmla="*/ 14 h 10000"/>
              <a:gd name="connsiteX142" fmla="*/ 295 w 9997"/>
              <a:gd name="connsiteY142" fmla="*/ 8 h 10000"/>
              <a:gd name="connsiteX143" fmla="*/ 39 w 9997"/>
              <a:gd name="connsiteY143" fmla="*/ 3 h 10000"/>
              <a:gd name="connsiteX144" fmla="*/ 0 w 9997"/>
              <a:gd name="connsiteY144" fmla="*/ 0 h 10000"/>
              <a:gd name="connsiteX145" fmla="*/ 1210 w 9997"/>
              <a:gd name="connsiteY145" fmla="*/ 2445 h 10000"/>
              <a:gd name="connsiteX146" fmla="*/ 7 w 9997"/>
              <a:gd name="connsiteY146"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4147 w 10000"/>
              <a:gd name="connsiteY66" fmla="*/ 8227 h 10000"/>
              <a:gd name="connsiteX67" fmla="*/ 4140 w 10000"/>
              <a:gd name="connsiteY67" fmla="*/ 8343 h 10000"/>
              <a:gd name="connsiteX68" fmla="*/ 4134 w 10000"/>
              <a:gd name="connsiteY68" fmla="*/ 8450 h 10000"/>
              <a:gd name="connsiteX69" fmla="*/ 6726 w 10000"/>
              <a:gd name="connsiteY69" fmla="*/ 10000 h 10000"/>
              <a:gd name="connsiteX70" fmla="*/ 9850 w 10000"/>
              <a:gd name="connsiteY70" fmla="*/ 9498 h 10000"/>
              <a:gd name="connsiteX71" fmla="*/ 9889 w 10000"/>
              <a:gd name="connsiteY71" fmla="*/ 9332 h 10000"/>
              <a:gd name="connsiteX72" fmla="*/ 9915 w 10000"/>
              <a:gd name="connsiteY72" fmla="*/ 9161 h 10000"/>
              <a:gd name="connsiteX73" fmla="*/ 9941 w 10000"/>
              <a:gd name="connsiteY73" fmla="*/ 8990 h 10000"/>
              <a:gd name="connsiteX74" fmla="*/ 9961 w 10000"/>
              <a:gd name="connsiteY74" fmla="*/ 8813 h 10000"/>
              <a:gd name="connsiteX75" fmla="*/ 9974 w 10000"/>
              <a:gd name="connsiteY75" fmla="*/ 8637 h 10000"/>
              <a:gd name="connsiteX76" fmla="*/ 9987 w 10000"/>
              <a:gd name="connsiteY76" fmla="*/ 8466 h 10000"/>
              <a:gd name="connsiteX77" fmla="*/ 9993 w 10000"/>
              <a:gd name="connsiteY77" fmla="*/ 8291 h 10000"/>
              <a:gd name="connsiteX78" fmla="*/ 10000 w 10000"/>
              <a:gd name="connsiteY78" fmla="*/ 8114 h 10000"/>
              <a:gd name="connsiteX79" fmla="*/ 9993 w 10000"/>
              <a:gd name="connsiteY79" fmla="*/ 7901 h 10000"/>
              <a:gd name="connsiteX80" fmla="*/ 9987 w 10000"/>
              <a:gd name="connsiteY80" fmla="*/ 7697 h 10000"/>
              <a:gd name="connsiteX81" fmla="*/ 9967 w 10000"/>
              <a:gd name="connsiteY81" fmla="*/ 7489 h 10000"/>
              <a:gd name="connsiteX82" fmla="*/ 9948 w 10000"/>
              <a:gd name="connsiteY82" fmla="*/ 7286 h 10000"/>
              <a:gd name="connsiteX83" fmla="*/ 9915 w 10000"/>
              <a:gd name="connsiteY83" fmla="*/ 7077 h 10000"/>
              <a:gd name="connsiteX84" fmla="*/ 9882 w 10000"/>
              <a:gd name="connsiteY84" fmla="*/ 6880 h 10000"/>
              <a:gd name="connsiteX85" fmla="*/ 9843 w 10000"/>
              <a:gd name="connsiteY85" fmla="*/ 6677 h 10000"/>
              <a:gd name="connsiteX86" fmla="*/ 9796 w 10000"/>
              <a:gd name="connsiteY86" fmla="*/ 6479 h 10000"/>
              <a:gd name="connsiteX87" fmla="*/ 9744 w 10000"/>
              <a:gd name="connsiteY87" fmla="*/ 6281 h 10000"/>
              <a:gd name="connsiteX88" fmla="*/ 9685 w 10000"/>
              <a:gd name="connsiteY88" fmla="*/ 6089 h 10000"/>
              <a:gd name="connsiteX89" fmla="*/ 9620 w 10000"/>
              <a:gd name="connsiteY89" fmla="*/ 5891 h 10000"/>
              <a:gd name="connsiteX90" fmla="*/ 9555 w 10000"/>
              <a:gd name="connsiteY90" fmla="*/ 5698 h 10000"/>
              <a:gd name="connsiteX91" fmla="*/ 9475 w 10000"/>
              <a:gd name="connsiteY91" fmla="*/ 5511 h 10000"/>
              <a:gd name="connsiteX92" fmla="*/ 9396 w 10000"/>
              <a:gd name="connsiteY92" fmla="*/ 5324 h 10000"/>
              <a:gd name="connsiteX93" fmla="*/ 9304 w 10000"/>
              <a:gd name="connsiteY93" fmla="*/ 5137 h 10000"/>
              <a:gd name="connsiteX94" fmla="*/ 9213 w 10000"/>
              <a:gd name="connsiteY94" fmla="*/ 4957 h 10000"/>
              <a:gd name="connsiteX95" fmla="*/ 9121 w 10000"/>
              <a:gd name="connsiteY95" fmla="*/ 4775 h 10000"/>
              <a:gd name="connsiteX96" fmla="*/ 9016 w 10000"/>
              <a:gd name="connsiteY96" fmla="*/ 4598 h 10000"/>
              <a:gd name="connsiteX97" fmla="*/ 8911 w 10000"/>
              <a:gd name="connsiteY97" fmla="*/ 4422 h 10000"/>
              <a:gd name="connsiteX98" fmla="*/ 8800 w 10000"/>
              <a:gd name="connsiteY98" fmla="*/ 4246 h 10000"/>
              <a:gd name="connsiteX99" fmla="*/ 8682 w 10000"/>
              <a:gd name="connsiteY99" fmla="*/ 4075 h 10000"/>
              <a:gd name="connsiteX100" fmla="*/ 8557 w 10000"/>
              <a:gd name="connsiteY100" fmla="*/ 3909 h 10000"/>
              <a:gd name="connsiteX101" fmla="*/ 8432 w 10000"/>
              <a:gd name="connsiteY101" fmla="*/ 3743 h 10000"/>
              <a:gd name="connsiteX102" fmla="*/ 8300 w 10000"/>
              <a:gd name="connsiteY102" fmla="*/ 3578 h 10000"/>
              <a:gd name="connsiteX103" fmla="*/ 8162 w 10000"/>
              <a:gd name="connsiteY103" fmla="*/ 3417 h 10000"/>
              <a:gd name="connsiteX104" fmla="*/ 8018 w 10000"/>
              <a:gd name="connsiteY104" fmla="*/ 3262 h 10000"/>
              <a:gd name="connsiteX105" fmla="*/ 7873 w 10000"/>
              <a:gd name="connsiteY105" fmla="*/ 3107 h 10000"/>
              <a:gd name="connsiteX106" fmla="*/ 7723 w 10000"/>
              <a:gd name="connsiteY106" fmla="*/ 2952 h 10000"/>
              <a:gd name="connsiteX107" fmla="*/ 7573 w 10000"/>
              <a:gd name="connsiteY107" fmla="*/ 2808 h 10000"/>
              <a:gd name="connsiteX108" fmla="*/ 7407 w 10000"/>
              <a:gd name="connsiteY108" fmla="*/ 2664 h 10000"/>
              <a:gd name="connsiteX109" fmla="*/ 7250 w 10000"/>
              <a:gd name="connsiteY109" fmla="*/ 2519 h 10000"/>
              <a:gd name="connsiteX110" fmla="*/ 7080 w 10000"/>
              <a:gd name="connsiteY110" fmla="*/ 2375 h 10000"/>
              <a:gd name="connsiteX111" fmla="*/ 6910 w 10000"/>
              <a:gd name="connsiteY111" fmla="*/ 2241 h 10000"/>
              <a:gd name="connsiteX112" fmla="*/ 6740 w 10000"/>
              <a:gd name="connsiteY112" fmla="*/ 2108 h 10000"/>
              <a:gd name="connsiteX113" fmla="*/ 6556 w 10000"/>
              <a:gd name="connsiteY113" fmla="*/ 1980 h 10000"/>
              <a:gd name="connsiteX114" fmla="*/ 6372 w 10000"/>
              <a:gd name="connsiteY114" fmla="*/ 1857 h 10000"/>
              <a:gd name="connsiteX115" fmla="*/ 6188 w 10000"/>
              <a:gd name="connsiteY115" fmla="*/ 1734 h 10000"/>
              <a:gd name="connsiteX116" fmla="*/ 5998 w 10000"/>
              <a:gd name="connsiteY116" fmla="*/ 1617 h 10000"/>
              <a:gd name="connsiteX117" fmla="*/ 5801 w 10000"/>
              <a:gd name="connsiteY117" fmla="*/ 1500 h 10000"/>
              <a:gd name="connsiteX118" fmla="*/ 5605 w 10000"/>
              <a:gd name="connsiteY118" fmla="*/ 1387 h 10000"/>
              <a:gd name="connsiteX119" fmla="*/ 5407 w 10000"/>
              <a:gd name="connsiteY119" fmla="*/ 1280 h 10000"/>
              <a:gd name="connsiteX120" fmla="*/ 5204 w 10000"/>
              <a:gd name="connsiteY120" fmla="*/ 1179 h 10000"/>
              <a:gd name="connsiteX121" fmla="*/ 5001 w 10000"/>
              <a:gd name="connsiteY121" fmla="*/ 1077 h 10000"/>
              <a:gd name="connsiteX122" fmla="*/ 4783 w 10000"/>
              <a:gd name="connsiteY122" fmla="*/ 981 h 10000"/>
              <a:gd name="connsiteX123" fmla="*/ 4574 w 10000"/>
              <a:gd name="connsiteY123" fmla="*/ 890 h 10000"/>
              <a:gd name="connsiteX124" fmla="*/ 4356 w 10000"/>
              <a:gd name="connsiteY124" fmla="*/ 805 h 10000"/>
              <a:gd name="connsiteX125" fmla="*/ 4134 w 10000"/>
              <a:gd name="connsiteY125" fmla="*/ 719 h 10000"/>
              <a:gd name="connsiteX126" fmla="*/ 3917 w 10000"/>
              <a:gd name="connsiteY126" fmla="*/ 639 h 10000"/>
              <a:gd name="connsiteX127" fmla="*/ 3695 w 10000"/>
              <a:gd name="connsiteY127" fmla="*/ 570 h 10000"/>
              <a:gd name="connsiteX128" fmla="*/ 3464 w 10000"/>
              <a:gd name="connsiteY128" fmla="*/ 495 h 10000"/>
              <a:gd name="connsiteX129" fmla="*/ 3234 w 10000"/>
              <a:gd name="connsiteY129" fmla="*/ 431 h 10000"/>
              <a:gd name="connsiteX130" fmla="*/ 2999 w 10000"/>
              <a:gd name="connsiteY130" fmla="*/ 366 h 10000"/>
              <a:gd name="connsiteX131" fmla="*/ 2769 w 10000"/>
              <a:gd name="connsiteY131" fmla="*/ 313 h 10000"/>
              <a:gd name="connsiteX132" fmla="*/ 2528 w 10000"/>
              <a:gd name="connsiteY132" fmla="*/ 260 h 10000"/>
              <a:gd name="connsiteX133" fmla="*/ 2284 w 10000"/>
              <a:gd name="connsiteY133" fmla="*/ 211 h 10000"/>
              <a:gd name="connsiteX134" fmla="*/ 2047 w 10000"/>
              <a:gd name="connsiteY134" fmla="*/ 169 h 10000"/>
              <a:gd name="connsiteX135" fmla="*/ 1806 w 10000"/>
              <a:gd name="connsiteY135" fmla="*/ 131 h 10000"/>
              <a:gd name="connsiteX136" fmla="*/ 1555 w 10000"/>
              <a:gd name="connsiteY136" fmla="*/ 94 h 10000"/>
              <a:gd name="connsiteX137" fmla="*/ 1305 w 10000"/>
              <a:gd name="connsiteY137" fmla="*/ 67 h 10000"/>
              <a:gd name="connsiteX138" fmla="*/ 1057 w 10000"/>
              <a:gd name="connsiteY138" fmla="*/ 46 h 10000"/>
              <a:gd name="connsiteX139" fmla="*/ 807 w 10000"/>
              <a:gd name="connsiteY139" fmla="*/ 30 h 10000"/>
              <a:gd name="connsiteX140" fmla="*/ 551 w 10000"/>
              <a:gd name="connsiteY140" fmla="*/ 14 h 10000"/>
              <a:gd name="connsiteX141" fmla="*/ 295 w 10000"/>
              <a:gd name="connsiteY141" fmla="*/ 8 h 10000"/>
              <a:gd name="connsiteX142" fmla="*/ 39 w 10000"/>
              <a:gd name="connsiteY142" fmla="*/ 3 h 10000"/>
              <a:gd name="connsiteX143" fmla="*/ 0 w 10000"/>
              <a:gd name="connsiteY143" fmla="*/ 0 h 10000"/>
              <a:gd name="connsiteX144" fmla="*/ 1210 w 10000"/>
              <a:gd name="connsiteY144" fmla="*/ 2445 h 10000"/>
              <a:gd name="connsiteX145" fmla="*/ 7 w 10000"/>
              <a:gd name="connsiteY145"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4147 w 10000"/>
              <a:gd name="connsiteY66" fmla="*/ 8227 h 10000"/>
              <a:gd name="connsiteX67" fmla="*/ 4140 w 10000"/>
              <a:gd name="connsiteY67" fmla="*/ 8343 h 10000"/>
              <a:gd name="connsiteX68" fmla="*/ 6726 w 10000"/>
              <a:gd name="connsiteY68" fmla="*/ 10000 h 10000"/>
              <a:gd name="connsiteX69" fmla="*/ 9850 w 10000"/>
              <a:gd name="connsiteY69" fmla="*/ 9498 h 10000"/>
              <a:gd name="connsiteX70" fmla="*/ 9889 w 10000"/>
              <a:gd name="connsiteY70" fmla="*/ 9332 h 10000"/>
              <a:gd name="connsiteX71" fmla="*/ 9915 w 10000"/>
              <a:gd name="connsiteY71" fmla="*/ 9161 h 10000"/>
              <a:gd name="connsiteX72" fmla="*/ 9941 w 10000"/>
              <a:gd name="connsiteY72" fmla="*/ 8990 h 10000"/>
              <a:gd name="connsiteX73" fmla="*/ 9961 w 10000"/>
              <a:gd name="connsiteY73" fmla="*/ 8813 h 10000"/>
              <a:gd name="connsiteX74" fmla="*/ 9974 w 10000"/>
              <a:gd name="connsiteY74" fmla="*/ 8637 h 10000"/>
              <a:gd name="connsiteX75" fmla="*/ 9987 w 10000"/>
              <a:gd name="connsiteY75" fmla="*/ 8466 h 10000"/>
              <a:gd name="connsiteX76" fmla="*/ 9993 w 10000"/>
              <a:gd name="connsiteY76" fmla="*/ 8291 h 10000"/>
              <a:gd name="connsiteX77" fmla="*/ 10000 w 10000"/>
              <a:gd name="connsiteY77" fmla="*/ 8114 h 10000"/>
              <a:gd name="connsiteX78" fmla="*/ 9993 w 10000"/>
              <a:gd name="connsiteY78" fmla="*/ 7901 h 10000"/>
              <a:gd name="connsiteX79" fmla="*/ 9987 w 10000"/>
              <a:gd name="connsiteY79" fmla="*/ 7697 h 10000"/>
              <a:gd name="connsiteX80" fmla="*/ 9967 w 10000"/>
              <a:gd name="connsiteY80" fmla="*/ 7489 h 10000"/>
              <a:gd name="connsiteX81" fmla="*/ 9948 w 10000"/>
              <a:gd name="connsiteY81" fmla="*/ 7286 h 10000"/>
              <a:gd name="connsiteX82" fmla="*/ 9915 w 10000"/>
              <a:gd name="connsiteY82" fmla="*/ 7077 h 10000"/>
              <a:gd name="connsiteX83" fmla="*/ 9882 w 10000"/>
              <a:gd name="connsiteY83" fmla="*/ 6880 h 10000"/>
              <a:gd name="connsiteX84" fmla="*/ 9843 w 10000"/>
              <a:gd name="connsiteY84" fmla="*/ 6677 h 10000"/>
              <a:gd name="connsiteX85" fmla="*/ 9796 w 10000"/>
              <a:gd name="connsiteY85" fmla="*/ 6479 h 10000"/>
              <a:gd name="connsiteX86" fmla="*/ 9744 w 10000"/>
              <a:gd name="connsiteY86" fmla="*/ 6281 h 10000"/>
              <a:gd name="connsiteX87" fmla="*/ 9685 w 10000"/>
              <a:gd name="connsiteY87" fmla="*/ 6089 h 10000"/>
              <a:gd name="connsiteX88" fmla="*/ 9620 w 10000"/>
              <a:gd name="connsiteY88" fmla="*/ 5891 h 10000"/>
              <a:gd name="connsiteX89" fmla="*/ 9555 w 10000"/>
              <a:gd name="connsiteY89" fmla="*/ 5698 h 10000"/>
              <a:gd name="connsiteX90" fmla="*/ 9475 w 10000"/>
              <a:gd name="connsiteY90" fmla="*/ 5511 h 10000"/>
              <a:gd name="connsiteX91" fmla="*/ 9396 w 10000"/>
              <a:gd name="connsiteY91" fmla="*/ 5324 h 10000"/>
              <a:gd name="connsiteX92" fmla="*/ 9304 w 10000"/>
              <a:gd name="connsiteY92" fmla="*/ 5137 h 10000"/>
              <a:gd name="connsiteX93" fmla="*/ 9213 w 10000"/>
              <a:gd name="connsiteY93" fmla="*/ 4957 h 10000"/>
              <a:gd name="connsiteX94" fmla="*/ 9121 w 10000"/>
              <a:gd name="connsiteY94" fmla="*/ 4775 h 10000"/>
              <a:gd name="connsiteX95" fmla="*/ 9016 w 10000"/>
              <a:gd name="connsiteY95" fmla="*/ 4598 h 10000"/>
              <a:gd name="connsiteX96" fmla="*/ 8911 w 10000"/>
              <a:gd name="connsiteY96" fmla="*/ 4422 h 10000"/>
              <a:gd name="connsiteX97" fmla="*/ 8800 w 10000"/>
              <a:gd name="connsiteY97" fmla="*/ 4246 h 10000"/>
              <a:gd name="connsiteX98" fmla="*/ 8682 w 10000"/>
              <a:gd name="connsiteY98" fmla="*/ 4075 h 10000"/>
              <a:gd name="connsiteX99" fmla="*/ 8557 w 10000"/>
              <a:gd name="connsiteY99" fmla="*/ 3909 h 10000"/>
              <a:gd name="connsiteX100" fmla="*/ 8432 w 10000"/>
              <a:gd name="connsiteY100" fmla="*/ 3743 h 10000"/>
              <a:gd name="connsiteX101" fmla="*/ 8300 w 10000"/>
              <a:gd name="connsiteY101" fmla="*/ 3578 h 10000"/>
              <a:gd name="connsiteX102" fmla="*/ 8162 w 10000"/>
              <a:gd name="connsiteY102" fmla="*/ 3417 h 10000"/>
              <a:gd name="connsiteX103" fmla="*/ 8018 w 10000"/>
              <a:gd name="connsiteY103" fmla="*/ 3262 h 10000"/>
              <a:gd name="connsiteX104" fmla="*/ 7873 w 10000"/>
              <a:gd name="connsiteY104" fmla="*/ 3107 h 10000"/>
              <a:gd name="connsiteX105" fmla="*/ 7723 w 10000"/>
              <a:gd name="connsiteY105" fmla="*/ 2952 h 10000"/>
              <a:gd name="connsiteX106" fmla="*/ 7573 w 10000"/>
              <a:gd name="connsiteY106" fmla="*/ 2808 h 10000"/>
              <a:gd name="connsiteX107" fmla="*/ 7407 w 10000"/>
              <a:gd name="connsiteY107" fmla="*/ 2664 h 10000"/>
              <a:gd name="connsiteX108" fmla="*/ 7250 w 10000"/>
              <a:gd name="connsiteY108" fmla="*/ 2519 h 10000"/>
              <a:gd name="connsiteX109" fmla="*/ 7080 w 10000"/>
              <a:gd name="connsiteY109" fmla="*/ 2375 h 10000"/>
              <a:gd name="connsiteX110" fmla="*/ 6910 w 10000"/>
              <a:gd name="connsiteY110" fmla="*/ 2241 h 10000"/>
              <a:gd name="connsiteX111" fmla="*/ 6740 w 10000"/>
              <a:gd name="connsiteY111" fmla="*/ 2108 h 10000"/>
              <a:gd name="connsiteX112" fmla="*/ 6556 w 10000"/>
              <a:gd name="connsiteY112" fmla="*/ 1980 h 10000"/>
              <a:gd name="connsiteX113" fmla="*/ 6372 w 10000"/>
              <a:gd name="connsiteY113" fmla="*/ 1857 h 10000"/>
              <a:gd name="connsiteX114" fmla="*/ 6188 w 10000"/>
              <a:gd name="connsiteY114" fmla="*/ 1734 h 10000"/>
              <a:gd name="connsiteX115" fmla="*/ 5998 w 10000"/>
              <a:gd name="connsiteY115" fmla="*/ 1617 h 10000"/>
              <a:gd name="connsiteX116" fmla="*/ 5801 w 10000"/>
              <a:gd name="connsiteY116" fmla="*/ 1500 h 10000"/>
              <a:gd name="connsiteX117" fmla="*/ 5605 w 10000"/>
              <a:gd name="connsiteY117" fmla="*/ 1387 h 10000"/>
              <a:gd name="connsiteX118" fmla="*/ 5407 w 10000"/>
              <a:gd name="connsiteY118" fmla="*/ 1280 h 10000"/>
              <a:gd name="connsiteX119" fmla="*/ 5204 w 10000"/>
              <a:gd name="connsiteY119" fmla="*/ 1179 h 10000"/>
              <a:gd name="connsiteX120" fmla="*/ 5001 w 10000"/>
              <a:gd name="connsiteY120" fmla="*/ 1077 h 10000"/>
              <a:gd name="connsiteX121" fmla="*/ 4783 w 10000"/>
              <a:gd name="connsiteY121" fmla="*/ 981 h 10000"/>
              <a:gd name="connsiteX122" fmla="*/ 4574 w 10000"/>
              <a:gd name="connsiteY122" fmla="*/ 890 h 10000"/>
              <a:gd name="connsiteX123" fmla="*/ 4356 w 10000"/>
              <a:gd name="connsiteY123" fmla="*/ 805 h 10000"/>
              <a:gd name="connsiteX124" fmla="*/ 4134 w 10000"/>
              <a:gd name="connsiteY124" fmla="*/ 719 h 10000"/>
              <a:gd name="connsiteX125" fmla="*/ 3917 w 10000"/>
              <a:gd name="connsiteY125" fmla="*/ 639 h 10000"/>
              <a:gd name="connsiteX126" fmla="*/ 3695 w 10000"/>
              <a:gd name="connsiteY126" fmla="*/ 570 h 10000"/>
              <a:gd name="connsiteX127" fmla="*/ 3464 w 10000"/>
              <a:gd name="connsiteY127" fmla="*/ 495 h 10000"/>
              <a:gd name="connsiteX128" fmla="*/ 3234 w 10000"/>
              <a:gd name="connsiteY128" fmla="*/ 431 h 10000"/>
              <a:gd name="connsiteX129" fmla="*/ 2999 w 10000"/>
              <a:gd name="connsiteY129" fmla="*/ 366 h 10000"/>
              <a:gd name="connsiteX130" fmla="*/ 2769 w 10000"/>
              <a:gd name="connsiteY130" fmla="*/ 313 h 10000"/>
              <a:gd name="connsiteX131" fmla="*/ 2528 w 10000"/>
              <a:gd name="connsiteY131" fmla="*/ 260 h 10000"/>
              <a:gd name="connsiteX132" fmla="*/ 2284 w 10000"/>
              <a:gd name="connsiteY132" fmla="*/ 211 h 10000"/>
              <a:gd name="connsiteX133" fmla="*/ 2047 w 10000"/>
              <a:gd name="connsiteY133" fmla="*/ 169 h 10000"/>
              <a:gd name="connsiteX134" fmla="*/ 1806 w 10000"/>
              <a:gd name="connsiteY134" fmla="*/ 131 h 10000"/>
              <a:gd name="connsiteX135" fmla="*/ 1555 w 10000"/>
              <a:gd name="connsiteY135" fmla="*/ 94 h 10000"/>
              <a:gd name="connsiteX136" fmla="*/ 1305 w 10000"/>
              <a:gd name="connsiteY136" fmla="*/ 67 h 10000"/>
              <a:gd name="connsiteX137" fmla="*/ 1057 w 10000"/>
              <a:gd name="connsiteY137" fmla="*/ 46 h 10000"/>
              <a:gd name="connsiteX138" fmla="*/ 807 w 10000"/>
              <a:gd name="connsiteY138" fmla="*/ 30 h 10000"/>
              <a:gd name="connsiteX139" fmla="*/ 551 w 10000"/>
              <a:gd name="connsiteY139" fmla="*/ 14 h 10000"/>
              <a:gd name="connsiteX140" fmla="*/ 295 w 10000"/>
              <a:gd name="connsiteY140" fmla="*/ 8 h 10000"/>
              <a:gd name="connsiteX141" fmla="*/ 39 w 10000"/>
              <a:gd name="connsiteY141" fmla="*/ 3 h 10000"/>
              <a:gd name="connsiteX142" fmla="*/ 0 w 10000"/>
              <a:gd name="connsiteY142" fmla="*/ 0 h 10000"/>
              <a:gd name="connsiteX143" fmla="*/ 1210 w 10000"/>
              <a:gd name="connsiteY143" fmla="*/ 2445 h 10000"/>
              <a:gd name="connsiteX144" fmla="*/ 7 w 10000"/>
              <a:gd name="connsiteY144"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4147 w 10000"/>
              <a:gd name="connsiteY66" fmla="*/ 8227 h 10000"/>
              <a:gd name="connsiteX67" fmla="*/ 6726 w 10000"/>
              <a:gd name="connsiteY67" fmla="*/ 10000 h 10000"/>
              <a:gd name="connsiteX68" fmla="*/ 9850 w 10000"/>
              <a:gd name="connsiteY68" fmla="*/ 9498 h 10000"/>
              <a:gd name="connsiteX69" fmla="*/ 9889 w 10000"/>
              <a:gd name="connsiteY69" fmla="*/ 9332 h 10000"/>
              <a:gd name="connsiteX70" fmla="*/ 9915 w 10000"/>
              <a:gd name="connsiteY70" fmla="*/ 9161 h 10000"/>
              <a:gd name="connsiteX71" fmla="*/ 9941 w 10000"/>
              <a:gd name="connsiteY71" fmla="*/ 8990 h 10000"/>
              <a:gd name="connsiteX72" fmla="*/ 9961 w 10000"/>
              <a:gd name="connsiteY72" fmla="*/ 8813 h 10000"/>
              <a:gd name="connsiteX73" fmla="*/ 9974 w 10000"/>
              <a:gd name="connsiteY73" fmla="*/ 8637 h 10000"/>
              <a:gd name="connsiteX74" fmla="*/ 9987 w 10000"/>
              <a:gd name="connsiteY74" fmla="*/ 8466 h 10000"/>
              <a:gd name="connsiteX75" fmla="*/ 9993 w 10000"/>
              <a:gd name="connsiteY75" fmla="*/ 8291 h 10000"/>
              <a:gd name="connsiteX76" fmla="*/ 10000 w 10000"/>
              <a:gd name="connsiteY76" fmla="*/ 8114 h 10000"/>
              <a:gd name="connsiteX77" fmla="*/ 9993 w 10000"/>
              <a:gd name="connsiteY77" fmla="*/ 7901 h 10000"/>
              <a:gd name="connsiteX78" fmla="*/ 9987 w 10000"/>
              <a:gd name="connsiteY78" fmla="*/ 7697 h 10000"/>
              <a:gd name="connsiteX79" fmla="*/ 9967 w 10000"/>
              <a:gd name="connsiteY79" fmla="*/ 7489 h 10000"/>
              <a:gd name="connsiteX80" fmla="*/ 9948 w 10000"/>
              <a:gd name="connsiteY80" fmla="*/ 7286 h 10000"/>
              <a:gd name="connsiteX81" fmla="*/ 9915 w 10000"/>
              <a:gd name="connsiteY81" fmla="*/ 7077 h 10000"/>
              <a:gd name="connsiteX82" fmla="*/ 9882 w 10000"/>
              <a:gd name="connsiteY82" fmla="*/ 6880 h 10000"/>
              <a:gd name="connsiteX83" fmla="*/ 9843 w 10000"/>
              <a:gd name="connsiteY83" fmla="*/ 6677 h 10000"/>
              <a:gd name="connsiteX84" fmla="*/ 9796 w 10000"/>
              <a:gd name="connsiteY84" fmla="*/ 6479 h 10000"/>
              <a:gd name="connsiteX85" fmla="*/ 9744 w 10000"/>
              <a:gd name="connsiteY85" fmla="*/ 6281 h 10000"/>
              <a:gd name="connsiteX86" fmla="*/ 9685 w 10000"/>
              <a:gd name="connsiteY86" fmla="*/ 6089 h 10000"/>
              <a:gd name="connsiteX87" fmla="*/ 9620 w 10000"/>
              <a:gd name="connsiteY87" fmla="*/ 5891 h 10000"/>
              <a:gd name="connsiteX88" fmla="*/ 9555 w 10000"/>
              <a:gd name="connsiteY88" fmla="*/ 5698 h 10000"/>
              <a:gd name="connsiteX89" fmla="*/ 9475 w 10000"/>
              <a:gd name="connsiteY89" fmla="*/ 5511 h 10000"/>
              <a:gd name="connsiteX90" fmla="*/ 9396 w 10000"/>
              <a:gd name="connsiteY90" fmla="*/ 5324 h 10000"/>
              <a:gd name="connsiteX91" fmla="*/ 9304 w 10000"/>
              <a:gd name="connsiteY91" fmla="*/ 5137 h 10000"/>
              <a:gd name="connsiteX92" fmla="*/ 9213 w 10000"/>
              <a:gd name="connsiteY92" fmla="*/ 4957 h 10000"/>
              <a:gd name="connsiteX93" fmla="*/ 9121 w 10000"/>
              <a:gd name="connsiteY93" fmla="*/ 4775 h 10000"/>
              <a:gd name="connsiteX94" fmla="*/ 9016 w 10000"/>
              <a:gd name="connsiteY94" fmla="*/ 4598 h 10000"/>
              <a:gd name="connsiteX95" fmla="*/ 8911 w 10000"/>
              <a:gd name="connsiteY95" fmla="*/ 4422 h 10000"/>
              <a:gd name="connsiteX96" fmla="*/ 8800 w 10000"/>
              <a:gd name="connsiteY96" fmla="*/ 4246 h 10000"/>
              <a:gd name="connsiteX97" fmla="*/ 8682 w 10000"/>
              <a:gd name="connsiteY97" fmla="*/ 4075 h 10000"/>
              <a:gd name="connsiteX98" fmla="*/ 8557 w 10000"/>
              <a:gd name="connsiteY98" fmla="*/ 3909 h 10000"/>
              <a:gd name="connsiteX99" fmla="*/ 8432 w 10000"/>
              <a:gd name="connsiteY99" fmla="*/ 3743 h 10000"/>
              <a:gd name="connsiteX100" fmla="*/ 8300 w 10000"/>
              <a:gd name="connsiteY100" fmla="*/ 3578 h 10000"/>
              <a:gd name="connsiteX101" fmla="*/ 8162 w 10000"/>
              <a:gd name="connsiteY101" fmla="*/ 3417 h 10000"/>
              <a:gd name="connsiteX102" fmla="*/ 8018 w 10000"/>
              <a:gd name="connsiteY102" fmla="*/ 3262 h 10000"/>
              <a:gd name="connsiteX103" fmla="*/ 7873 w 10000"/>
              <a:gd name="connsiteY103" fmla="*/ 3107 h 10000"/>
              <a:gd name="connsiteX104" fmla="*/ 7723 w 10000"/>
              <a:gd name="connsiteY104" fmla="*/ 2952 h 10000"/>
              <a:gd name="connsiteX105" fmla="*/ 7573 w 10000"/>
              <a:gd name="connsiteY105" fmla="*/ 2808 h 10000"/>
              <a:gd name="connsiteX106" fmla="*/ 7407 w 10000"/>
              <a:gd name="connsiteY106" fmla="*/ 2664 h 10000"/>
              <a:gd name="connsiteX107" fmla="*/ 7250 w 10000"/>
              <a:gd name="connsiteY107" fmla="*/ 2519 h 10000"/>
              <a:gd name="connsiteX108" fmla="*/ 7080 w 10000"/>
              <a:gd name="connsiteY108" fmla="*/ 2375 h 10000"/>
              <a:gd name="connsiteX109" fmla="*/ 6910 w 10000"/>
              <a:gd name="connsiteY109" fmla="*/ 2241 h 10000"/>
              <a:gd name="connsiteX110" fmla="*/ 6740 w 10000"/>
              <a:gd name="connsiteY110" fmla="*/ 2108 h 10000"/>
              <a:gd name="connsiteX111" fmla="*/ 6556 w 10000"/>
              <a:gd name="connsiteY111" fmla="*/ 1980 h 10000"/>
              <a:gd name="connsiteX112" fmla="*/ 6372 w 10000"/>
              <a:gd name="connsiteY112" fmla="*/ 1857 h 10000"/>
              <a:gd name="connsiteX113" fmla="*/ 6188 w 10000"/>
              <a:gd name="connsiteY113" fmla="*/ 1734 h 10000"/>
              <a:gd name="connsiteX114" fmla="*/ 5998 w 10000"/>
              <a:gd name="connsiteY114" fmla="*/ 1617 h 10000"/>
              <a:gd name="connsiteX115" fmla="*/ 5801 w 10000"/>
              <a:gd name="connsiteY115" fmla="*/ 1500 h 10000"/>
              <a:gd name="connsiteX116" fmla="*/ 5605 w 10000"/>
              <a:gd name="connsiteY116" fmla="*/ 1387 h 10000"/>
              <a:gd name="connsiteX117" fmla="*/ 5407 w 10000"/>
              <a:gd name="connsiteY117" fmla="*/ 1280 h 10000"/>
              <a:gd name="connsiteX118" fmla="*/ 5204 w 10000"/>
              <a:gd name="connsiteY118" fmla="*/ 1179 h 10000"/>
              <a:gd name="connsiteX119" fmla="*/ 5001 w 10000"/>
              <a:gd name="connsiteY119" fmla="*/ 1077 h 10000"/>
              <a:gd name="connsiteX120" fmla="*/ 4783 w 10000"/>
              <a:gd name="connsiteY120" fmla="*/ 981 h 10000"/>
              <a:gd name="connsiteX121" fmla="*/ 4574 w 10000"/>
              <a:gd name="connsiteY121" fmla="*/ 890 h 10000"/>
              <a:gd name="connsiteX122" fmla="*/ 4356 w 10000"/>
              <a:gd name="connsiteY122" fmla="*/ 805 h 10000"/>
              <a:gd name="connsiteX123" fmla="*/ 4134 w 10000"/>
              <a:gd name="connsiteY123" fmla="*/ 719 h 10000"/>
              <a:gd name="connsiteX124" fmla="*/ 3917 w 10000"/>
              <a:gd name="connsiteY124" fmla="*/ 639 h 10000"/>
              <a:gd name="connsiteX125" fmla="*/ 3695 w 10000"/>
              <a:gd name="connsiteY125" fmla="*/ 570 h 10000"/>
              <a:gd name="connsiteX126" fmla="*/ 3464 w 10000"/>
              <a:gd name="connsiteY126" fmla="*/ 495 h 10000"/>
              <a:gd name="connsiteX127" fmla="*/ 3234 w 10000"/>
              <a:gd name="connsiteY127" fmla="*/ 431 h 10000"/>
              <a:gd name="connsiteX128" fmla="*/ 2999 w 10000"/>
              <a:gd name="connsiteY128" fmla="*/ 366 h 10000"/>
              <a:gd name="connsiteX129" fmla="*/ 2769 w 10000"/>
              <a:gd name="connsiteY129" fmla="*/ 313 h 10000"/>
              <a:gd name="connsiteX130" fmla="*/ 2528 w 10000"/>
              <a:gd name="connsiteY130" fmla="*/ 260 h 10000"/>
              <a:gd name="connsiteX131" fmla="*/ 2284 w 10000"/>
              <a:gd name="connsiteY131" fmla="*/ 211 h 10000"/>
              <a:gd name="connsiteX132" fmla="*/ 2047 w 10000"/>
              <a:gd name="connsiteY132" fmla="*/ 169 h 10000"/>
              <a:gd name="connsiteX133" fmla="*/ 1806 w 10000"/>
              <a:gd name="connsiteY133" fmla="*/ 131 h 10000"/>
              <a:gd name="connsiteX134" fmla="*/ 1555 w 10000"/>
              <a:gd name="connsiteY134" fmla="*/ 94 h 10000"/>
              <a:gd name="connsiteX135" fmla="*/ 1305 w 10000"/>
              <a:gd name="connsiteY135" fmla="*/ 67 h 10000"/>
              <a:gd name="connsiteX136" fmla="*/ 1057 w 10000"/>
              <a:gd name="connsiteY136" fmla="*/ 46 h 10000"/>
              <a:gd name="connsiteX137" fmla="*/ 807 w 10000"/>
              <a:gd name="connsiteY137" fmla="*/ 30 h 10000"/>
              <a:gd name="connsiteX138" fmla="*/ 551 w 10000"/>
              <a:gd name="connsiteY138" fmla="*/ 14 h 10000"/>
              <a:gd name="connsiteX139" fmla="*/ 295 w 10000"/>
              <a:gd name="connsiteY139" fmla="*/ 8 h 10000"/>
              <a:gd name="connsiteX140" fmla="*/ 39 w 10000"/>
              <a:gd name="connsiteY140" fmla="*/ 3 h 10000"/>
              <a:gd name="connsiteX141" fmla="*/ 0 w 10000"/>
              <a:gd name="connsiteY141" fmla="*/ 0 h 10000"/>
              <a:gd name="connsiteX142" fmla="*/ 1210 w 10000"/>
              <a:gd name="connsiteY142" fmla="*/ 2445 h 10000"/>
              <a:gd name="connsiteX143" fmla="*/ 7 w 10000"/>
              <a:gd name="connsiteY143"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6726 w 10000"/>
              <a:gd name="connsiteY66" fmla="*/ 10000 h 10000"/>
              <a:gd name="connsiteX67" fmla="*/ 9850 w 10000"/>
              <a:gd name="connsiteY67" fmla="*/ 9498 h 10000"/>
              <a:gd name="connsiteX68" fmla="*/ 9889 w 10000"/>
              <a:gd name="connsiteY68" fmla="*/ 9332 h 10000"/>
              <a:gd name="connsiteX69" fmla="*/ 9915 w 10000"/>
              <a:gd name="connsiteY69" fmla="*/ 9161 h 10000"/>
              <a:gd name="connsiteX70" fmla="*/ 9941 w 10000"/>
              <a:gd name="connsiteY70" fmla="*/ 8990 h 10000"/>
              <a:gd name="connsiteX71" fmla="*/ 9961 w 10000"/>
              <a:gd name="connsiteY71" fmla="*/ 8813 h 10000"/>
              <a:gd name="connsiteX72" fmla="*/ 9974 w 10000"/>
              <a:gd name="connsiteY72" fmla="*/ 8637 h 10000"/>
              <a:gd name="connsiteX73" fmla="*/ 9987 w 10000"/>
              <a:gd name="connsiteY73" fmla="*/ 8466 h 10000"/>
              <a:gd name="connsiteX74" fmla="*/ 9993 w 10000"/>
              <a:gd name="connsiteY74" fmla="*/ 8291 h 10000"/>
              <a:gd name="connsiteX75" fmla="*/ 10000 w 10000"/>
              <a:gd name="connsiteY75" fmla="*/ 8114 h 10000"/>
              <a:gd name="connsiteX76" fmla="*/ 9993 w 10000"/>
              <a:gd name="connsiteY76" fmla="*/ 7901 h 10000"/>
              <a:gd name="connsiteX77" fmla="*/ 9987 w 10000"/>
              <a:gd name="connsiteY77" fmla="*/ 7697 h 10000"/>
              <a:gd name="connsiteX78" fmla="*/ 9967 w 10000"/>
              <a:gd name="connsiteY78" fmla="*/ 7489 h 10000"/>
              <a:gd name="connsiteX79" fmla="*/ 9948 w 10000"/>
              <a:gd name="connsiteY79" fmla="*/ 7286 h 10000"/>
              <a:gd name="connsiteX80" fmla="*/ 9915 w 10000"/>
              <a:gd name="connsiteY80" fmla="*/ 7077 h 10000"/>
              <a:gd name="connsiteX81" fmla="*/ 9882 w 10000"/>
              <a:gd name="connsiteY81" fmla="*/ 6880 h 10000"/>
              <a:gd name="connsiteX82" fmla="*/ 9843 w 10000"/>
              <a:gd name="connsiteY82" fmla="*/ 6677 h 10000"/>
              <a:gd name="connsiteX83" fmla="*/ 9796 w 10000"/>
              <a:gd name="connsiteY83" fmla="*/ 6479 h 10000"/>
              <a:gd name="connsiteX84" fmla="*/ 9744 w 10000"/>
              <a:gd name="connsiteY84" fmla="*/ 6281 h 10000"/>
              <a:gd name="connsiteX85" fmla="*/ 9685 w 10000"/>
              <a:gd name="connsiteY85" fmla="*/ 6089 h 10000"/>
              <a:gd name="connsiteX86" fmla="*/ 9620 w 10000"/>
              <a:gd name="connsiteY86" fmla="*/ 5891 h 10000"/>
              <a:gd name="connsiteX87" fmla="*/ 9555 w 10000"/>
              <a:gd name="connsiteY87" fmla="*/ 5698 h 10000"/>
              <a:gd name="connsiteX88" fmla="*/ 9475 w 10000"/>
              <a:gd name="connsiteY88" fmla="*/ 5511 h 10000"/>
              <a:gd name="connsiteX89" fmla="*/ 9396 w 10000"/>
              <a:gd name="connsiteY89" fmla="*/ 5324 h 10000"/>
              <a:gd name="connsiteX90" fmla="*/ 9304 w 10000"/>
              <a:gd name="connsiteY90" fmla="*/ 5137 h 10000"/>
              <a:gd name="connsiteX91" fmla="*/ 9213 w 10000"/>
              <a:gd name="connsiteY91" fmla="*/ 4957 h 10000"/>
              <a:gd name="connsiteX92" fmla="*/ 9121 w 10000"/>
              <a:gd name="connsiteY92" fmla="*/ 4775 h 10000"/>
              <a:gd name="connsiteX93" fmla="*/ 9016 w 10000"/>
              <a:gd name="connsiteY93" fmla="*/ 4598 h 10000"/>
              <a:gd name="connsiteX94" fmla="*/ 8911 w 10000"/>
              <a:gd name="connsiteY94" fmla="*/ 4422 h 10000"/>
              <a:gd name="connsiteX95" fmla="*/ 8800 w 10000"/>
              <a:gd name="connsiteY95" fmla="*/ 4246 h 10000"/>
              <a:gd name="connsiteX96" fmla="*/ 8682 w 10000"/>
              <a:gd name="connsiteY96" fmla="*/ 4075 h 10000"/>
              <a:gd name="connsiteX97" fmla="*/ 8557 w 10000"/>
              <a:gd name="connsiteY97" fmla="*/ 3909 h 10000"/>
              <a:gd name="connsiteX98" fmla="*/ 8432 w 10000"/>
              <a:gd name="connsiteY98" fmla="*/ 3743 h 10000"/>
              <a:gd name="connsiteX99" fmla="*/ 8300 w 10000"/>
              <a:gd name="connsiteY99" fmla="*/ 3578 h 10000"/>
              <a:gd name="connsiteX100" fmla="*/ 8162 w 10000"/>
              <a:gd name="connsiteY100" fmla="*/ 3417 h 10000"/>
              <a:gd name="connsiteX101" fmla="*/ 8018 w 10000"/>
              <a:gd name="connsiteY101" fmla="*/ 3262 h 10000"/>
              <a:gd name="connsiteX102" fmla="*/ 7873 w 10000"/>
              <a:gd name="connsiteY102" fmla="*/ 3107 h 10000"/>
              <a:gd name="connsiteX103" fmla="*/ 7723 w 10000"/>
              <a:gd name="connsiteY103" fmla="*/ 2952 h 10000"/>
              <a:gd name="connsiteX104" fmla="*/ 7573 w 10000"/>
              <a:gd name="connsiteY104" fmla="*/ 2808 h 10000"/>
              <a:gd name="connsiteX105" fmla="*/ 7407 w 10000"/>
              <a:gd name="connsiteY105" fmla="*/ 2664 h 10000"/>
              <a:gd name="connsiteX106" fmla="*/ 7250 w 10000"/>
              <a:gd name="connsiteY106" fmla="*/ 2519 h 10000"/>
              <a:gd name="connsiteX107" fmla="*/ 7080 w 10000"/>
              <a:gd name="connsiteY107" fmla="*/ 2375 h 10000"/>
              <a:gd name="connsiteX108" fmla="*/ 6910 w 10000"/>
              <a:gd name="connsiteY108" fmla="*/ 2241 h 10000"/>
              <a:gd name="connsiteX109" fmla="*/ 6740 w 10000"/>
              <a:gd name="connsiteY109" fmla="*/ 2108 h 10000"/>
              <a:gd name="connsiteX110" fmla="*/ 6556 w 10000"/>
              <a:gd name="connsiteY110" fmla="*/ 1980 h 10000"/>
              <a:gd name="connsiteX111" fmla="*/ 6372 w 10000"/>
              <a:gd name="connsiteY111" fmla="*/ 1857 h 10000"/>
              <a:gd name="connsiteX112" fmla="*/ 6188 w 10000"/>
              <a:gd name="connsiteY112" fmla="*/ 1734 h 10000"/>
              <a:gd name="connsiteX113" fmla="*/ 5998 w 10000"/>
              <a:gd name="connsiteY113" fmla="*/ 1617 h 10000"/>
              <a:gd name="connsiteX114" fmla="*/ 5801 w 10000"/>
              <a:gd name="connsiteY114" fmla="*/ 1500 h 10000"/>
              <a:gd name="connsiteX115" fmla="*/ 5605 w 10000"/>
              <a:gd name="connsiteY115" fmla="*/ 1387 h 10000"/>
              <a:gd name="connsiteX116" fmla="*/ 5407 w 10000"/>
              <a:gd name="connsiteY116" fmla="*/ 1280 h 10000"/>
              <a:gd name="connsiteX117" fmla="*/ 5204 w 10000"/>
              <a:gd name="connsiteY117" fmla="*/ 1179 h 10000"/>
              <a:gd name="connsiteX118" fmla="*/ 5001 w 10000"/>
              <a:gd name="connsiteY118" fmla="*/ 1077 h 10000"/>
              <a:gd name="connsiteX119" fmla="*/ 4783 w 10000"/>
              <a:gd name="connsiteY119" fmla="*/ 981 h 10000"/>
              <a:gd name="connsiteX120" fmla="*/ 4574 w 10000"/>
              <a:gd name="connsiteY120" fmla="*/ 890 h 10000"/>
              <a:gd name="connsiteX121" fmla="*/ 4356 w 10000"/>
              <a:gd name="connsiteY121" fmla="*/ 805 h 10000"/>
              <a:gd name="connsiteX122" fmla="*/ 4134 w 10000"/>
              <a:gd name="connsiteY122" fmla="*/ 719 h 10000"/>
              <a:gd name="connsiteX123" fmla="*/ 3917 w 10000"/>
              <a:gd name="connsiteY123" fmla="*/ 639 h 10000"/>
              <a:gd name="connsiteX124" fmla="*/ 3695 w 10000"/>
              <a:gd name="connsiteY124" fmla="*/ 570 h 10000"/>
              <a:gd name="connsiteX125" fmla="*/ 3464 w 10000"/>
              <a:gd name="connsiteY125" fmla="*/ 495 h 10000"/>
              <a:gd name="connsiteX126" fmla="*/ 3234 w 10000"/>
              <a:gd name="connsiteY126" fmla="*/ 431 h 10000"/>
              <a:gd name="connsiteX127" fmla="*/ 2999 w 10000"/>
              <a:gd name="connsiteY127" fmla="*/ 366 h 10000"/>
              <a:gd name="connsiteX128" fmla="*/ 2769 w 10000"/>
              <a:gd name="connsiteY128" fmla="*/ 313 h 10000"/>
              <a:gd name="connsiteX129" fmla="*/ 2528 w 10000"/>
              <a:gd name="connsiteY129" fmla="*/ 260 h 10000"/>
              <a:gd name="connsiteX130" fmla="*/ 2284 w 10000"/>
              <a:gd name="connsiteY130" fmla="*/ 211 h 10000"/>
              <a:gd name="connsiteX131" fmla="*/ 2047 w 10000"/>
              <a:gd name="connsiteY131" fmla="*/ 169 h 10000"/>
              <a:gd name="connsiteX132" fmla="*/ 1806 w 10000"/>
              <a:gd name="connsiteY132" fmla="*/ 131 h 10000"/>
              <a:gd name="connsiteX133" fmla="*/ 1555 w 10000"/>
              <a:gd name="connsiteY133" fmla="*/ 94 h 10000"/>
              <a:gd name="connsiteX134" fmla="*/ 1305 w 10000"/>
              <a:gd name="connsiteY134" fmla="*/ 67 h 10000"/>
              <a:gd name="connsiteX135" fmla="*/ 1057 w 10000"/>
              <a:gd name="connsiteY135" fmla="*/ 46 h 10000"/>
              <a:gd name="connsiteX136" fmla="*/ 807 w 10000"/>
              <a:gd name="connsiteY136" fmla="*/ 30 h 10000"/>
              <a:gd name="connsiteX137" fmla="*/ 551 w 10000"/>
              <a:gd name="connsiteY137" fmla="*/ 14 h 10000"/>
              <a:gd name="connsiteX138" fmla="*/ 295 w 10000"/>
              <a:gd name="connsiteY138" fmla="*/ 8 h 10000"/>
              <a:gd name="connsiteX139" fmla="*/ 39 w 10000"/>
              <a:gd name="connsiteY139" fmla="*/ 3 h 10000"/>
              <a:gd name="connsiteX140" fmla="*/ 0 w 10000"/>
              <a:gd name="connsiteY140" fmla="*/ 0 h 10000"/>
              <a:gd name="connsiteX141" fmla="*/ 1210 w 10000"/>
              <a:gd name="connsiteY141" fmla="*/ 2445 h 10000"/>
              <a:gd name="connsiteX142" fmla="*/ 7 w 10000"/>
              <a:gd name="connsiteY142"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6726 w 10000"/>
              <a:gd name="connsiteY65" fmla="*/ 10000 h 10000"/>
              <a:gd name="connsiteX66" fmla="*/ 9850 w 10000"/>
              <a:gd name="connsiteY66" fmla="*/ 9498 h 10000"/>
              <a:gd name="connsiteX67" fmla="*/ 9889 w 10000"/>
              <a:gd name="connsiteY67" fmla="*/ 9332 h 10000"/>
              <a:gd name="connsiteX68" fmla="*/ 9915 w 10000"/>
              <a:gd name="connsiteY68" fmla="*/ 9161 h 10000"/>
              <a:gd name="connsiteX69" fmla="*/ 9941 w 10000"/>
              <a:gd name="connsiteY69" fmla="*/ 8990 h 10000"/>
              <a:gd name="connsiteX70" fmla="*/ 9961 w 10000"/>
              <a:gd name="connsiteY70" fmla="*/ 8813 h 10000"/>
              <a:gd name="connsiteX71" fmla="*/ 9974 w 10000"/>
              <a:gd name="connsiteY71" fmla="*/ 8637 h 10000"/>
              <a:gd name="connsiteX72" fmla="*/ 9987 w 10000"/>
              <a:gd name="connsiteY72" fmla="*/ 8466 h 10000"/>
              <a:gd name="connsiteX73" fmla="*/ 9993 w 10000"/>
              <a:gd name="connsiteY73" fmla="*/ 8291 h 10000"/>
              <a:gd name="connsiteX74" fmla="*/ 10000 w 10000"/>
              <a:gd name="connsiteY74" fmla="*/ 8114 h 10000"/>
              <a:gd name="connsiteX75" fmla="*/ 9993 w 10000"/>
              <a:gd name="connsiteY75" fmla="*/ 7901 h 10000"/>
              <a:gd name="connsiteX76" fmla="*/ 9987 w 10000"/>
              <a:gd name="connsiteY76" fmla="*/ 7697 h 10000"/>
              <a:gd name="connsiteX77" fmla="*/ 9967 w 10000"/>
              <a:gd name="connsiteY77" fmla="*/ 7489 h 10000"/>
              <a:gd name="connsiteX78" fmla="*/ 9948 w 10000"/>
              <a:gd name="connsiteY78" fmla="*/ 7286 h 10000"/>
              <a:gd name="connsiteX79" fmla="*/ 9915 w 10000"/>
              <a:gd name="connsiteY79" fmla="*/ 7077 h 10000"/>
              <a:gd name="connsiteX80" fmla="*/ 9882 w 10000"/>
              <a:gd name="connsiteY80" fmla="*/ 6880 h 10000"/>
              <a:gd name="connsiteX81" fmla="*/ 9843 w 10000"/>
              <a:gd name="connsiteY81" fmla="*/ 6677 h 10000"/>
              <a:gd name="connsiteX82" fmla="*/ 9796 w 10000"/>
              <a:gd name="connsiteY82" fmla="*/ 6479 h 10000"/>
              <a:gd name="connsiteX83" fmla="*/ 9744 w 10000"/>
              <a:gd name="connsiteY83" fmla="*/ 6281 h 10000"/>
              <a:gd name="connsiteX84" fmla="*/ 9685 w 10000"/>
              <a:gd name="connsiteY84" fmla="*/ 6089 h 10000"/>
              <a:gd name="connsiteX85" fmla="*/ 9620 w 10000"/>
              <a:gd name="connsiteY85" fmla="*/ 5891 h 10000"/>
              <a:gd name="connsiteX86" fmla="*/ 9555 w 10000"/>
              <a:gd name="connsiteY86" fmla="*/ 5698 h 10000"/>
              <a:gd name="connsiteX87" fmla="*/ 9475 w 10000"/>
              <a:gd name="connsiteY87" fmla="*/ 5511 h 10000"/>
              <a:gd name="connsiteX88" fmla="*/ 9396 w 10000"/>
              <a:gd name="connsiteY88" fmla="*/ 5324 h 10000"/>
              <a:gd name="connsiteX89" fmla="*/ 9304 w 10000"/>
              <a:gd name="connsiteY89" fmla="*/ 5137 h 10000"/>
              <a:gd name="connsiteX90" fmla="*/ 9213 w 10000"/>
              <a:gd name="connsiteY90" fmla="*/ 4957 h 10000"/>
              <a:gd name="connsiteX91" fmla="*/ 9121 w 10000"/>
              <a:gd name="connsiteY91" fmla="*/ 4775 h 10000"/>
              <a:gd name="connsiteX92" fmla="*/ 9016 w 10000"/>
              <a:gd name="connsiteY92" fmla="*/ 4598 h 10000"/>
              <a:gd name="connsiteX93" fmla="*/ 8911 w 10000"/>
              <a:gd name="connsiteY93" fmla="*/ 4422 h 10000"/>
              <a:gd name="connsiteX94" fmla="*/ 8800 w 10000"/>
              <a:gd name="connsiteY94" fmla="*/ 4246 h 10000"/>
              <a:gd name="connsiteX95" fmla="*/ 8682 w 10000"/>
              <a:gd name="connsiteY95" fmla="*/ 4075 h 10000"/>
              <a:gd name="connsiteX96" fmla="*/ 8557 w 10000"/>
              <a:gd name="connsiteY96" fmla="*/ 3909 h 10000"/>
              <a:gd name="connsiteX97" fmla="*/ 8432 w 10000"/>
              <a:gd name="connsiteY97" fmla="*/ 3743 h 10000"/>
              <a:gd name="connsiteX98" fmla="*/ 8300 w 10000"/>
              <a:gd name="connsiteY98" fmla="*/ 3578 h 10000"/>
              <a:gd name="connsiteX99" fmla="*/ 8162 w 10000"/>
              <a:gd name="connsiteY99" fmla="*/ 3417 h 10000"/>
              <a:gd name="connsiteX100" fmla="*/ 8018 w 10000"/>
              <a:gd name="connsiteY100" fmla="*/ 3262 h 10000"/>
              <a:gd name="connsiteX101" fmla="*/ 7873 w 10000"/>
              <a:gd name="connsiteY101" fmla="*/ 3107 h 10000"/>
              <a:gd name="connsiteX102" fmla="*/ 7723 w 10000"/>
              <a:gd name="connsiteY102" fmla="*/ 2952 h 10000"/>
              <a:gd name="connsiteX103" fmla="*/ 7573 w 10000"/>
              <a:gd name="connsiteY103" fmla="*/ 2808 h 10000"/>
              <a:gd name="connsiteX104" fmla="*/ 7407 w 10000"/>
              <a:gd name="connsiteY104" fmla="*/ 2664 h 10000"/>
              <a:gd name="connsiteX105" fmla="*/ 7250 w 10000"/>
              <a:gd name="connsiteY105" fmla="*/ 2519 h 10000"/>
              <a:gd name="connsiteX106" fmla="*/ 7080 w 10000"/>
              <a:gd name="connsiteY106" fmla="*/ 2375 h 10000"/>
              <a:gd name="connsiteX107" fmla="*/ 6910 w 10000"/>
              <a:gd name="connsiteY107" fmla="*/ 2241 h 10000"/>
              <a:gd name="connsiteX108" fmla="*/ 6740 w 10000"/>
              <a:gd name="connsiteY108" fmla="*/ 2108 h 10000"/>
              <a:gd name="connsiteX109" fmla="*/ 6556 w 10000"/>
              <a:gd name="connsiteY109" fmla="*/ 1980 h 10000"/>
              <a:gd name="connsiteX110" fmla="*/ 6372 w 10000"/>
              <a:gd name="connsiteY110" fmla="*/ 1857 h 10000"/>
              <a:gd name="connsiteX111" fmla="*/ 6188 w 10000"/>
              <a:gd name="connsiteY111" fmla="*/ 1734 h 10000"/>
              <a:gd name="connsiteX112" fmla="*/ 5998 w 10000"/>
              <a:gd name="connsiteY112" fmla="*/ 1617 h 10000"/>
              <a:gd name="connsiteX113" fmla="*/ 5801 w 10000"/>
              <a:gd name="connsiteY113" fmla="*/ 1500 h 10000"/>
              <a:gd name="connsiteX114" fmla="*/ 5605 w 10000"/>
              <a:gd name="connsiteY114" fmla="*/ 1387 h 10000"/>
              <a:gd name="connsiteX115" fmla="*/ 5407 w 10000"/>
              <a:gd name="connsiteY115" fmla="*/ 1280 h 10000"/>
              <a:gd name="connsiteX116" fmla="*/ 5204 w 10000"/>
              <a:gd name="connsiteY116" fmla="*/ 1179 h 10000"/>
              <a:gd name="connsiteX117" fmla="*/ 5001 w 10000"/>
              <a:gd name="connsiteY117" fmla="*/ 1077 h 10000"/>
              <a:gd name="connsiteX118" fmla="*/ 4783 w 10000"/>
              <a:gd name="connsiteY118" fmla="*/ 981 h 10000"/>
              <a:gd name="connsiteX119" fmla="*/ 4574 w 10000"/>
              <a:gd name="connsiteY119" fmla="*/ 890 h 10000"/>
              <a:gd name="connsiteX120" fmla="*/ 4356 w 10000"/>
              <a:gd name="connsiteY120" fmla="*/ 805 h 10000"/>
              <a:gd name="connsiteX121" fmla="*/ 4134 w 10000"/>
              <a:gd name="connsiteY121" fmla="*/ 719 h 10000"/>
              <a:gd name="connsiteX122" fmla="*/ 3917 w 10000"/>
              <a:gd name="connsiteY122" fmla="*/ 639 h 10000"/>
              <a:gd name="connsiteX123" fmla="*/ 3695 w 10000"/>
              <a:gd name="connsiteY123" fmla="*/ 570 h 10000"/>
              <a:gd name="connsiteX124" fmla="*/ 3464 w 10000"/>
              <a:gd name="connsiteY124" fmla="*/ 495 h 10000"/>
              <a:gd name="connsiteX125" fmla="*/ 3234 w 10000"/>
              <a:gd name="connsiteY125" fmla="*/ 431 h 10000"/>
              <a:gd name="connsiteX126" fmla="*/ 2999 w 10000"/>
              <a:gd name="connsiteY126" fmla="*/ 366 h 10000"/>
              <a:gd name="connsiteX127" fmla="*/ 2769 w 10000"/>
              <a:gd name="connsiteY127" fmla="*/ 313 h 10000"/>
              <a:gd name="connsiteX128" fmla="*/ 2528 w 10000"/>
              <a:gd name="connsiteY128" fmla="*/ 260 h 10000"/>
              <a:gd name="connsiteX129" fmla="*/ 2284 w 10000"/>
              <a:gd name="connsiteY129" fmla="*/ 211 h 10000"/>
              <a:gd name="connsiteX130" fmla="*/ 2047 w 10000"/>
              <a:gd name="connsiteY130" fmla="*/ 169 h 10000"/>
              <a:gd name="connsiteX131" fmla="*/ 1806 w 10000"/>
              <a:gd name="connsiteY131" fmla="*/ 131 h 10000"/>
              <a:gd name="connsiteX132" fmla="*/ 1555 w 10000"/>
              <a:gd name="connsiteY132" fmla="*/ 94 h 10000"/>
              <a:gd name="connsiteX133" fmla="*/ 1305 w 10000"/>
              <a:gd name="connsiteY133" fmla="*/ 67 h 10000"/>
              <a:gd name="connsiteX134" fmla="*/ 1057 w 10000"/>
              <a:gd name="connsiteY134" fmla="*/ 46 h 10000"/>
              <a:gd name="connsiteX135" fmla="*/ 807 w 10000"/>
              <a:gd name="connsiteY135" fmla="*/ 30 h 10000"/>
              <a:gd name="connsiteX136" fmla="*/ 551 w 10000"/>
              <a:gd name="connsiteY136" fmla="*/ 14 h 10000"/>
              <a:gd name="connsiteX137" fmla="*/ 295 w 10000"/>
              <a:gd name="connsiteY137" fmla="*/ 8 h 10000"/>
              <a:gd name="connsiteX138" fmla="*/ 39 w 10000"/>
              <a:gd name="connsiteY138" fmla="*/ 3 h 10000"/>
              <a:gd name="connsiteX139" fmla="*/ 0 w 10000"/>
              <a:gd name="connsiteY139" fmla="*/ 0 h 10000"/>
              <a:gd name="connsiteX140" fmla="*/ 1210 w 10000"/>
              <a:gd name="connsiteY140" fmla="*/ 2445 h 10000"/>
              <a:gd name="connsiteX141" fmla="*/ 7 w 10000"/>
              <a:gd name="connsiteY141"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32 w 10000"/>
              <a:gd name="connsiteY64" fmla="*/ 7983 h 10000"/>
              <a:gd name="connsiteX65" fmla="*/ 4147 w 10000"/>
              <a:gd name="connsiteY65" fmla="*/ 8029 h 10000"/>
              <a:gd name="connsiteX66" fmla="*/ 6726 w 10000"/>
              <a:gd name="connsiteY66" fmla="*/ 10000 h 10000"/>
              <a:gd name="connsiteX67" fmla="*/ 9850 w 10000"/>
              <a:gd name="connsiteY67" fmla="*/ 9498 h 10000"/>
              <a:gd name="connsiteX68" fmla="*/ 9889 w 10000"/>
              <a:gd name="connsiteY68" fmla="*/ 9332 h 10000"/>
              <a:gd name="connsiteX69" fmla="*/ 9915 w 10000"/>
              <a:gd name="connsiteY69" fmla="*/ 9161 h 10000"/>
              <a:gd name="connsiteX70" fmla="*/ 9941 w 10000"/>
              <a:gd name="connsiteY70" fmla="*/ 8990 h 10000"/>
              <a:gd name="connsiteX71" fmla="*/ 9961 w 10000"/>
              <a:gd name="connsiteY71" fmla="*/ 8813 h 10000"/>
              <a:gd name="connsiteX72" fmla="*/ 9974 w 10000"/>
              <a:gd name="connsiteY72" fmla="*/ 8637 h 10000"/>
              <a:gd name="connsiteX73" fmla="*/ 9987 w 10000"/>
              <a:gd name="connsiteY73" fmla="*/ 8466 h 10000"/>
              <a:gd name="connsiteX74" fmla="*/ 9993 w 10000"/>
              <a:gd name="connsiteY74" fmla="*/ 8291 h 10000"/>
              <a:gd name="connsiteX75" fmla="*/ 10000 w 10000"/>
              <a:gd name="connsiteY75" fmla="*/ 8114 h 10000"/>
              <a:gd name="connsiteX76" fmla="*/ 9993 w 10000"/>
              <a:gd name="connsiteY76" fmla="*/ 7901 h 10000"/>
              <a:gd name="connsiteX77" fmla="*/ 9987 w 10000"/>
              <a:gd name="connsiteY77" fmla="*/ 7697 h 10000"/>
              <a:gd name="connsiteX78" fmla="*/ 9967 w 10000"/>
              <a:gd name="connsiteY78" fmla="*/ 7489 h 10000"/>
              <a:gd name="connsiteX79" fmla="*/ 9948 w 10000"/>
              <a:gd name="connsiteY79" fmla="*/ 7286 h 10000"/>
              <a:gd name="connsiteX80" fmla="*/ 9915 w 10000"/>
              <a:gd name="connsiteY80" fmla="*/ 7077 h 10000"/>
              <a:gd name="connsiteX81" fmla="*/ 9882 w 10000"/>
              <a:gd name="connsiteY81" fmla="*/ 6880 h 10000"/>
              <a:gd name="connsiteX82" fmla="*/ 9843 w 10000"/>
              <a:gd name="connsiteY82" fmla="*/ 6677 h 10000"/>
              <a:gd name="connsiteX83" fmla="*/ 9796 w 10000"/>
              <a:gd name="connsiteY83" fmla="*/ 6479 h 10000"/>
              <a:gd name="connsiteX84" fmla="*/ 9744 w 10000"/>
              <a:gd name="connsiteY84" fmla="*/ 6281 h 10000"/>
              <a:gd name="connsiteX85" fmla="*/ 9685 w 10000"/>
              <a:gd name="connsiteY85" fmla="*/ 6089 h 10000"/>
              <a:gd name="connsiteX86" fmla="*/ 9620 w 10000"/>
              <a:gd name="connsiteY86" fmla="*/ 5891 h 10000"/>
              <a:gd name="connsiteX87" fmla="*/ 9555 w 10000"/>
              <a:gd name="connsiteY87" fmla="*/ 5698 h 10000"/>
              <a:gd name="connsiteX88" fmla="*/ 9475 w 10000"/>
              <a:gd name="connsiteY88" fmla="*/ 5511 h 10000"/>
              <a:gd name="connsiteX89" fmla="*/ 9396 w 10000"/>
              <a:gd name="connsiteY89" fmla="*/ 5324 h 10000"/>
              <a:gd name="connsiteX90" fmla="*/ 9304 w 10000"/>
              <a:gd name="connsiteY90" fmla="*/ 5137 h 10000"/>
              <a:gd name="connsiteX91" fmla="*/ 9213 w 10000"/>
              <a:gd name="connsiteY91" fmla="*/ 4957 h 10000"/>
              <a:gd name="connsiteX92" fmla="*/ 9121 w 10000"/>
              <a:gd name="connsiteY92" fmla="*/ 4775 h 10000"/>
              <a:gd name="connsiteX93" fmla="*/ 9016 w 10000"/>
              <a:gd name="connsiteY93" fmla="*/ 4598 h 10000"/>
              <a:gd name="connsiteX94" fmla="*/ 8911 w 10000"/>
              <a:gd name="connsiteY94" fmla="*/ 4422 h 10000"/>
              <a:gd name="connsiteX95" fmla="*/ 8800 w 10000"/>
              <a:gd name="connsiteY95" fmla="*/ 4246 h 10000"/>
              <a:gd name="connsiteX96" fmla="*/ 8682 w 10000"/>
              <a:gd name="connsiteY96" fmla="*/ 4075 h 10000"/>
              <a:gd name="connsiteX97" fmla="*/ 8557 w 10000"/>
              <a:gd name="connsiteY97" fmla="*/ 3909 h 10000"/>
              <a:gd name="connsiteX98" fmla="*/ 8432 w 10000"/>
              <a:gd name="connsiteY98" fmla="*/ 3743 h 10000"/>
              <a:gd name="connsiteX99" fmla="*/ 8300 w 10000"/>
              <a:gd name="connsiteY99" fmla="*/ 3578 h 10000"/>
              <a:gd name="connsiteX100" fmla="*/ 8162 w 10000"/>
              <a:gd name="connsiteY100" fmla="*/ 3417 h 10000"/>
              <a:gd name="connsiteX101" fmla="*/ 8018 w 10000"/>
              <a:gd name="connsiteY101" fmla="*/ 3262 h 10000"/>
              <a:gd name="connsiteX102" fmla="*/ 7873 w 10000"/>
              <a:gd name="connsiteY102" fmla="*/ 3107 h 10000"/>
              <a:gd name="connsiteX103" fmla="*/ 7723 w 10000"/>
              <a:gd name="connsiteY103" fmla="*/ 2952 h 10000"/>
              <a:gd name="connsiteX104" fmla="*/ 7573 w 10000"/>
              <a:gd name="connsiteY104" fmla="*/ 2808 h 10000"/>
              <a:gd name="connsiteX105" fmla="*/ 7407 w 10000"/>
              <a:gd name="connsiteY105" fmla="*/ 2664 h 10000"/>
              <a:gd name="connsiteX106" fmla="*/ 7250 w 10000"/>
              <a:gd name="connsiteY106" fmla="*/ 2519 h 10000"/>
              <a:gd name="connsiteX107" fmla="*/ 7080 w 10000"/>
              <a:gd name="connsiteY107" fmla="*/ 2375 h 10000"/>
              <a:gd name="connsiteX108" fmla="*/ 6910 w 10000"/>
              <a:gd name="connsiteY108" fmla="*/ 2241 h 10000"/>
              <a:gd name="connsiteX109" fmla="*/ 6740 w 10000"/>
              <a:gd name="connsiteY109" fmla="*/ 2108 h 10000"/>
              <a:gd name="connsiteX110" fmla="*/ 6556 w 10000"/>
              <a:gd name="connsiteY110" fmla="*/ 1980 h 10000"/>
              <a:gd name="connsiteX111" fmla="*/ 6372 w 10000"/>
              <a:gd name="connsiteY111" fmla="*/ 1857 h 10000"/>
              <a:gd name="connsiteX112" fmla="*/ 6188 w 10000"/>
              <a:gd name="connsiteY112" fmla="*/ 1734 h 10000"/>
              <a:gd name="connsiteX113" fmla="*/ 5998 w 10000"/>
              <a:gd name="connsiteY113" fmla="*/ 1617 h 10000"/>
              <a:gd name="connsiteX114" fmla="*/ 5801 w 10000"/>
              <a:gd name="connsiteY114" fmla="*/ 1500 h 10000"/>
              <a:gd name="connsiteX115" fmla="*/ 5605 w 10000"/>
              <a:gd name="connsiteY115" fmla="*/ 1387 h 10000"/>
              <a:gd name="connsiteX116" fmla="*/ 5407 w 10000"/>
              <a:gd name="connsiteY116" fmla="*/ 1280 h 10000"/>
              <a:gd name="connsiteX117" fmla="*/ 5204 w 10000"/>
              <a:gd name="connsiteY117" fmla="*/ 1179 h 10000"/>
              <a:gd name="connsiteX118" fmla="*/ 5001 w 10000"/>
              <a:gd name="connsiteY118" fmla="*/ 1077 h 10000"/>
              <a:gd name="connsiteX119" fmla="*/ 4783 w 10000"/>
              <a:gd name="connsiteY119" fmla="*/ 981 h 10000"/>
              <a:gd name="connsiteX120" fmla="*/ 4574 w 10000"/>
              <a:gd name="connsiteY120" fmla="*/ 890 h 10000"/>
              <a:gd name="connsiteX121" fmla="*/ 4356 w 10000"/>
              <a:gd name="connsiteY121" fmla="*/ 805 h 10000"/>
              <a:gd name="connsiteX122" fmla="*/ 4134 w 10000"/>
              <a:gd name="connsiteY122" fmla="*/ 719 h 10000"/>
              <a:gd name="connsiteX123" fmla="*/ 3917 w 10000"/>
              <a:gd name="connsiteY123" fmla="*/ 639 h 10000"/>
              <a:gd name="connsiteX124" fmla="*/ 3695 w 10000"/>
              <a:gd name="connsiteY124" fmla="*/ 570 h 10000"/>
              <a:gd name="connsiteX125" fmla="*/ 3464 w 10000"/>
              <a:gd name="connsiteY125" fmla="*/ 495 h 10000"/>
              <a:gd name="connsiteX126" fmla="*/ 3234 w 10000"/>
              <a:gd name="connsiteY126" fmla="*/ 431 h 10000"/>
              <a:gd name="connsiteX127" fmla="*/ 2999 w 10000"/>
              <a:gd name="connsiteY127" fmla="*/ 366 h 10000"/>
              <a:gd name="connsiteX128" fmla="*/ 2769 w 10000"/>
              <a:gd name="connsiteY128" fmla="*/ 313 h 10000"/>
              <a:gd name="connsiteX129" fmla="*/ 2528 w 10000"/>
              <a:gd name="connsiteY129" fmla="*/ 260 h 10000"/>
              <a:gd name="connsiteX130" fmla="*/ 2284 w 10000"/>
              <a:gd name="connsiteY130" fmla="*/ 211 h 10000"/>
              <a:gd name="connsiteX131" fmla="*/ 2047 w 10000"/>
              <a:gd name="connsiteY131" fmla="*/ 169 h 10000"/>
              <a:gd name="connsiteX132" fmla="*/ 1806 w 10000"/>
              <a:gd name="connsiteY132" fmla="*/ 131 h 10000"/>
              <a:gd name="connsiteX133" fmla="*/ 1555 w 10000"/>
              <a:gd name="connsiteY133" fmla="*/ 94 h 10000"/>
              <a:gd name="connsiteX134" fmla="*/ 1305 w 10000"/>
              <a:gd name="connsiteY134" fmla="*/ 67 h 10000"/>
              <a:gd name="connsiteX135" fmla="*/ 1057 w 10000"/>
              <a:gd name="connsiteY135" fmla="*/ 46 h 10000"/>
              <a:gd name="connsiteX136" fmla="*/ 807 w 10000"/>
              <a:gd name="connsiteY136" fmla="*/ 30 h 10000"/>
              <a:gd name="connsiteX137" fmla="*/ 551 w 10000"/>
              <a:gd name="connsiteY137" fmla="*/ 14 h 10000"/>
              <a:gd name="connsiteX138" fmla="*/ 295 w 10000"/>
              <a:gd name="connsiteY138" fmla="*/ 8 h 10000"/>
              <a:gd name="connsiteX139" fmla="*/ 39 w 10000"/>
              <a:gd name="connsiteY139" fmla="*/ 3 h 10000"/>
              <a:gd name="connsiteX140" fmla="*/ 0 w 10000"/>
              <a:gd name="connsiteY140" fmla="*/ 0 h 10000"/>
              <a:gd name="connsiteX141" fmla="*/ 1210 w 10000"/>
              <a:gd name="connsiteY141" fmla="*/ 2445 h 10000"/>
              <a:gd name="connsiteX142" fmla="*/ 7 w 10000"/>
              <a:gd name="connsiteY142"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32 w 10000"/>
              <a:gd name="connsiteY64" fmla="*/ 7983 h 10000"/>
              <a:gd name="connsiteX65" fmla="*/ 6726 w 10000"/>
              <a:gd name="connsiteY65" fmla="*/ 10000 h 10000"/>
              <a:gd name="connsiteX66" fmla="*/ 9850 w 10000"/>
              <a:gd name="connsiteY66" fmla="*/ 9498 h 10000"/>
              <a:gd name="connsiteX67" fmla="*/ 9889 w 10000"/>
              <a:gd name="connsiteY67" fmla="*/ 9332 h 10000"/>
              <a:gd name="connsiteX68" fmla="*/ 9915 w 10000"/>
              <a:gd name="connsiteY68" fmla="*/ 9161 h 10000"/>
              <a:gd name="connsiteX69" fmla="*/ 9941 w 10000"/>
              <a:gd name="connsiteY69" fmla="*/ 8990 h 10000"/>
              <a:gd name="connsiteX70" fmla="*/ 9961 w 10000"/>
              <a:gd name="connsiteY70" fmla="*/ 8813 h 10000"/>
              <a:gd name="connsiteX71" fmla="*/ 9974 w 10000"/>
              <a:gd name="connsiteY71" fmla="*/ 8637 h 10000"/>
              <a:gd name="connsiteX72" fmla="*/ 9987 w 10000"/>
              <a:gd name="connsiteY72" fmla="*/ 8466 h 10000"/>
              <a:gd name="connsiteX73" fmla="*/ 9993 w 10000"/>
              <a:gd name="connsiteY73" fmla="*/ 8291 h 10000"/>
              <a:gd name="connsiteX74" fmla="*/ 10000 w 10000"/>
              <a:gd name="connsiteY74" fmla="*/ 8114 h 10000"/>
              <a:gd name="connsiteX75" fmla="*/ 9993 w 10000"/>
              <a:gd name="connsiteY75" fmla="*/ 7901 h 10000"/>
              <a:gd name="connsiteX76" fmla="*/ 9987 w 10000"/>
              <a:gd name="connsiteY76" fmla="*/ 7697 h 10000"/>
              <a:gd name="connsiteX77" fmla="*/ 9967 w 10000"/>
              <a:gd name="connsiteY77" fmla="*/ 7489 h 10000"/>
              <a:gd name="connsiteX78" fmla="*/ 9948 w 10000"/>
              <a:gd name="connsiteY78" fmla="*/ 7286 h 10000"/>
              <a:gd name="connsiteX79" fmla="*/ 9915 w 10000"/>
              <a:gd name="connsiteY79" fmla="*/ 7077 h 10000"/>
              <a:gd name="connsiteX80" fmla="*/ 9882 w 10000"/>
              <a:gd name="connsiteY80" fmla="*/ 6880 h 10000"/>
              <a:gd name="connsiteX81" fmla="*/ 9843 w 10000"/>
              <a:gd name="connsiteY81" fmla="*/ 6677 h 10000"/>
              <a:gd name="connsiteX82" fmla="*/ 9796 w 10000"/>
              <a:gd name="connsiteY82" fmla="*/ 6479 h 10000"/>
              <a:gd name="connsiteX83" fmla="*/ 9744 w 10000"/>
              <a:gd name="connsiteY83" fmla="*/ 6281 h 10000"/>
              <a:gd name="connsiteX84" fmla="*/ 9685 w 10000"/>
              <a:gd name="connsiteY84" fmla="*/ 6089 h 10000"/>
              <a:gd name="connsiteX85" fmla="*/ 9620 w 10000"/>
              <a:gd name="connsiteY85" fmla="*/ 5891 h 10000"/>
              <a:gd name="connsiteX86" fmla="*/ 9555 w 10000"/>
              <a:gd name="connsiteY86" fmla="*/ 5698 h 10000"/>
              <a:gd name="connsiteX87" fmla="*/ 9475 w 10000"/>
              <a:gd name="connsiteY87" fmla="*/ 5511 h 10000"/>
              <a:gd name="connsiteX88" fmla="*/ 9396 w 10000"/>
              <a:gd name="connsiteY88" fmla="*/ 5324 h 10000"/>
              <a:gd name="connsiteX89" fmla="*/ 9304 w 10000"/>
              <a:gd name="connsiteY89" fmla="*/ 5137 h 10000"/>
              <a:gd name="connsiteX90" fmla="*/ 9213 w 10000"/>
              <a:gd name="connsiteY90" fmla="*/ 4957 h 10000"/>
              <a:gd name="connsiteX91" fmla="*/ 9121 w 10000"/>
              <a:gd name="connsiteY91" fmla="*/ 4775 h 10000"/>
              <a:gd name="connsiteX92" fmla="*/ 9016 w 10000"/>
              <a:gd name="connsiteY92" fmla="*/ 4598 h 10000"/>
              <a:gd name="connsiteX93" fmla="*/ 8911 w 10000"/>
              <a:gd name="connsiteY93" fmla="*/ 4422 h 10000"/>
              <a:gd name="connsiteX94" fmla="*/ 8800 w 10000"/>
              <a:gd name="connsiteY94" fmla="*/ 4246 h 10000"/>
              <a:gd name="connsiteX95" fmla="*/ 8682 w 10000"/>
              <a:gd name="connsiteY95" fmla="*/ 4075 h 10000"/>
              <a:gd name="connsiteX96" fmla="*/ 8557 w 10000"/>
              <a:gd name="connsiteY96" fmla="*/ 3909 h 10000"/>
              <a:gd name="connsiteX97" fmla="*/ 8432 w 10000"/>
              <a:gd name="connsiteY97" fmla="*/ 3743 h 10000"/>
              <a:gd name="connsiteX98" fmla="*/ 8300 w 10000"/>
              <a:gd name="connsiteY98" fmla="*/ 3578 h 10000"/>
              <a:gd name="connsiteX99" fmla="*/ 8162 w 10000"/>
              <a:gd name="connsiteY99" fmla="*/ 3417 h 10000"/>
              <a:gd name="connsiteX100" fmla="*/ 8018 w 10000"/>
              <a:gd name="connsiteY100" fmla="*/ 3262 h 10000"/>
              <a:gd name="connsiteX101" fmla="*/ 7873 w 10000"/>
              <a:gd name="connsiteY101" fmla="*/ 3107 h 10000"/>
              <a:gd name="connsiteX102" fmla="*/ 7723 w 10000"/>
              <a:gd name="connsiteY102" fmla="*/ 2952 h 10000"/>
              <a:gd name="connsiteX103" fmla="*/ 7573 w 10000"/>
              <a:gd name="connsiteY103" fmla="*/ 2808 h 10000"/>
              <a:gd name="connsiteX104" fmla="*/ 7407 w 10000"/>
              <a:gd name="connsiteY104" fmla="*/ 2664 h 10000"/>
              <a:gd name="connsiteX105" fmla="*/ 7250 w 10000"/>
              <a:gd name="connsiteY105" fmla="*/ 2519 h 10000"/>
              <a:gd name="connsiteX106" fmla="*/ 7080 w 10000"/>
              <a:gd name="connsiteY106" fmla="*/ 2375 h 10000"/>
              <a:gd name="connsiteX107" fmla="*/ 6910 w 10000"/>
              <a:gd name="connsiteY107" fmla="*/ 2241 h 10000"/>
              <a:gd name="connsiteX108" fmla="*/ 6740 w 10000"/>
              <a:gd name="connsiteY108" fmla="*/ 2108 h 10000"/>
              <a:gd name="connsiteX109" fmla="*/ 6556 w 10000"/>
              <a:gd name="connsiteY109" fmla="*/ 1980 h 10000"/>
              <a:gd name="connsiteX110" fmla="*/ 6372 w 10000"/>
              <a:gd name="connsiteY110" fmla="*/ 1857 h 10000"/>
              <a:gd name="connsiteX111" fmla="*/ 6188 w 10000"/>
              <a:gd name="connsiteY111" fmla="*/ 1734 h 10000"/>
              <a:gd name="connsiteX112" fmla="*/ 5998 w 10000"/>
              <a:gd name="connsiteY112" fmla="*/ 1617 h 10000"/>
              <a:gd name="connsiteX113" fmla="*/ 5801 w 10000"/>
              <a:gd name="connsiteY113" fmla="*/ 1500 h 10000"/>
              <a:gd name="connsiteX114" fmla="*/ 5605 w 10000"/>
              <a:gd name="connsiteY114" fmla="*/ 1387 h 10000"/>
              <a:gd name="connsiteX115" fmla="*/ 5407 w 10000"/>
              <a:gd name="connsiteY115" fmla="*/ 1280 h 10000"/>
              <a:gd name="connsiteX116" fmla="*/ 5204 w 10000"/>
              <a:gd name="connsiteY116" fmla="*/ 1179 h 10000"/>
              <a:gd name="connsiteX117" fmla="*/ 5001 w 10000"/>
              <a:gd name="connsiteY117" fmla="*/ 1077 h 10000"/>
              <a:gd name="connsiteX118" fmla="*/ 4783 w 10000"/>
              <a:gd name="connsiteY118" fmla="*/ 981 h 10000"/>
              <a:gd name="connsiteX119" fmla="*/ 4574 w 10000"/>
              <a:gd name="connsiteY119" fmla="*/ 890 h 10000"/>
              <a:gd name="connsiteX120" fmla="*/ 4356 w 10000"/>
              <a:gd name="connsiteY120" fmla="*/ 805 h 10000"/>
              <a:gd name="connsiteX121" fmla="*/ 4134 w 10000"/>
              <a:gd name="connsiteY121" fmla="*/ 719 h 10000"/>
              <a:gd name="connsiteX122" fmla="*/ 3917 w 10000"/>
              <a:gd name="connsiteY122" fmla="*/ 639 h 10000"/>
              <a:gd name="connsiteX123" fmla="*/ 3695 w 10000"/>
              <a:gd name="connsiteY123" fmla="*/ 570 h 10000"/>
              <a:gd name="connsiteX124" fmla="*/ 3464 w 10000"/>
              <a:gd name="connsiteY124" fmla="*/ 495 h 10000"/>
              <a:gd name="connsiteX125" fmla="*/ 3234 w 10000"/>
              <a:gd name="connsiteY125" fmla="*/ 431 h 10000"/>
              <a:gd name="connsiteX126" fmla="*/ 2999 w 10000"/>
              <a:gd name="connsiteY126" fmla="*/ 366 h 10000"/>
              <a:gd name="connsiteX127" fmla="*/ 2769 w 10000"/>
              <a:gd name="connsiteY127" fmla="*/ 313 h 10000"/>
              <a:gd name="connsiteX128" fmla="*/ 2528 w 10000"/>
              <a:gd name="connsiteY128" fmla="*/ 260 h 10000"/>
              <a:gd name="connsiteX129" fmla="*/ 2284 w 10000"/>
              <a:gd name="connsiteY129" fmla="*/ 211 h 10000"/>
              <a:gd name="connsiteX130" fmla="*/ 2047 w 10000"/>
              <a:gd name="connsiteY130" fmla="*/ 169 h 10000"/>
              <a:gd name="connsiteX131" fmla="*/ 1806 w 10000"/>
              <a:gd name="connsiteY131" fmla="*/ 131 h 10000"/>
              <a:gd name="connsiteX132" fmla="*/ 1555 w 10000"/>
              <a:gd name="connsiteY132" fmla="*/ 94 h 10000"/>
              <a:gd name="connsiteX133" fmla="*/ 1305 w 10000"/>
              <a:gd name="connsiteY133" fmla="*/ 67 h 10000"/>
              <a:gd name="connsiteX134" fmla="*/ 1057 w 10000"/>
              <a:gd name="connsiteY134" fmla="*/ 46 h 10000"/>
              <a:gd name="connsiteX135" fmla="*/ 807 w 10000"/>
              <a:gd name="connsiteY135" fmla="*/ 30 h 10000"/>
              <a:gd name="connsiteX136" fmla="*/ 551 w 10000"/>
              <a:gd name="connsiteY136" fmla="*/ 14 h 10000"/>
              <a:gd name="connsiteX137" fmla="*/ 295 w 10000"/>
              <a:gd name="connsiteY137" fmla="*/ 8 h 10000"/>
              <a:gd name="connsiteX138" fmla="*/ 39 w 10000"/>
              <a:gd name="connsiteY138" fmla="*/ 3 h 10000"/>
              <a:gd name="connsiteX139" fmla="*/ 0 w 10000"/>
              <a:gd name="connsiteY139" fmla="*/ 0 h 10000"/>
              <a:gd name="connsiteX140" fmla="*/ 1210 w 10000"/>
              <a:gd name="connsiteY140" fmla="*/ 2445 h 10000"/>
              <a:gd name="connsiteX141" fmla="*/ 7 w 10000"/>
              <a:gd name="connsiteY141"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6726 w 10000"/>
              <a:gd name="connsiteY64" fmla="*/ 10000 h 10000"/>
              <a:gd name="connsiteX65" fmla="*/ 9850 w 10000"/>
              <a:gd name="connsiteY65" fmla="*/ 9498 h 10000"/>
              <a:gd name="connsiteX66" fmla="*/ 9889 w 10000"/>
              <a:gd name="connsiteY66" fmla="*/ 9332 h 10000"/>
              <a:gd name="connsiteX67" fmla="*/ 9915 w 10000"/>
              <a:gd name="connsiteY67" fmla="*/ 9161 h 10000"/>
              <a:gd name="connsiteX68" fmla="*/ 9941 w 10000"/>
              <a:gd name="connsiteY68" fmla="*/ 8990 h 10000"/>
              <a:gd name="connsiteX69" fmla="*/ 9961 w 10000"/>
              <a:gd name="connsiteY69" fmla="*/ 8813 h 10000"/>
              <a:gd name="connsiteX70" fmla="*/ 9974 w 10000"/>
              <a:gd name="connsiteY70" fmla="*/ 8637 h 10000"/>
              <a:gd name="connsiteX71" fmla="*/ 9987 w 10000"/>
              <a:gd name="connsiteY71" fmla="*/ 8466 h 10000"/>
              <a:gd name="connsiteX72" fmla="*/ 9993 w 10000"/>
              <a:gd name="connsiteY72" fmla="*/ 8291 h 10000"/>
              <a:gd name="connsiteX73" fmla="*/ 10000 w 10000"/>
              <a:gd name="connsiteY73" fmla="*/ 8114 h 10000"/>
              <a:gd name="connsiteX74" fmla="*/ 9993 w 10000"/>
              <a:gd name="connsiteY74" fmla="*/ 7901 h 10000"/>
              <a:gd name="connsiteX75" fmla="*/ 9987 w 10000"/>
              <a:gd name="connsiteY75" fmla="*/ 7697 h 10000"/>
              <a:gd name="connsiteX76" fmla="*/ 9967 w 10000"/>
              <a:gd name="connsiteY76" fmla="*/ 7489 h 10000"/>
              <a:gd name="connsiteX77" fmla="*/ 9948 w 10000"/>
              <a:gd name="connsiteY77" fmla="*/ 7286 h 10000"/>
              <a:gd name="connsiteX78" fmla="*/ 9915 w 10000"/>
              <a:gd name="connsiteY78" fmla="*/ 7077 h 10000"/>
              <a:gd name="connsiteX79" fmla="*/ 9882 w 10000"/>
              <a:gd name="connsiteY79" fmla="*/ 6880 h 10000"/>
              <a:gd name="connsiteX80" fmla="*/ 9843 w 10000"/>
              <a:gd name="connsiteY80" fmla="*/ 6677 h 10000"/>
              <a:gd name="connsiteX81" fmla="*/ 9796 w 10000"/>
              <a:gd name="connsiteY81" fmla="*/ 6479 h 10000"/>
              <a:gd name="connsiteX82" fmla="*/ 9744 w 10000"/>
              <a:gd name="connsiteY82" fmla="*/ 6281 h 10000"/>
              <a:gd name="connsiteX83" fmla="*/ 9685 w 10000"/>
              <a:gd name="connsiteY83" fmla="*/ 6089 h 10000"/>
              <a:gd name="connsiteX84" fmla="*/ 9620 w 10000"/>
              <a:gd name="connsiteY84" fmla="*/ 5891 h 10000"/>
              <a:gd name="connsiteX85" fmla="*/ 9555 w 10000"/>
              <a:gd name="connsiteY85" fmla="*/ 5698 h 10000"/>
              <a:gd name="connsiteX86" fmla="*/ 9475 w 10000"/>
              <a:gd name="connsiteY86" fmla="*/ 5511 h 10000"/>
              <a:gd name="connsiteX87" fmla="*/ 9396 w 10000"/>
              <a:gd name="connsiteY87" fmla="*/ 5324 h 10000"/>
              <a:gd name="connsiteX88" fmla="*/ 9304 w 10000"/>
              <a:gd name="connsiteY88" fmla="*/ 5137 h 10000"/>
              <a:gd name="connsiteX89" fmla="*/ 9213 w 10000"/>
              <a:gd name="connsiteY89" fmla="*/ 4957 h 10000"/>
              <a:gd name="connsiteX90" fmla="*/ 9121 w 10000"/>
              <a:gd name="connsiteY90" fmla="*/ 4775 h 10000"/>
              <a:gd name="connsiteX91" fmla="*/ 9016 w 10000"/>
              <a:gd name="connsiteY91" fmla="*/ 4598 h 10000"/>
              <a:gd name="connsiteX92" fmla="*/ 8911 w 10000"/>
              <a:gd name="connsiteY92" fmla="*/ 4422 h 10000"/>
              <a:gd name="connsiteX93" fmla="*/ 8800 w 10000"/>
              <a:gd name="connsiteY93" fmla="*/ 4246 h 10000"/>
              <a:gd name="connsiteX94" fmla="*/ 8682 w 10000"/>
              <a:gd name="connsiteY94" fmla="*/ 4075 h 10000"/>
              <a:gd name="connsiteX95" fmla="*/ 8557 w 10000"/>
              <a:gd name="connsiteY95" fmla="*/ 3909 h 10000"/>
              <a:gd name="connsiteX96" fmla="*/ 8432 w 10000"/>
              <a:gd name="connsiteY96" fmla="*/ 3743 h 10000"/>
              <a:gd name="connsiteX97" fmla="*/ 8300 w 10000"/>
              <a:gd name="connsiteY97" fmla="*/ 3578 h 10000"/>
              <a:gd name="connsiteX98" fmla="*/ 8162 w 10000"/>
              <a:gd name="connsiteY98" fmla="*/ 3417 h 10000"/>
              <a:gd name="connsiteX99" fmla="*/ 8018 w 10000"/>
              <a:gd name="connsiteY99" fmla="*/ 3262 h 10000"/>
              <a:gd name="connsiteX100" fmla="*/ 7873 w 10000"/>
              <a:gd name="connsiteY100" fmla="*/ 3107 h 10000"/>
              <a:gd name="connsiteX101" fmla="*/ 7723 w 10000"/>
              <a:gd name="connsiteY101" fmla="*/ 2952 h 10000"/>
              <a:gd name="connsiteX102" fmla="*/ 7573 w 10000"/>
              <a:gd name="connsiteY102" fmla="*/ 2808 h 10000"/>
              <a:gd name="connsiteX103" fmla="*/ 7407 w 10000"/>
              <a:gd name="connsiteY103" fmla="*/ 2664 h 10000"/>
              <a:gd name="connsiteX104" fmla="*/ 7250 w 10000"/>
              <a:gd name="connsiteY104" fmla="*/ 2519 h 10000"/>
              <a:gd name="connsiteX105" fmla="*/ 7080 w 10000"/>
              <a:gd name="connsiteY105" fmla="*/ 2375 h 10000"/>
              <a:gd name="connsiteX106" fmla="*/ 6910 w 10000"/>
              <a:gd name="connsiteY106" fmla="*/ 2241 h 10000"/>
              <a:gd name="connsiteX107" fmla="*/ 6740 w 10000"/>
              <a:gd name="connsiteY107" fmla="*/ 2108 h 10000"/>
              <a:gd name="connsiteX108" fmla="*/ 6556 w 10000"/>
              <a:gd name="connsiteY108" fmla="*/ 1980 h 10000"/>
              <a:gd name="connsiteX109" fmla="*/ 6372 w 10000"/>
              <a:gd name="connsiteY109" fmla="*/ 1857 h 10000"/>
              <a:gd name="connsiteX110" fmla="*/ 6188 w 10000"/>
              <a:gd name="connsiteY110" fmla="*/ 1734 h 10000"/>
              <a:gd name="connsiteX111" fmla="*/ 5998 w 10000"/>
              <a:gd name="connsiteY111" fmla="*/ 1617 h 10000"/>
              <a:gd name="connsiteX112" fmla="*/ 5801 w 10000"/>
              <a:gd name="connsiteY112" fmla="*/ 1500 h 10000"/>
              <a:gd name="connsiteX113" fmla="*/ 5605 w 10000"/>
              <a:gd name="connsiteY113" fmla="*/ 1387 h 10000"/>
              <a:gd name="connsiteX114" fmla="*/ 5407 w 10000"/>
              <a:gd name="connsiteY114" fmla="*/ 1280 h 10000"/>
              <a:gd name="connsiteX115" fmla="*/ 5204 w 10000"/>
              <a:gd name="connsiteY115" fmla="*/ 1179 h 10000"/>
              <a:gd name="connsiteX116" fmla="*/ 5001 w 10000"/>
              <a:gd name="connsiteY116" fmla="*/ 1077 h 10000"/>
              <a:gd name="connsiteX117" fmla="*/ 4783 w 10000"/>
              <a:gd name="connsiteY117" fmla="*/ 981 h 10000"/>
              <a:gd name="connsiteX118" fmla="*/ 4574 w 10000"/>
              <a:gd name="connsiteY118" fmla="*/ 890 h 10000"/>
              <a:gd name="connsiteX119" fmla="*/ 4356 w 10000"/>
              <a:gd name="connsiteY119" fmla="*/ 805 h 10000"/>
              <a:gd name="connsiteX120" fmla="*/ 4134 w 10000"/>
              <a:gd name="connsiteY120" fmla="*/ 719 h 10000"/>
              <a:gd name="connsiteX121" fmla="*/ 3917 w 10000"/>
              <a:gd name="connsiteY121" fmla="*/ 639 h 10000"/>
              <a:gd name="connsiteX122" fmla="*/ 3695 w 10000"/>
              <a:gd name="connsiteY122" fmla="*/ 570 h 10000"/>
              <a:gd name="connsiteX123" fmla="*/ 3464 w 10000"/>
              <a:gd name="connsiteY123" fmla="*/ 495 h 10000"/>
              <a:gd name="connsiteX124" fmla="*/ 3234 w 10000"/>
              <a:gd name="connsiteY124" fmla="*/ 431 h 10000"/>
              <a:gd name="connsiteX125" fmla="*/ 2999 w 10000"/>
              <a:gd name="connsiteY125" fmla="*/ 366 h 10000"/>
              <a:gd name="connsiteX126" fmla="*/ 2769 w 10000"/>
              <a:gd name="connsiteY126" fmla="*/ 313 h 10000"/>
              <a:gd name="connsiteX127" fmla="*/ 2528 w 10000"/>
              <a:gd name="connsiteY127" fmla="*/ 260 h 10000"/>
              <a:gd name="connsiteX128" fmla="*/ 2284 w 10000"/>
              <a:gd name="connsiteY128" fmla="*/ 211 h 10000"/>
              <a:gd name="connsiteX129" fmla="*/ 2047 w 10000"/>
              <a:gd name="connsiteY129" fmla="*/ 169 h 10000"/>
              <a:gd name="connsiteX130" fmla="*/ 1806 w 10000"/>
              <a:gd name="connsiteY130" fmla="*/ 131 h 10000"/>
              <a:gd name="connsiteX131" fmla="*/ 1555 w 10000"/>
              <a:gd name="connsiteY131" fmla="*/ 94 h 10000"/>
              <a:gd name="connsiteX132" fmla="*/ 1305 w 10000"/>
              <a:gd name="connsiteY132" fmla="*/ 67 h 10000"/>
              <a:gd name="connsiteX133" fmla="*/ 1057 w 10000"/>
              <a:gd name="connsiteY133" fmla="*/ 46 h 10000"/>
              <a:gd name="connsiteX134" fmla="*/ 807 w 10000"/>
              <a:gd name="connsiteY134" fmla="*/ 30 h 10000"/>
              <a:gd name="connsiteX135" fmla="*/ 551 w 10000"/>
              <a:gd name="connsiteY135" fmla="*/ 14 h 10000"/>
              <a:gd name="connsiteX136" fmla="*/ 295 w 10000"/>
              <a:gd name="connsiteY136" fmla="*/ 8 h 10000"/>
              <a:gd name="connsiteX137" fmla="*/ 39 w 10000"/>
              <a:gd name="connsiteY137" fmla="*/ 3 h 10000"/>
              <a:gd name="connsiteX138" fmla="*/ 0 w 10000"/>
              <a:gd name="connsiteY138" fmla="*/ 0 h 10000"/>
              <a:gd name="connsiteX139" fmla="*/ 1210 w 10000"/>
              <a:gd name="connsiteY139" fmla="*/ 2445 h 10000"/>
              <a:gd name="connsiteX140" fmla="*/ 7 w 10000"/>
              <a:gd name="connsiteY140"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6726 w 10000"/>
              <a:gd name="connsiteY63" fmla="*/ 10000 h 10000"/>
              <a:gd name="connsiteX64" fmla="*/ 9850 w 10000"/>
              <a:gd name="connsiteY64" fmla="*/ 9498 h 10000"/>
              <a:gd name="connsiteX65" fmla="*/ 9889 w 10000"/>
              <a:gd name="connsiteY65" fmla="*/ 9332 h 10000"/>
              <a:gd name="connsiteX66" fmla="*/ 9915 w 10000"/>
              <a:gd name="connsiteY66" fmla="*/ 9161 h 10000"/>
              <a:gd name="connsiteX67" fmla="*/ 9941 w 10000"/>
              <a:gd name="connsiteY67" fmla="*/ 8990 h 10000"/>
              <a:gd name="connsiteX68" fmla="*/ 9961 w 10000"/>
              <a:gd name="connsiteY68" fmla="*/ 8813 h 10000"/>
              <a:gd name="connsiteX69" fmla="*/ 9974 w 10000"/>
              <a:gd name="connsiteY69" fmla="*/ 8637 h 10000"/>
              <a:gd name="connsiteX70" fmla="*/ 9987 w 10000"/>
              <a:gd name="connsiteY70" fmla="*/ 8466 h 10000"/>
              <a:gd name="connsiteX71" fmla="*/ 9993 w 10000"/>
              <a:gd name="connsiteY71" fmla="*/ 8291 h 10000"/>
              <a:gd name="connsiteX72" fmla="*/ 10000 w 10000"/>
              <a:gd name="connsiteY72" fmla="*/ 8114 h 10000"/>
              <a:gd name="connsiteX73" fmla="*/ 9993 w 10000"/>
              <a:gd name="connsiteY73" fmla="*/ 7901 h 10000"/>
              <a:gd name="connsiteX74" fmla="*/ 9987 w 10000"/>
              <a:gd name="connsiteY74" fmla="*/ 7697 h 10000"/>
              <a:gd name="connsiteX75" fmla="*/ 9967 w 10000"/>
              <a:gd name="connsiteY75" fmla="*/ 7489 h 10000"/>
              <a:gd name="connsiteX76" fmla="*/ 9948 w 10000"/>
              <a:gd name="connsiteY76" fmla="*/ 7286 h 10000"/>
              <a:gd name="connsiteX77" fmla="*/ 9915 w 10000"/>
              <a:gd name="connsiteY77" fmla="*/ 7077 h 10000"/>
              <a:gd name="connsiteX78" fmla="*/ 9882 w 10000"/>
              <a:gd name="connsiteY78" fmla="*/ 6880 h 10000"/>
              <a:gd name="connsiteX79" fmla="*/ 9843 w 10000"/>
              <a:gd name="connsiteY79" fmla="*/ 6677 h 10000"/>
              <a:gd name="connsiteX80" fmla="*/ 9796 w 10000"/>
              <a:gd name="connsiteY80" fmla="*/ 6479 h 10000"/>
              <a:gd name="connsiteX81" fmla="*/ 9744 w 10000"/>
              <a:gd name="connsiteY81" fmla="*/ 6281 h 10000"/>
              <a:gd name="connsiteX82" fmla="*/ 9685 w 10000"/>
              <a:gd name="connsiteY82" fmla="*/ 6089 h 10000"/>
              <a:gd name="connsiteX83" fmla="*/ 9620 w 10000"/>
              <a:gd name="connsiteY83" fmla="*/ 5891 h 10000"/>
              <a:gd name="connsiteX84" fmla="*/ 9555 w 10000"/>
              <a:gd name="connsiteY84" fmla="*/ 5698 h 10000"/>
              <a:gd name="connsiteX85" fmla="*/ 9475 w 10000"/>
              <a:gd name="connsiteY85" fmla="*/ 5511 h 10000"/>
              <a:gd name="connsiteX86" fmla="*/ 9396 w 10000"/>
              <a:gd name="connsiteY86" fmla="*/ 5324 h 10000"/>
              <a:gd name="connsiteX87" fmla="*/ 9304 w 10000"/>
              <a:gd name="connsiteY87" fmla="*/ 5137 h 10000"/>
              <a:gd name="connsiteX88" fmla="*/ 9213 w 10000"/>
              <a:gd name="connsiteY88" fmla="*/ 4957 h 10000"/>
              <a:gd name="connsiteX89" fmla="*/ 9121 w 10000"/>
              <a:gd name="connsiteY89" fmla="*/ 4775 h 10000"/>
              <a:gd name="connsiteX90" fmla="*/ 9016 w 10000"/>
              <a:gd name="connsiteY90" fmla="*/ 4598 h 10000"/>
              <a:gd name="connsiteX91" fmla="*/ 8911 w 10000"/>
              <a:gd name="connsiteY91" fmla="*/ 4422 h 10000"/>
              <a:gd name="connsiteX92" fmla="*/ 8800 w 10000"/>
              <a:gd name="connsiteY92" fmla="*/ 4246 h 10000"/>
              <a:gd name="connsiteX93" fmla="*/ 8682 w 10000"/>
              <a:gd name="connsiteY93" fmla="*/ 4075 h 10000"/>
              <a:gd name="connsiteX94" fmla="*/ 8557 w 10000"/>
              <a:gd name="connsiteY94" fmla="*/ 3909 h 10000"/>
              <a:gd name="connsiteX95" fmla="*/ 8432 w 10000"/>
              <a:gd name="connsiteY95" fmla="*/ 3743 h 10000"/>
              <a:gd name="connsiteX96" fmla="*/ 8300 w 10000"/>
              <a:gd name="connsiteY96" fmla="*/ 3578 h 10000"/>
              <a:gd name="connsiteX97" fmla="*/ 8162 w 10000"/>
              <a:gd name="connsiteY97" fmla="*/ 3417 h 10000"/>
              <a:gd name="connsiteX98" fmla="*/ 8018 w 10000"/>
              <a:gd name="connsiteY98" fmla="*/ 3262 h 10000"/>
              <a:gd name="connsiteX99" fmla="*/ 7873 w 10000"/>
              <a:gd name="connsiteY99" fmla="*/ 3107 h 10000"/>
              <a:gd name="connsiteX100" fmla="*/ 7723 w 10000"/>
              <a:gd name="connsiteY100" fmla="*/ 2952 h 10000"/>
              <a:gd name="connsiteX101" fmla="*/ 7573 w 10000"/>
              <a:gd name="connsiteY101" fmla="*/ 2808 h 10000"/>
              <a:gd name="connsiteX102" fmla="*/ 7407 w 10000"/>
              <a:gd name="connsiteY102" fmla="*/ 2664 h 10000"/>
              <a:gd name="connsiteX103" fmla="*/ 7250 w 10000"/>
              <a:gd name="connsiteY103" fmla="*/ 2519 h 10000"/>
              <a:gd name="connsiteX104" fmla="*/ 7080 w 10000"/>
              <a:gd name="connsiteY104" fmla="*/ 2375 h 10000"/>
              <a:gd name="connsiteX105" fmla="*/ 6910 w 10000"/>
              <a:gd name="connsiteY105" fmla="*/ 2241 h 10000"/>
              <a:gd name="connsiteX106" fmla="*/ 6740 w 10000"/>
              <a:gd name="connsiteY106" fmla="*/ 2108 h 10000"/>
              <a:gd name="connsiteX107" fmla="*/ 6556 w 10000"/>
              <a:gd name="connsiteY107" fmla="*/ 1980 h 10000"/>
              <a:gd name="connsiteX108" fmla="*/ 6372 w 10000"/>
              <a:gd name="connsiteY108" fmla="*/ 1857 h 10000"/>
              <a:gd name="connsiteX109" fmla="*/ 6188 w 10000"/>
              <a:gd name="connsiteY109" fmla="*/ 1734 h 10000"/>
              <a:gd name="connsiteX110" fmla="*/ 5998 w 10000"/>
              <a:gd name="connsiteY110" fmla="*/ 1617 h 10000"/>
              <a:gd name="connsiteX111" fmla="*/ 5801 w 10000"/>
              <a:gd name="connsiteY111" fmla="*/ 1500 h 10000"/>
              <a:gd name="connsiteX112" fmla="*/ 5605 w 10000"/>
              <a:gd name="connsiteY112" fmla="*/ 1387 h 10000"/>
              <a:gd name="connsiteX113" fmla="*/ 5407 w 10000"/>
              <a:gd name="connsiteY113" fmla="*/ 1280 h 10000"/>
              <a:gd name="connsiteX114" fmla="*/ 5204 w 10000"/>
              <a:gd name="connsiteY114" fmla="*/ 1179 h 10000"/>
              <a:gd name="connsiteX115" fmla="*/ 5001 w 10000"/>
              <a:gd name="connsiteY115" fmla="*/ 1077 h 10000"/>
              <a:gd name="connsiteX116" fmla="*/ 4783 w 10000"/>
              <a:gd name="connsiteY116" fmla="*/ 981 h 10000"/>
              <a:gd name="connsiteX117" fmla="*/ 4574 w 10000"/>
              <a:gd name="connsiteY117" fmla="*/ 890 h 10000"/>
              <a:gd name="connsiteX118" fmla="*/ 4356 w 10000"/>
              <a:gd name="connsiteY118" fmla="*/ 805 h 10000"/>
              <a:gd name="connsiteX119" fmla="*/ 4134 w 10000"/>
              <a:gd name="connsiteY119" fmla="*/ 719 h 10000"/>
              <a:gd name="connsiteX120" fmla="*/ 3917 w 10000"/>
              <a:gd name="connsiteY120" fmla="*/ 639 h 10000"/>
              <a:gd name="connsiteX121" fmla="*/ 3695 w 10000"/>
              <a:gd name="connsiteY121" fmla="*/ 570 h 10000"/>
              <a:gd name="connsiteX122" fmla="*/ 3464 w 10000"/>
              <a:gd name="connsiteY122" fmla="*/ 495 h 10000"/>
              <a:gd name="connsiteX123" fmla="*/ 3234 w 10000"/>
              <a:gd name="connsiteY123" fmla="*/ 431 h 10000"/>
              <a:gd name="connsiteX124" fmla="*/ 2999 w 10000"/>
              <a:gd name="connsiteY124" fmla="*/ 366 h 10000"/>
              <a:gd name="connsiteX125" fmla="*/ 2769 w 10000"/>
              <a:gd name="connsiteY125" fmla="*/ 313 h 10000"/>
              <a:gd name="connsiteX126" fmla="*/ 2528 w 10000"/>
              <a:gd name="connsiteY126" fmla="*/ 260 h 10000"/>
              <a:gd name="connsiteX127" fmla="*/ 2284 w 10000"/>
              <a:gd name="connsiteY127" fmla="*/ 211 h 10000"/>
              <a:gd name="connsiteX128" fmla="*/ 2047 w 10000"/>
              <a:gd name="connsiteY128" fmla="*/ 169 h 10000"/>
              <a:gd name="connsiteX129" fmla="*/ 1806 w 10000"/>
              <a:gd name="connsiteY129" fmla="*/ 131 h 10000"/>
              <a:gd name="connsiteX130" fmla="*/ 1555 w 10000"/>
              <a:gd name="connsiteY130" fmla="*/ 94 h 10000"/>
              <a:gd name="connsiteX131" fmla="*/ 1305 w 10000"/>
              <a:gd name="connsiteY131" fmla="*/ 67 h 10000"/>
              <a:gd name="connsiteX132" fmla="*/ 1057 w 10000"/>
              <a:gd name="connsiteY132" fmla="*/ 46 h 10000"/>
              <a:gd name="connsiteX133" fmla="*/ 807 w 10000"/>
              <a:gd name="connsiteY133" fmla="*/ 30 h 10000"/>
              <a:gd name="connsiteX134" fmla="*/ 551 w 10000"/>
              <a:gd name="connsiteY134" fmla="*/ 14 h 10000"/>
              <a:gd name="connsiteX135" fmla="*/ 295 w 10000"/>
              <a:gd name="connsiteY135" fmla="*/ 8 h 10000"/>
              <a:gd name="connsiteX136" fmla="*/ 39 w 10000"/>
              <a:gd name="connsiteY136" fmla="*/ 3 h 10000"/>
              <a:gd name="connsiteX137" fmla="*/ 0 w 10000"/>
              <a:gd name="connsiteY137" fmla="*/ 0 h 10000"/>
              <a:gd name="connsiteX138" fmla="*/ 1210 w 10000"/>
              <a:gd name="connsiteY138" fmla="*/ 2445 h 10000"/>
              <a:gd name="connsiteX139" fmla="*/ 7 w 10000"/>
              <a:gd name="connsiteY139"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6726 w 10000"/>
              <a:gd name="connsiteY62" fmla="*/ 10000 h 10000"/>
              <a:gd name="connsiteX63" fmla="*/ 9850 w 10000"/>
              <a:gd name="connsiteY63" fmla="*/ 9498 h 10000"/>
              <a:gd name="connsiteX64" fmla="*/ 9889 w 10000"/>
              <a:gd name="connsiteY64" fmla="*/ 9332 h 10000"/>
              <a:gd name="connsiteX65" fmla="*/ 9915 w 10000"/>
              <a:gd name="connsiteY65" fmla="*/ 9161 h 10000"/>
              <a:gd name="connsiteX66" fmla="*/ 9941 w 10000"/>
              <a:gd name="connsiteY66" fmla="*/ 8990 h 10000"/>
              <a:gd name="connsiteX67" fmla="*/ 9961 w 10000"/>
              <a:gd name="connsiteY67" fmla="*/ 8813 h 10000"/>
              <a:gd name="connsiteX68" fmla="*/ 9974 w 10000"/>
              <a:gd name="connsiteY68" fmla="*/ 8637 h 10000"/>
              <a:gd name="connsiteX69" fmla="*/ 9987 w 10000"/>
              <a:gd name="connsiteY69" fmla="*/ 8466 h 10000"/>
              <a:gd name="connsiteX70" fmla="*/ 9993 w 10000"/>
              <a:gd name="connsiteY70" fmla="*/ 8291 h 10000"/>
              <a:gd name="connsiteX71" fmla="*/ 10000 w 10000"/>
              <a:gd name="connsiteY71" fmla="*/ 8114 h 10000"/>
              <a:gd name="connsiteX72" fmla="*/ 9993 w 10000"/>
              <a:gd name="connsiteY72" fmla="*/ 7901 h 10000"/>
              <a:gd name="connsiteX73" fmla="*/ 9987 w 10000"/>
              <a:gd name="connsiteY73" fmla="*/ 7697 h 10000"/>
              <a:gd name="connsiteX74" fmla="*/ 9967 w 10000"/>
              <a:gd name="connsiteY74" fmla="*/ 7489 h 10000"/>
              <a:gd name="connsiteX75" fmla="*/ 9948 w 10000"/>
              <a:gd name="connsiteY75" fmla="*/ 7286 h 10000"/>
              <a:gd name="connsiteX76" fmla="*/ 9915 w 10000"/>
              <a:gd name="connsiteY76" fmla="*/ 7077 h 10000"/>
              <a:gd name="connsiteX77" fmla="*/ 9882 w 10000"/>
              <a:gd name="connsiteY77" fmla="*/ 6880 h 10000"/>
              <a:gd name="connsiteX78" fmla="*/ 9843 w 10000"/>
              <a:gd name="connsiteY78" fmla="*/ 6677 h 10000"/>
              <a:gd name="connsiteX79" fmla="*/ 9796 w 10000"/>
              <a:gd name="connsiteY79" fmla="*/ 6479 h 10000"/>
              <a:gd name="connsiteX80" fmla="*/ 9744 w 10000"/>
              <a:gd name="connsiteY80" fmla="*/ 6281 h 10000"/>
              <a:gd name="connsiteX81" fmla="*/ 9685 w 10000"/>
              <a:gd name="connsiteY81" fmla="*/ 6089 h 10000"/>
              <a:gd name="connsiteX82" fmla="*/ 9620 w 10000"/>
              <a:gd name="connsiteY82" fmla="*/ 5891 h 10000"/>
              <a:gd name="connsiteX83" fmla="*/ 9555 w 10000"/>
              <a:gd name="connsiteY83" fmla="*/ 5698 h 10000"/>
              <a:gd name="connsiteX84" fmla="*/ 9475 w 10000"/>
              <a:gd name="connsiteY84" fmla="*/ 5511 h 10000"/>
              <a:gd name="connsiteX85" fmla="*/ 9396 w 10000"/>
              <a:gd name="connsiteY85" fmla="*/ 5324 h 10000"/>
              <a:gd name="connsiteX86" fmla="*/ 9304 w 10000"/>
              <a:gd name="connsiteY86" fmla="*/ 5137 h 10000"/>
              <a:gd name="connsiteX87" fmla="*/ 9213 w 10000"/>
              <a:gd name="connsiteY87" fmla="*/ 4957 h 10000"/>
              <a:gd name="connsiteX88" fmla="*/ 9121 w 10000"/>
              <a:gd name="connsiteY88" fmla="*/ 4775 h 10000"/>
              <a:gd name="connsiteX89" fmla="*/ 9016 w 10000"/>
              <a:gd name="connsiteY89" fmla="*/ 4598 h 10000"/>
              <a:gd name="connsiteX90" fmla="*/ 8911 w 10000"/>
              <a:gd name="connsiteY90" fmla="*/ 4422 h 10000"/>
              <a:gd name="connsiteX91" fmla="*/ 8800 w 10000"/>
              <a:gd name="connsiteY91" fmla="*/ 4246 h 10000"/>
              <a:gd name="connsiteX92" fmla="*/ 8682 w 10000"/>
              <a:gd name="connsiteY92" fmla="*/ 4075 h 10000"/>
              <a:gd name="connsiteX93" fmla="*/ 8557 w 10000"/>
              <a:gd name="connsiteY93" fmla="*/ 3909 h 10000"/>
              <a:gd name="connsiteX94" fmla="*/ 8432 w 10000"/>
              <a:gd name="connsiteY94" fmla="*/ 3743 h 10000"/>
              <a:gd name="connsiteX95" fmla="*/ 8300 w 10000"/>
              <a:gd name="connsiteY95" fmla="*/ 3578 h 10000"/>
              <a:gd name="connsiteX96" fmla="*/ 8162 w 10000"/>
              <a:gd name="connsiteY96" fmla="*/ 3417 h 10000"/>
              <a:gd name="connsiteX97" fmla="*/ 8018 w 10000"/>
              <a:gd name="connsiteY97" fmla="*/ 3262 h 10000"/>
              <a:gd name="connsiteX98" fmla="*/ 7873 w 10000"/>
              <a:gd name="connsiteY98" fmla="*/ 3107 h 10000"/>
              <a:gd name="connsiteX99" fmla="*/ 7723 w 10000"/>
              <a:gd name="connsiteY99" fmla="*/ 2952 h 10000"/>
              <a:gd name="connsiteX100" fmla="*/ 7573 w 10000"/>
              <a:gd name="connsiteY100" fmla="*/ 2808 h 10000"/>
              <a:gd name="connsiteX101" fmla="*/ 7407 w 10000"/>
              <a:gd name="connsiteY101" fmla="*/ 2664 h 10000"/>
              <a:gd name="connsiteX102" fmla="*/ 7250 w 10000"/>
              <a:gd name="connsiteY102" fmla="*/ 2519 h 10000"/>
              <a:gd name="connsiteX103" fmla="*/ 7080 w 10000"/>
              <a:gd name="connsiteY103" fmla="*/ 2375 h 10000"/>
              <a:gd name="connsiteX104" fmla="*/ 6910 w 10000"/>
              <a:gd name="connsiteY104" fmla="*/ 2241 h 10000"/>
              <a:gd name="connsiteX105" fmla="*/ 6740 w 10000"/>
              <a:gd name="connsiteY105" fmla="*/ 2108 h 10000"/>
              <a:gd name="connsiteX106" fmla="*/ 6556 w 10000"/>
              <a:gd name="connsiteY106" fmla="*/ 1980 h 10000"/>
              <a:gd name="connsiteX107" fmla="*/ 6372 w 10000"/>
              <a:gd name="connsiteY107" fmla="*/ 1857 h 10000"/>
              <a:gd name="connsiteX108" fmla="*/ 6188 w 10000"/>
              <a:gd name="connsiteY108" fmla="*/ 1734 h 10000"/>
              <a:gd name="connsiteX109" fmla="*/ 5998 w 10000"/>
              <a:gd name="connsiteY109" fmla="*/ 1617 h 10000"/>
              <a:gd name="connsiteX110" fmla="*/ 5801 w 10000"/>
              <a:gd name="connsiteY110" fmla="*/ 1500 h 10000"/>
              <a:gd name="connsiteX111" fmla="*/ 5605 w 10000"/>
              <a:gd name="connsiteY111" fmla="*/ 1387 h 10000"/>
              <a:gd name="connsiteX112" fmla="*/ 5407 w 10000"/>
              <a:gd name="connsiteY112" fmla="*/ 1280 h 10000"/>
              <a:gd name="connsiteX113" fmla="*/ 5204 w 10000"/>
              <a:gd name="connsiteY113" fmla="*/ 1179 h 10000"/>
              <a:gd name="connsiteX114" fmla="*/ 5001 w 10000"/>
              <a:gd name="connsiteY114" fmla="*/ 1077 h 10000"/>
              <a:gd name="connsiteX115" fmla="*/ 4783 w 10000"/>
              <a:gd name="connsiteY115" fmla="*/ 981 h 10000"/>
              <a:gd name="connsiteX116" fmla="*/ 4574 w 10000"/>
              <a:gd name="connsiteY116" fmla="*/ 890 h 10000"/>
              <a:gd name="connsiteX117" fmla="*/ 4356 w 10000"/>
              <a:gd name="connsiteY117" fmla="*/ 805 h 10000"/>
              <a:gd name="connsiteX118" fmla="*/ 4134 w 10000"/>
              <a:gd name="connsiteY118" fmla="*/ 719 h 10000"/>
              <a:gd name="connsiteX119" fmla="*/ 3917 w 10000"/>
              <a:gd name="connsiteY119" fmla="*/ 639 h 10000"/>
              <a:gd name="connsiteX120" fmla="*/ 3695 w 10000"/>
              <a:gd name="connsiteY120" fmla="*/ 570 h 10000"/>
              <a:gd name="connsiteX121" fmla="*/ 3464 w 10000"/>
              <a:gd name="connsiteY121" fmla="*/ 495 h 10000"/>
              <a:gd name="connsiteX122" fmla="*/ 3234 w 10000"/>
              <a:gd name="connsiteY122" fmla="*/ 431 h 10000"/>
              <a:gd name="connsiteX123" fmla="*/ 2999 w 10000"/>
              <a:gd name="connsiteY123" fmla="*/ 366 h 10000"/>
              <a:gd name="connsiteX124" fmla="*/ 2769 w 10000"/>
              <a:gd name="connsiteY124" fmla="*/ 313 h 10000"/>
              <a:gd name="connsiteX125" fmla="*/ 2528 w 10000"/>
              <a:gd name="connsiteY125" fmla="*/ 260 h 10000"/>
              <a:gd name="connsiteX126" fmla="*/ 2284 w 10000"/>
              <a:gd name="connsiteY126" fmla="*/ 211 h 10000"/>
              <a:gd name="connsiteX127" fmla="*/ 2047 w 10000"/>
              <a:gd name="connsiteY127" fmla="*/ 169 h 10000"/>
              <a:gd name="connsiteX128" fmla="*/ 1806 w 10000"/>
              <a:gd name="connsiteY128" fmla="*/ 131 h 10000"/>
              <a:gd name="connsiteX129" fmla="*/ 1555 w 10000"/>
              <a:gd name="connsiteY129" fmla="*/ 94 h 10000"/>
              <a:gd name="connsiteX130" fmla="*/ 1305 w 10000"/>
              <a:gd name="connsiteY130" fmla="*/ 67 h 10000"/>
              <a:gd name="connsiteX131" fmla="*/ 1057 w 10000"/>
              <a:gd name="connsiteY131" fmla="*/ 46 h 10000"/>
              <a:gd name="connsiteX132" fmla="*/ 807 w 10000"/>
              <a:gd name="connsiteY132" fmla="*/ 30 h 10000"/>
              <a:gd name="connsiteX133" fmla="*/ 551 w 10000"/>
              <a:gd name="connsiteY133" fmla="*/ 14 h 10000"/>
              <a:gd name="connsiteX134" fmla="*/ 295 w 10000"/>
              <a:gd name="connsiteY134" fmla="*/ 8 h 10000"/>
              <a:gd name="connsiteX135" fmla="*/ 39 w 10000"/>
              <a:gd name="connsiteY135" fmla="*/ 3 h 10000"/>
              <a:gd name="connsiteX136" fmla="*/ 0 w 10000"/>
              <a:gd name="connsiteY136" fmla="*/ 0 h 10000"/>
              <a:gd name="connsiteX137" fmla="*/ 1210 w 10000"/>
              <a:gd name="connsiteY137" fmla="*/ 2445 h 10000"/>
              <a:gd name="connsiteX138" fmla="*/ 7 w 10000"/>
              <a:gd name="connsiteY138"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6726 w 10000"/>
              <a:gd name="connsiteY61" fmla="*/ 10000 h 10000"/>
              <a:gd name="connsiteX62" fmla="*/ 9850 w 10000"/>
              <a:gd name="connsiteY62" fmla="*/ 9498 h 10000"/>
              <a:gd name="connsiteX63" fmla="*/ 9889 w 10000"/>
              <a:gd name="connsiteY63" fmla="*/ 9332 h 10000"/>
              <a:gd name="connsiteX64" fmla="*/ 9915 w 10000"/>
              <a:gd name="connsiteY64" fmla="*/ 9161 h 10000"/>
              <a:gd name="connsiteX65" fmla="*/ 9941 w 10000"/>
              <a:gd name="connsiteY65" fmla="*/ 8990 h 10000"/>
              <a:gd name="connsiteX66" fmla="*/ 9961 w 10000"/>
              <a:gd name="connsiteY66" fmla="*/ 8813 h 10000"/>
              <a:gd name="connsiteX67" fmla="*/ 9974 w 10000"/>
              <a:gd name="connsiteY67" fmla="*/ 8637 h 10000"/>
              <a:gd name="connsiteX68" fmla="*/ 9987 w 10000"/>
              <a:gd name="connsiteY68" fmla="*/ 8466 h 10000"/>
              <a:gd name="connsiteX69" fmla="*/ 9993 w 10000"/>
              <a:gd name="connsiteY69" fmla="*/ 8291 h 10000"/>
              <a:gd name="connsiteX70" fmla="*/ 10000 w 10000"/>
              <a:gd name="connsiteY70" fmla="*/ 8114 h 10000"/>
              <a:gd name="connsiteX71" fmla="*/ 9993 w 10000"/>
              <a:gd name="connsiteY71" fmla="*/ 7901 h 10000"/>
              <a:gd name="connsiteX72" fmla="*/ 9987 w 10000"/>
              <a:gd name="connsiteY72" fmla="*/ 7697 h 10000"/>
              <a:gd name="connsiteX73" fmla="*/ 9967 w 10000"/>
              <a:gd name="connsiteY73" fmla="*/ 7489 h 10000"/>
              <a:gd name="connsiteX74" fmla="*/ 9948 w 10000"/>
              <a:gd name="connsiteY74" fmla="*/ 7286 h 10000"/>
              <a:gd name="connsiteX75" fmla="*/ 9915 w 10000"/>
              <a:gd name="connsiteY75" fmla="*/ 7077 h 10000"/>
              <a:gd name="connsiteX76" fmla="*/ 9882 w 10000"/>
              <a:gd name="connsiteY76" fmla="*/ 6880 h 10000"/>
              <a:gd name="connsiteX77" fmla="*/ 9843 w 10000"/>
              <a:gd name="connsiteY77" fmla="*/ 6677 h 10000"/>
              <a:gd name="connsiteX78" fmla="*/ 9796 w 10000"/>
              <a:gd name="connsiteY78" fmla="*/ 6479 h 10000"/>
              <a:gd name="connsiteX79" fmla="*/ 9744 w 10000"/>
              <a:gd name="connsiteY79" fmla="*/ 6281 h 10000"/>
              <a:gd name="connsiteX80" fmla="*/ 9685 w 10000"/>
              <a:gd name="connsiteY80" fmla="*/ 6089 h 10000"/>
              <a:gd name="connsiteX81" fmla="*/ 9620 w 10000"/>
              <a:gd name="connsiteY81" fmla="*/ 5891 h 10000"/>
              <a:gd name="connsiteX82" fmla="*/ 9555 w 10000"/>
              <a:gd name="connsiteY82" fmla="*/ 5698 h 10000"/>
              <a:gd name="connsiteX83" fmla="*/ 9475 w 10000"/>
              <a:gd name="connsiteY83" fmla="*/ 5511 h 10000"/>
              <a:gd name="connsiteX84" fmla="*/ 9396 w 10000"/>
              <a:gd name="connsiteY84" fmla="*/ 5324 h 10000"/>
              <a:gd name="connsiteX85" fmla="*/ 9304 w 10000"/>
              <a:gd name="connsiteY85" fmla="*/ 5137 h 10000"/>
              <a:gd name="connsiteX86" fmla="*/ 9213 w 10000"/>
              <a:gd name="connsiteY86" fmla="*/ 4957 h 10000"/>
              <a:gd name="connsiteX87" fmla="*/ 9121 w 10000"/>
              <a:gd name="connsiteY87" fmla="*/ 4775 h 10000"/>
              <a:gd name="connsiteX88" fmla="*/ 9016 w 10000"/>
              <a:gd name="connsiteY88" fmla="*/ 4598 h 10000"/>
              <a:gd name="connsiteX89" fmla="*/ 8911 w 10000"/>
              <a:gd name="connsiteY89" fmla="*/ 4422 h 10000"/>
              <a:gd name="connsiteX90" fmla="*/ 8800 w 10000"/>
              <a:gd name="connsiteY90" fmla="*/ 4246 h 10000"/>
              <a:gd name="connsiteX91" fmla="*/ 8682 w 10000"/>
              <a:gd name="connsiteY91" fmla="*/ 4075 h 10000"/>
              <a:gd name="connsiteX92" fmla="*/ 8557 w 10000"/>
              <a:gd name="connsiteY92" fmla="*/ 3909 h 10000"/>
              <a:gd name="connsiteX93" fmla="*/ 8432 w 10000"/>
              <a:gd name="connsiteY93" fmla="*/ 3743 h 10000"/>
              <a:gd name="connsiteX94" fmla="*/ 8300 w 10000"/>
              <a:gd name="connsiteY94" fmla="*/ 3578 h 10000"/>
              <a:gd name="connsiteX95" fmla="*/ 8162 w 10000"/>
              <a:gd name="connsiteY95" fmla="*/ 3417 h 10000"/>
              <a:gd name="connsiteX96" fmla="*/ 8018 w 10000"/>
              <a:gd name="connsiteY96" fmla="*/ 3262 h 10000"/>
              <a:gd name="connsiteX97" fmla="*/ 7873 w 10000"/>
              <a:gd name="connsiteY97" fmla="*/ 3107 h 10000"/>
              <a:gd name="connsiteX98" fmla="*/ 7723 w 10000"/>
              <a:gd name="connsiteY98" fmla="*/ 2952 h 10000"/>
              <a:gd name="connsiteX99" fmla="*/ 7573 w 10000"/>
              <a:gd name="connsiteY99" fmla="*/ 2808 h 10000"/>
              <a:gd name="connsiteX100" fmla="*/ 7407 w 10000"/>
              <a:gd name="connsiteY100" fmla="*/ 2664 h 10000"/>
              <a:gd name="connsiteX101" fmla="*/ 7250 w 10000"/>
              <a:gd name="connsiteY101" fmla="*/ 2519 h 10000"/>
              <a:gd name="connsiteX102" fmla="*/ 7080 w 10000"/>
              <a:gd name="connsiteY102" fmla="*/ 2375 h 10000"/>
              <a:gd name="connsiteX103" fmla="*/ 6910 w 10000"/>
              <a:gd name="connsiteY103" fmla="*/ 2241 h 10000"/>
              <a:gd name="connsiteX104" fmla="*/ 6740 w 10000"/>
              <a:gd name="connsiteY104" fmla="*/ 2108 h 10000"/>
              <a:gd name="connsiteX105" fmla="*/ 6556 w 10000"/>
              <a:gd name="connsiteY105" fmla="*/ 1980 h 10000"/>
              <a:gd name="connsiteX106" fmla="*/ 6372 w 10000"/>
              <a:gd name="connsiteY106" fmla="*/ 1857 h 10000"/>
              <a:gd name="connsiteX107" fmla="*/ 6188 w 10000"/>
              <a:gd name="connsiteY107" fmla="*/ 1734 h 10000"/>
              <a:gd name="connsiteX108" fmla="*/ 5998 w 10000"/>
              <a:gd name="connsiteY108" fmla="*/ 1617 h 10000"/>
              <a:gd name="connsiteX109" fmla="*/ 5801 w 10000"/>
              <a:gd name="connsiteY109" fmla="*/ 1500 h 10000"/>
              <a:gd name="connsiteX110" fmla="*/ 5605 w 10000"/>
              <a:gd name="connsiteY110" fmla="*/ 1387 h 10000"/>
              <a:gd name="connsiteX111" fmla="*/ 5407 w 10000"/>
              <a:gd name="connsiteY111" fmla="*/ 1280 h 10000"/>
              <a:gd name="connsiteX112" fmla="*/ 5204 w 10000"/>
              <a:gd name="connsiteY112" fmla="*/ 1179 h 10000"/>
              <a:gd name="connsiteX113" fmla="*/ 5001 w 10000"/>
              <a:gd name="connsiteY113" fmla="*/ 1077 h 10000"/>
              <a:gd name="connsiteX114" fmla="*/ 4783 w 10000"/>
              <a:gd name="connsiteY114" fmla="*/ 981 h 10000"/>
              <a:gd name="connsiteX115" fmla="*/ 4574 w 10000"/>
              <a:gd name="connsiteY115" fmla="*/ 890 h 10000"/>
              <a:gd name="connsiteX116" fmla="*/ 4356 w 10000"/>
              <a:gd name="connsiteY116" fmla="*/ 805 h 10000"/>
              <a:gd name="connsiteX117" fmla="*/ 4134 w 10000"/>
              <a:gd name="connsiteY117" fmla="*/ 719 h 10000"/>
              <a:gd name="connsiteX118" fmla="*/ 3917 w 10000"/>
              <a:gd name="connsiteY118" fmla="*/ 639 h 10000"/>
              <a:gd name="connsiteX119" fmla="*/ 3695 w 10000"/>
              <a:gd name="connsiteY119" fmla="*/ 570 h 10000"/>
              <a:gd name="connsiteX120" fmla="*/ 3464 w 10000"/>
              <a:gd name="connsiteY120" fmla="*/ 495 h 10000"/>
              <a:gd name="connsiteX121" fmla="*/ 3234 w 10000"/>
              <a:gd name="connsiteY121" fmla="*/ 431 h 10000"/>
              <a:gd name="connsiteX122" fmla="*/ 2999 w 10000"/>
              <a:gd name="connsiteY122" fmla="*/ 366 h 10000"/>
              <a:gd name="connsiteX123" fmla="*/ 2769 w 10000"/>
              <a:gd name="connsiteY123" fmla="*/ 313 h 10000"/>
              <a:gd name="connsiteX124" fmla="*/ 2528 w 10000"/>
              <a:gd name="connsiteY124" fmla="*/ 260 h 10000"/>
              <a:gd name="connsiteX125" fmla="*/ 2284 w 10000"/>
              <a:gd name="connsiteY125" fmla="*/ 211 h 10000"/>
              <a:gd name="connsiteX126" fmla="*/ 2047 w 10000"/>
              <a:gd name="connsiteY126" fmla="*/ 169 h 10000"/>
              <a:gd name="connsiteX127" fmla="*/ 1806 w 10000"/>
              <a:gd name="connsiteY127" fmla="*/ 131 h 10000"/>
              <a:gd name="connsiteX128" fmla="*/ 1555 w 10000"/>
              <a:gd name="connsiteY128" fmla="*/ 94 h 10000"/>
              <a:gd name="connsiteX129" fmla="*/ 1305 w 10000"/>
              <a:gd name="connsiteY129" fmla="*/ 67 h 10000"/>
              <a:gd name="connsiteX130" fmla="*/ 1057 w 10000"/>
              <a:gd name="connsiteY130" fmla="*/ 46 h 10000"/>
              <a:gd name="connsiteX131" fmla="*/ 807 w 10000"/>
              <a:gd name="connsiteY131" fmla="*/ 30 h 10000"/>
              <a:gd name="connsiteX132" fmla="*/ 551 w 10000"/>
              <a:gd name="connsiteY132" fmla="*/ 14 h 10000"/>
              <a:gd name="connsiteX133" fmla="*/ 295 w 10000"/>
              <a:gd name="connsiteY133" fmla="*/ 8 h 10000"/>
              <a:gd name="connsiteX134" fmla="*/ 39 w 10000"/>
              <a:gd name="connsiteY134" fmla="*/ 3 h 10000"/>
              <a:gd name="connsiteX135" fmla="*/ 0 w 10000"/>
              <a:gd name="connsiteY135" fmla="*/ 0 h 10000"/>
              <a:gd name="connsiteX136" fmla="*/ 1210 w 10000"/>
              <a:gd name="connsiteY136" fmla="*/ 2445 h 10000"/>
              <a:gd name="connsiteX137" fmla="*/ 7 w 10000"/>
              <a:gd name="connsiteY137"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6726 w 10000"/>
              <a:gd name="connsiteY60" fmla="*/ 10000 h 10000"/>
              <a:gd name="connsiteX61" fmla="*/ 9850 w 10000"/>
              <a:gd name="connsiteY61" fmla="*/ 9498 h 10000"/>
              <a:gd name="connsiteX62" fmla="*/ 9889 w 10000"/>
              <a:gd name="connsiteY62" fmla="*/ 9332 h 10000"/>
              <a:gd name="connsiteX63" fmla="*/ 9915 w 10000"/>
              <a:gd name="connsiteY63" fmla="*/ 9161 h 10000"/>
              <a:gd name="connsiteX64" fmla="*/ 9941 w 10000"/>
              <a:gd name="connsiteY64" fmla="*/ 8990 h 10000"/>
              <a:gd name="connsiteX65" fmla="*/ 9961 w 10000"/>
              <a:gd name="connsiteY65" fmla="*/ 8813 h 10000"/>
              <a:gd name="connsiteX66" fmla="*/ 9974 w 10000"/>
              <a:gd name="connsiteY66" fmla="*/ 8637 h 10000"/>
              <a:gd name="connsiteX67" fmla="*/ 9987 w 10000"/>
              <a:gd name="connsiteY67" fmla="*/ 8466 h 10000"/>
              <a:gd name="connsiteX68" fmla="*/ 9993 w 10000"/>
              <a:gd name="connsiteY68" fmla="*/ 8291 h 10000"/>
              <a:gd name="connsiteX69" fmla="*/ 10000 w 10000"/>
              <a:gd name="connsiteY69" fmla="*/ 8114 h 10000"/>
              <a:gd name="connsiteX70" fmla="*/ 9993 w 10000"/>
              <a:gd name="connsiteY70" fmla="*/ 7901 h 10000"/>
              <a:gd name="connsiteX71" fmla="*/ 9987 w 10000"/>
              <a:gd name="connsiteY71" fmla="*/ 7697 h 10000"/>
              <a:gd name="connsiteX72" fmla="*/ 9967 w 10000"/>
              <a:gd name="connsiteY72" fmla="*/ 7489 h 10000"/>
              <a:gd name="connsiteX73" fmla="*/ 9948 w 10000"/>
              <a:gd name="connsiteY73" fmla="*/ 7286 h 10000"/>
              <a:gd name="connsiteX74" fmla="*/ 9915 w 10000"/>
              <a:gd name="connsiteY74" fmla="*/ 7077 h 10000"/>
              <a:gd name="connsiteX75" fmla="*/ 9882 w 10000"/>
              <a:gd name="connsiteY75" fmla="*/ 6880 h 10000"/>
              <a:gd name="connsiteX76" fmla="*/ 9843 w 10000"/>
              <a:gd name="connsiteY76" fmla="*/ 6677 h 10000"/>
              <a:gd name="connsiteX77" fmla="*/ 9796 w 10000"/>
              <a:gd name="connsiteY77" fmla="*/ 6479 h 10000"/>
              <a:gd name="connsiteX78" fmla="*/ 9744 w 10000"/>
              <a:gd name="connsiteY78" fmla="*/ 6281 h 10000"/>
              <a:gd name="connsiteX79" fmla="*/ 9685 w 10000"/>
              <a:gd name="connsiteY79" fmla="*/ 6089 h 10000"/>
              <a:gd name="connsiteX80" fmla="*/ 9620 w 10000"/>
              <a:gd name="connsiteY80" fmla="*/ 5891 h 10000"/>
              <a:gd name="connsiteX81" fmla="*/ 9555 w 10000"/>
              <a:gd name="connsiteY81" fmla="*/ 5698 h 10000"/>
              <a:gd name="connsiteX82" fmla="*/ 9475 w 10000"/>
              <a:gd name="connsiteY82" fmla="*/ 5511 h 10000"/>
              <a:gd name="connsiteX83" fmla="*/ 9396 w 10000"/>
              <a:gd name="connsiteY83" fmla="*/ 5324 h 10000"/>
              <a:gd name="connsiteX84" fmla="*/ 9304 w 10000"/>
              <a:gd name="connsiteY84" fmla="*/ 5137 h 10000"/>
              <a:gd name="connsiteX85" fmla="*/ 9213 w 10000"/>
              <a:gd name="connsiteY85" fmla="*/ 4957 h 10000"/>
              <a:gd name="connsiteX86" fmla="*/ 9121 w 10000"/>
              <a:gd name="connsiteY86" fmla="*/ 4775 h 10000"/>
              <a:gd name="connsiteX87" fmla="*/ 9016 w 10000"/>
              <a:gd name="connsiteY87" fmla="*/ 4598 h 10000"/>
              <a:gd name="connsiteX88" fmla="*/ 8911 w 10000"/>
              <a:gd name="connsiteY88" fmla="*/ 4422 h 10000"/>
              <a:gd name="connsiteX89" fmla="*/ 8800 w 10000"/>
              <a:gd name="connsiteY89" fmla="*/ 4246 h 10000"/>
              <a:gd name="connsiteX90" fmla="*/ 8682 w 10000"/>
              <a:gd name="connsiteY90" fmla="*/ 4075 h 10000"/>
              <a:gd name="connsiteX91" fmla="*/ 8557 w 10000"/>
              <a:gd name="connsiteY91" fmla="*/ 3909 h 10000"/>
              <a:gd name="connsiteX92" fmla="*/ 8432 w 10000"/>
              <a:gd name="connsiteY92" fmla="*/ 3743 h 10000"/>
              <a:gd name="connsiteX93" fmla="*/ 8300 w 10000"/>
              <a:gd name="connsiteY93" fmla="*/ 3578 h 10000"/>
              <a:gd name="connsiteX94" fmla="*/ 8162 w 10000"/>
              <a:gd name="connsiteY94" fmla="*/ 3417 h 10000"/>
              <a:gd name="connsiteX95" fmla="*/ 8018 w 10000"/>
              <a:gd name="connsiteY95" fmla="*/ 3262 h 10000"/>
              <a:gd name="connsiteX96" fmla="*/ 7873 w 10000"/>
              <a:gd name="connsiteY96" fmla="*/ 3107 h 10000"/>
              <a:gd name="connsiteX97" fmla="*/ 7723 w 10000"/>
              <a:gd name="connsiteY97" fmla="*/ 2952 h 10000"/>
              <a:gd name="connsiteX98" fmla="*/ 7573 w 10000"/>
              <a:gd name="connsiteY98" fmla="*/ 2808 h 10000"/>
              <a:gd name="connsiteX99" fmla="*/ 7407 w 10000"/>
              <a:gd name="connsiteY99" fmla="*/ 2664 h 10000"/>
              <a:gd name="connsiteX100" fmla="*/ 7250 w 10000"/>
              <a:gd name="connsiteY100" fmla="*/ 2519 h 10000"/>
              <a:gd name="connsiteX101" fmla="*/ 7080 w 10000"/>
              <a:gd name="connsiteY101" fmla="*/ 2375 h 10000"/>
              <a:gd name="connsiteX102" fmla="*/ 6910 w 10000"/>
              <a:gd name="connsiteY102" fmla="*/ 2241 h 10000"/>
              <a:gd name="connsiteX103" fmla="*/ 6740 w 10000"/>
              <a:gd name="connsiteY103" fmla="*/ 2108 h 10000"/>
              <a:gd name="connsiteX104" fmla="*/ 6556 w 10000"/>
              <a:gd name="connsiteY104" fmla="*/ 1980 h 10000"/>
              <a:gd name="connsiteX105" fmla="*/ 6372 w 10000"/>
              <a:gd name="connsiteY105" fmla="*/ 1857 h 10000"/>
              <a:gd name="connsiteX106" fmla="*/ 6188 w 10000"/>
              <a:gd name="connsiteY106" fmla="*/ 1734 h 10000"/>
              <a:gd name="connsiteX107" fmla="*/ 5998 w 10000"/>
              <a:gd name="connsiteY107" fmla="*/ 1617 h 10000"/>
              <a:gd name="connsiteX108" fmla="*/ 5801 w 10000"/>
              <a:gd name="connsiteY108" fmla="*/ 1500 h 10000"/>
              <a:gd name="connsiteX109" fmla="*/ 5605 w 10000"/>
              <a:gd name="connsiteY109" fmla="*/ 1387 h 10000"/>
              <a:gd name="connsiteX110" fmla="*/ 5407 w 10000"/>
              <a:gd name="connsiteY110" fmla="*/ 1280 h 10000"/>
              <a:gd name="connsiteX111" fmla="*/ 5204 w 10000"/>
              <a:gd name="connsiteY111" fmla="*/ 1179 h 10000"/>
              <a:gd name="connsiteX112" fmla="*/ 5001 w 10000"/>
              <a:gd name="connsiteY112" fmla="*/ 1077 h 10000"/>
              <a:gd name="connsiteX113" fmla="*/ 4783 w 10000"/>
              <a:gd name="connsiteY113" fmla="*/ 981 h 10000"/>
              <a:gd name="connsiteX114" fmla="*/ 4574 w 10000"/>
              <a:gd name="connsiteY114" fmla="*/ 890 h 10000"/>
              <a:gd name="connsiteX115" fmla="*/ 4356 w 10000"/>
              <a:gd name="connsiteY115" fmla="*/ 805 h 10000"/>
              <a:gd name="connsiteX116" fmla="*/ 4134 w 10000"/>
              <a:gd name="connsiteY116" fmla="*/ 719 h 10000"/>
              <a:gd name="connsiteX117" fmla="*/ 3917 w 10000"/>
              <a:gd name="connsiteY117" fmla="*/ 639 h 10000"/>
              <a:gd name="connsiteX118" fmla="*/ 3695 w 10000"/>
              <a:gd name="connsiteY118" fmla="*/ 570 h 10000"/>
              <a:gd name="connsiteX119" fmla="*/ 3464 w 10000"/>
              <a:gd name="connsiteY119" fmla="*/ 495 h 10000"/>
              <a:gd name="connsiteX120" fmla="*/ 3234 w 10000"/>
              <a:gd name="connsiteY120" fmla="*/ 431 h 10000"/>
              <a:gd name="connsiteX121" fmla="*/ 2999 w 10000"/>
              <a:gd name="connsiteY121" fmla="*/ 366 h 10000"/>
              <a:gd name="connsiteX122" fmla="*/ 2769 w 10000"/>
              <a:gd name="connsiteY122" fmla="*/ 313 h 10000"/>
              <a:gd name="connsiteX123" fmla="*/ 2528 w 10000"/>
              <a:gd name="connsiteY123" fmla="*/ 260 h 10000"/>
              <a:gd name="connsiteX124" fmla="*/ 2284 w 10000"/>
              <a:gd name="connsiteY124" fmla="*/ 211 h 10000"/>
              <a:gd name="connsiteX125" fmla="*/ 2047 w 10000"/>
              <a:gd name="connsiteY125" fmla="*/ 169 h 10000"/>
              <a:gd name="connsiteX126" fmla="*/ 1806 w 10000"/>
              <a:gd name="connsiteY126" fmla="*/ 131 h 10000"/>
              <a:gd name="connsiteX127" fmla="*/ 1555 w 10000"/>
              <a:gd name="connsiteY127" fmla="*/ 94 h 10000"/>
              <a:gd name="connsiteX128" fmla="*/ 1305 w 10000"/>
              <a:gd name="connsiteY128" fmla="*/ 67 h 10000"/>
              <a:gd name="connsiteX129" fmla="*/ 1057 w 10000"/>
              <a:gd name="connsiteY129" fmla="*/ 46 h 10000"/>
              <a:gd name="connsiteX130" fmla="*/ 807 w 10000"/>
              <a:gd name="connsiteY130" fmla="*/ 30 h 10000"/>
              <a:gd name="connsiteX131" fmla="*/ 551 w 10000"/>
              <a:gd name="connsiteY131" fmla="*/ 14 h 10000"/>
              <a:gd name="connsiteX132" fmla="*/ 295 w 10000"/>
              <a:gd name="connsiteY132" fmla="*/ 8 h 10000"/>
              <a:gd name="connsiteX133" fmla="*/ 39 w 10000"/>
              <a:gd name="connsiteY133" fmla="*/ 3 h 10000"/>
              <a:gd name="connsiteX134" fmla="*/ 0 w 10000"/>
              <a:gd name="connsiteY134" fmla="*/ 0 h 10000"/>
              <a:gd name="connsiteX135" fmla="*/ 1210 w 10000"/>
              <a:gd name="connsiteY135" fmla="*/ 2445 h 10000"/>
              <a:gd name="connsiteX136" fmla="*/ 7 w 10000"/>
              <a:gd name="connsiteY136" fmla="*/ 4770 h 10000"/>
              <a:gd name="connsiteX0" fmla="*/ 7 w 10000"/>
              <a:gd name="connsiteY0" fmla="*/ 4770 h 9498"/>
              <a:gd name="connsiteX1" fmla="*/ 20 w 10000"/>
              <a:gd name="connsiteY1" fmla="*/ 4764 h 9498"/>
              <a:gd name="connsiteX2" fmla="*/ 124 w 10000"/>
              <a:gd name="connsiteY2" fmla="*/ 4764 h 9498"/>
              <a:gd name="connsiteX3" fmla="*/ 230 w 10000"/>
              <a:gd name="connsiteY3" fmla="*/ 4770 h 9498"/>
              <a:gd name="connsiteX4" fmla="*/ 335 w 10000"/>
              <a:gd name="connsiteY4" fmla="*/ 4775 h 9498"/>
              <a:gd name="connsiteX5" fmla="*/ 439 w 10000"/>
              <a:gd name="connsiteY5" fmla="*/ 4780 h 9498"/>
              <a:gd name="connsiteX6" fmla="*/ 545 w 10000"/>
              <a:gd name="connsiteY6" fmla="*/ 4796 h 9498"/>
              <a:gd name="connsiteX7" fmla="*/ 650 w 10000"/>
              <a:gd name="connsiteY7" fmla="*/ 4807 h 9498"/>
              <a:gd name="connsiteX8" fmla="*/ 748 w 10000"/>
              <a:gd name="connsiteY8" fmla="*/ 4818 h 9498"/>
              <a:gd name="connsiteX9" fmla="*/ 846 w 10000"/>
              <a:gd name="connsiteY9" fmla="*/ 4834 h 9498"/>
              <a:gd name="connsiteX10" fmla="*/ 952 w 10000"/>
              <a:gd name="connsiteY10" fmla="*/ 4850 h 9498"/>
              <a:gd name="connsiteX11" fmla="*/ 1050 w 10000"/>
              <a:gd name="connsiteY11" fmla="*/ 4871 h 9498"/>
              <a:gd name="connsiteX12" fmla="*/ 1148 w 10000"/>
              <a:gd name="connsiteY12" fmla="*/ 4892 h 9498"/>
              <a:gd name="connsiteX13" fmla="*/ 1246 w 10000"/>
              <a:gd name="connsiteY13" fmla="*/ 4914 h 9498"/>
              <a:gd name="connsiteX14" fmla="*/ 1339 w 10000"/>
              <a:gd name="connsiteY14" fmla="*/ 4941 h 9498"/>
              <a:gd name="connsiteX15" fmla="*/ 1437 w 10000"/>
              <a:gd name="connsiteY15" fmla="*/ 4967 h 9498"/>
              <a:gd name="connsiteX16" fmla="*/ 1529 w 10000"/>
              <a:gd name="connsiteY16" fmla="*/ 4999 h 9498"/>
              <a:gd name="connsiteX17" fmla="*/ 1621 w 10000"/>
              <a:gd name="connsiteY17" fmla="*/ 5030 h 9498"/>
              <a:gd name="connsiteX18" fmla="*/ 1713 w 10000"/>
              <a:gd name="connsiteY18" fmla="*/ 5062 h 9498"/>
              <a:gd name="connsiteX19" fmla="*/ 1806 w 10000"/>
              <a:gd name="connsiteY19" fmla="*/ 5095 h 9498"/>
              <a:gd name="connsiteX20" fmla="*/ 1897 w 10000"/>
              <a:gd name="connsiteY20" fmla="*/ 5132 h 9498"/>
              <a:gd name="connsiteX21" fmla="*/ 1989 w 10000"/>
              <a:gd name="connsiteY21" fmla="*/ 5169 h 9498"/>
              <a:gd name="connsiteX22" fmla="*/ 2074 w 10000"/>
              <a:gd name="connsiteY22" fmla="*/ 5212 h 9498"/>
              <a:gd name="connsiteX23" fmla="*/ 2160 w 10000"/>
              <a:gd name="connsiteY23" fmla="*/ 5250 h 9498"/>
              <a:gd name="connsiteX24" fmla="*/ 2245 w 10000"/>
              <a:gd name="connsiteY24" fmla="*/ 5292 h 9498"/>
              <a:gd name="connsiteX25" fmla="*/ 2323 w 10000"/>
              <a:gd name="connsiteY25" fmla="*/ 5335 h 9498"/>
              <a:gd name="connsiteX26" fmla="*/ 2408 w 10000"/>
              <a:gd name="connsiteY26" fmla="*/ 5383 h 9498"/>
              <a:gd name="connsiteX27" fmla="*/ 2486 w 10000"/>
              <a:gd name="connsiteY27" fmla="*/ 5431 h 9498"/>
              <a:gd name="connsiteX28" fmla="*/ 2567 w 10000"/>
              <a:gd name="connsiteY28" fmla="*/ 5479 h 9498"/>
              <a:gd name="connsiteX29" fmla="*/ 2645 w 10000"/>
              <a:gd name="connsiteY29" fmla="*/ 5527 h 9498"/>
              <a:gd name="connsiteX30" fmla="*/ 2724 w 10000"/>
              <a:gd name="connsiteY30" fmla="*/ 5581 h 9498"/>
              <a:gd name="connsiteX31" fmla="*/ 2796 w 10000"/>
              <a:gd name="connsiteY31" fmla="*/ 5634 h 9498"/>
              <a:gd name="connsiteX32" fmla="*/ 2867 w 10000"/>
              <a:gd name="connsiteY32" fmla="*/ 5688 h 9498"/>
              <a:gd name="connsiteX33" fmla="*/ 2940 w 10000"/>
              <a:gd name="connsiteY33" fmla="*/ 5747 h 9498"/>
              <a:gd name="connsiteX34" fmla="*/ 3006 w 10000"/>
              <a:gd name="connsiteY34" fmla="*/ 5805 h 9498"/>
              <a:gd name="connsiteX35" fmla="*/ 3078 w 10000"/>
              <a:gd name="connsiteY35" fmla="*/ 5864 h 9498"/>
              <a:gd name="connsiteX36" fmla="*/ 3143 w 10000"/>
              <a:gd name="connsiteY36" fmla="*/ 5923 h 9498"/>
              <a:gd name="connsiteX37" fmla="*/ 3202 w 10000"/>
              <a:gd name="connsiteY37" fmla="*/ 5987 h 9498"/>
              <a:gd name="connsiteX38" fmla="*/ 3268 w 10000"/>
              <a:gd name="connsiteY38" fmla="*/ 6046 h 9498"/>
              <a:gd name="connsiteX39" fmla="*/ 3327 w 10000"/>
              <a:gd name="connsiteY39" fmla="*/ 6110 h 9498"/>
              <a:gd name="connsiteX40" fmla="*/ 3386 w 10000"/>
              <a:gd name="connsiteY40" fmla="*/ 6174 h 9498"/>
              <a:gd name="connsiteX41" fmla="*/ 3445 w 10000"/>
              <a:gd name="connsiteY41" fmla="*/ 6238 h 9498"/>
              <a:gd name="connsiteX42" fmla="*/ 3497 w 10000"/>
              <a:gd name="connsiteY42" fmla="*/ 6308 h 9498"/>
              <a:gd name="connsiteX43" fmla="*/ 3550 w 10000"/>
              <a:gd name="connsiteY43" fmla="*/ 6377 h 9498"/>
              <a:gd name="connsiteX44" fmla="*/ 3602 w 10000"/>
              <a:gd name="connsiteY44" fmla="*/ 6447 h 9498"/>
              <a:gd name="connsiteX45" fmla="*/ 3656 w 10000"/>
              <a:gd name="connsiteY45" fmla="*/ 6516 h 9498"/>
              <a:gd name="connsiteX46" fmla="*/ 3695 w 10000"/>
              <a:gd name="connsiteY46" fmla="*/ 6591 h 9498"/>
              <a:gd name="connsiteX47" fmla="*/ 3747 w 10000"/>
              <a:gd name="connsiteY47" fmla="*/ 6666 h 9498"/>
              <a:gd name="connsiteX48" fmla="*/ 3786 w 10000"/>
              <a:gd name="connsiteY48" fmla="*/ 6735 h 9498"/>
              <a:gd name="connsiteX49" fmla="*/ 3826 w 10000"/>
              <a:gd name="connsiteY49" fmla="*/ 6810 h 9498"/>
              <a:gd name="connsiteX50" fmla="*/ 3865 w 10000"/>
              <a:gd name="connsiteY50" fmla="*/ 6885 h 9498"/>
              <a:gd name="connsiteX51" fmla="*/ 3898 w 10000"/>
              <a:gd name="connsiteY51" fmla="*/ 6960 h 9498"/>
              <a:gd name="connsiteX52" fmla="*/ 3930 w 10000"/>
              <a:gd name="connsiteY52" fmla="*/ 7040 h 9498"/>
              <a:gd name="connsiteX53" fmla="*/ 3963 w 10000"/>
              <a:gd name="connsiteY53" fmla="*/ 7120 h 9498"/>
              <a:gd name="connsiteX54" fmla="*/ 3996 w 10000"/>
              <a:gd name="connsiteY54" fmla="*/ 7195 h 9498"/>
              <a:gd name="connsiteX55" fmla="*/ 4022 w 10000"/>
              <a:gd name="connsiteY55" fmla="*/ 7275 h 9498"/>
              <a:gd name="connsiteX56" fmla="*/ 4042 w 10000"/>
              <a:gd name="connsiteY56" fmla="*/ 7355 h 9498"/>
              <a:gd name="connsiteX57" fmla="*/ 4069 w 10000"/>
              <a:gd name="connsiteY57" fmla="*/ 7441 h 9498"/>
              <a:gd name="connsiteX58" fmla="*/ 4088 w 10000"/>
              <a:gd name="connsiteY58" fmla="*/ 7521 h 9498"/>
              <a:gd name="connsiteX59" fmla="*/ 4108 w 10000"/>
              <a:gd name="connsiteY59" fmla="*/ 7601 h 9498"/>
              <a:gd name="connsiteX60" fmla="*/ 7213 w 10000"/>
              <a:gd name="connsiteY60" fmla="*/ 7881 h 9498"/>
              <a:gd name="connsiteX61" fmla="*/ 9850 w 10000"/>
              <a:gd name="connsiteY61" fmla="*/ 9498 h 9498"/>
              <a:gd name="connsiteX62" fmla="*/ 9889 w 10000"/>
              <a:gd name="connsiteY62" fmla="*/ 9332 h 9498"/>
              <a:gd name="connsiteX63" fmla="*/ 9915 w 10000"/>
              <a:gd name="connsiteY63" fmla="*/ 9161 h 9498"/>
              <a:gd name="connsiteX64" fmla="*/ 9941 w 10000"/>
              <a:gd name="connsiteY64" fmla="*/ 8990 h 9498"/>
              <a:gd name="connsiteX65" fmla="*/ 9961 w 10000"/>
              <a:gd name="connsiteY65" fmla="*/ 8813 h 9498"/>
              <a:gd name="connsiteX66" fmla="*/ 9974 w 10000"/>
              <a:gd name="connsiteY66" fmla="*/ 8637 h 9498"/>
              <a:gd name="connsiteX67" fmla="*/ 9987 w 10000"/>
              <a:gd name="connsiteY67" fmla="*/ 8466 h 9498"/>
              <a:gd name="connsiteX68" fmla="*/ 9993 w 10000"/>
              <a:gd name="connsiteY68" fmla="*/ 8291 h 9498"/>
              <a:gd name="connsiteX69" fmla="*/ 10000 w 10000"/>
              <a:gd name="connsiteY69" fmla="*/ 8114 h 9498"/>
              <a:gd name="connsiteX70" fmla="*/ 9993 w 10000"/>
              <a:gd name="connsiteY70" fmla="*/ 7901 h 9498"/>
              <a:gd name="connsiteX71" fmla="*/ 9987 w 10000"/>
              <a:gd name="connsiteY71" fmla="*/ 7697 h 9498"/>
              <a:gd name="connsiteX72" fmla="*/ 9967 w 10000"/>
              <a:gd name="connsiteY72" fmla="*/ 7489 h 9498"/>
              <a:gd name="connsiteX73" fmla="*/ 9948 w 10000"/>
              <a:gd name="connsiteY73" fmla="*/ 7286 h 9498"/>
              <a:gd name="connsiteX74" fmla="*/ 9915 w 10000"/>
              <a:gd name="connsiteY74" fmla="*/ 7077 h 9498"/>
              <a:gd name="connsiteX75" fmla="*/ 9882 w 10000"/>
              <a:gd name="connsiteY75" fmla="*/ 6880 h 9498"/>
              <a:gd name="connsiteX76" fmla="*/ 9843 w 10000"/>
              <a:gd name="connsiteY76" fmla="*/ 6677 h 9498"/>
              <a:gd name="connsiteX77" fmla="*/ 9796 w 10000"/>
              <a:gd name="connsiteY77" fmla="*/ 6479 h 9498"/>
              <a:gd name="connsiteX78" fmla="*/ 9744 w 10000"/>
              <a:gd name="connsiteY78" fmla="*/ 6281 h 9498"/>
              <a:gd name="connsiteX79" fmla="*/ 9685 w 10000"/>
              <a:gd name="connsiteY79" fmla="*/ 6089 h 9498"/>
              <a:gd name="connsiteX80" fmla="*/ 9620 w 10000"/>
              <a:gd name="connsiteY80" fmla="*/ 5891 h 9498"/>
              <a:gd name="connsiteX81" fmla="*/ 9555 w 10000"/>
              <a:gd name="connsiteY81" fmla="*/ 5698 h 9498"/>
              <a:gd name="connsiteX82" fmla="*/ 9475 w 10000"/>
              <a:gd name="connsiteY82" fmla="*/ 5511 h 9498"/>
              <a:gd name="connsiteX83" fmla="*/ 9396 w 10000"/>
              <a:gd name="connsiteY83" fmla="*/ 5324 h 9498"/>
              <a:gd name="connsiteX84" fmla="*/ 9304 w 10000"/>
              <a:gd name="connsiteY84" fmla="*/ 5137 h 9498"/>
              <a:gd name="connsiteX85" fmla="*/ 9213 w 10000"/>
              <a:gd name="connsiteY85" fmla="*/ 4957 h 9498"/>
              <a:gd name="connsiteX86" fmla="*/ 9121 w 10000"/>
              <a:gd name="connsiteY86" fmla="*/ 4775 h 9498"/>
              <a:gd name="connsiteX87" fmla="*/ 9016 w 10000"/>
              <a:gd name="connsiteY87" fmla="*/ 4598 h 9498"/>
              <a:gd name="connsiteX88" fmla="*/ 8911 w 10000"/>
              <a:gd name="connsiteY88" fmla="*/ 4422 h 9498"/>
              <a:gd name="connsiteX89" fmla="*/ 8800 w 10000"/>
              <a:gd name="connsiteY89" fmla="*/ 4246 h 9498"/>
              <a:gd name="connsiteX90" fmla="*/ 8682 w 10000"/>
              <a:gd name="connsiteY90" fmla="*/ 4075 h 9498"/>
              <a:gd name="connsiteX91" fmla="*/ 8557 w 10000"/>
              <a:gd name="connsiteY91" fmla="*/ 3909 h 9498"/>
              <a:gd name="connsiteX92" fmla="*/ 8432 w 10000"/>
              <a:gd name="connsiteY92" fmla="*/ 3743 h 9498"/>
              <a:gd name="connsiteX93" fmla="*/ 8300 w 10000"/>
              <a:gd name="connsiteY93" fmla="*/ 3578 h 9498"/>
              <a:gd name="connsiteX94" fmla="*/ 8162 w 10000"/>
              <a:gd name="connsiteY94" fmla="*/ 3417 h 9498"/>
              <a:gd name="connsiteX95" fmla="*/ 8018 w 10000"/>
              <a:gd name="connsiteY95" fmla="*/ 3262 h 9498"/>
              <a:gd name="connsiteX96" fmla="*/ 7873 w 10000"/>
              <a:gd name="connsiteY96" fmla="*/ 3107 h 9498"/>
              <a:gd name="connsiteX97" fmla="*/ 7723 w 10000"/>
              <a:gd name="connsiteY97" fmla="*/ 2952 h 9498"/>
              <a:gd name="connsiteX98" fmla="*/ 7573 w 10000"/>
              <a:gd name="connsiteY98" fmla="*/ 2808 h 9498"/>
              <a:gd name="connsiteX99" fmla="*/ 7407 w 10000"/>
              <a:gd name="connsiteY99" fmla="*/ 2664 h 9498"/>
              <a:gd name="connsiteX100" fmla="*/ 7250 w 10000"/>
              <a:gd name="connsiteY100" fmla="*/ 2519 h 9498"/>
              <a:gd name="connsiteX101" fmla="*/ 7080 w 10000"/>
              <a:gd name="connsiteY101" fmla="*/ 2375 h 9498"/>
              <a:gd name="connsiteX102" fmla="*/ 6910 w 10000"/>
              <a:gd name="connsiteY102" fmla="*/ 2241 h 9498"/>
              <a:gd name="connsiteX103" fmla="*/ 6740 w 10000"/>
              <a:gd name="connsiteY103" fmla="*/ 2108 h 9498"/>
              <a:gd name="connsiteX104" fmla="*/ 6556 w 10000"/>
              <a:gd name="connsiteY104" fmla="*/ 1980 h 9498"/>
              <a:gd name="connsiteX105" fmla="*/ 6372 w 10000"/>
              <a:gd name="connsiteY105" fmla="*/ 1857 h 9498"/>
              <a:gd name="connsiteX106" fmla="*/ 6188 w 10000"/>
              <a:gd name="connsiteY106" fmla="*/ 1734 h 9498"/>
              <a:gd name="connsiteX107" fmla="*/ 5998 w 10000"/>
              <a:gd name="connsiteY107" fmla="*/ 1617 h 9498"/>
              <a:gd name="connsiteX108" fmla="*/ 5801 w 10000"/>
              <a:gd name="connsiteY108" fmla="*/ 1500 h 9498"/>
              <a:gd name="connsiteX109" fmla="*/ 5605 w 10000"/>
              <a:gd name="connsiteY109" fmla="*/ 1387 h 9498"/>
              <a:gd name="connsiteX110" fmla="*/ 5407 w 10000"/>
              <a:gd name="connsiteY110" fmla="*/ 1280 h 9498"/>
              <a:gd name="connsiteX111" fmla="*/ 5204 w 10000"/>
              <a:gd name="connsiteY111" fmla="*/ 1179 h 9498"/>
              <a:gd name="connsiteX112" fmla="*/ 5001 w 10000"/>
              <a:gd name="connsiteY112" fmla="*/ 1077 h 9498"/>
              <a:gd name="connsiteX113" fmla="*/ 4783 w 10000"/>
              <a:gd name="connsiteY113" fmla="*/ 981 h 9498"/>
              <a:gd name="connsiteX114" fmla="*/ 4574 w 10000"/>
              <a:gd name="connsiteY114" fmla="*/ 890 h 9498"/>
              <a:gd name="connsiteX115" fmla="*/ 4356 w 10000"/>
              <a:gd name="connsiteY115" fmla="*/ 805 h 9498"/>
              <a:gd name="connsiteX116" fmla="*/ 4134 w 10000"/>
              <a:gd name="connsiteY116" fmla="*/ 719 h 9498"/>
              <a:gd name="connsiteX117" fmla="*/ 3917 w 10000"/>
              <a:gd name="connsiteY117" fmla="*/ 639 h 9498"/>
              <a:gd name="connsiteX118" fmla="*/ 3695 w 10000"/>
              <a:gd name="connsiteY118" fmla="*/ 570 h 9498"/>
              <a:gd name="connsiteX119" fmla="*/ 3464 w 10000"/>
              <a:gd name="connsiteY119" fmla="*/ 495 h 9498"/>
              <a:gd name="connsiteX120" fmla="*/ 3234 w 10000"/>
              <a:gd name="connsiteY120" fmla="*/ 431 h 9498"/>
              <a:gd name="connsiteX121" fmla="*/ 2999 w 10000"/>
              <a:gd name="connsiteY121" fmla="*/ 366 h 9498"/>
              <a:gd name="connsiteX122" fmla="*/ 2769 w 10000"/>
              <a:gd name="connsiteY122" fmla="*/ 313 h 9498"/>
              <a:gd name="connsiteX123" fmla="*/ 2528 w 10000"/>
              <a:gd name="connsiteY123" fmla="*/ 260 h 9498"/>
              <a:gd name="connsiteX124" fmla="*/ 2284 w 10000"/>
              <a:gd name="connsiteY124" fmla="*/ 211 h 9498"/>
              <a:gd name="connsiteX125" fmla="*/ 2047 w 10000"/>
              <a:gd name="connsiteY125" fmla="*/ 169 h 9498"/>
              <a:gd name="connsiteX126" fmla="*/ 1806 w 10000"/>
              <a:gd name="connsiteY126" fmla="*/ 131 h 9498"/>
              <a:gd name="connsiteX127" fmla="*/ 1555 w 10000"/>
              <a:gd name="connsiteY127" fmla="*/ 94 h 9498"/>
              <a:gd name="connsiteX128" fmla="*/ 1305 w 10000"/>
              <a:gd name="connsiteY128" fmla="*/ 67 h 9498"/>
              <a:gd name="connsiteX129" fmla="*/ 1057 w 10000"/>
              <a:gd name="connsiteY129" fmla="*/ 46 h 9498"/>
              <a:gd name="connsiteX130" fmla="*/ 807 w 10000"/>
              <a:gd name="connsiteY130" fmla="*/ 30 h 9498"/>
              <a:gd name="connsiteX131" fmla="*/ 551 w 10000"/>
              <a:gd name="connsiteY131" fmla="*/ 14 h 9498"/>
              <a:gd name="connsiteX132" fmla="*/ 295 w 10000"/>
              <a:gd name="connsiteY132" fmla="*/ 8 h 9498"/>
              <a:gd name="connsiteX133" fmla="*/ 39 w 10000"/>
              <a:gd name="connsiteY133" fmla="*/ 3 h 9498"/>
              <a:gd name="connsiteX134" fmla="*/ 0 w 10000"/>
              <a:gd name="connsiteY134" fmla="*/ 0 h 9498"/>
              <a:gd name="connsiteX135" fmla="*/ 1210 w 10000"/>
              <a:gd name="connsiteY135" fmla="*/ 2445 h 9498"/>
              <a:gd name="connsiteX136" fmla="*/ 7 w 10000"/>
              <a:gd name="connsiteY136" fmla="*/ 4770 h 9498"/>
              <a:gd name="connsiteX0" fmla="*/ 7 w 10000"/>
              <a:gd name="connsiteY0" fmla="*/ 5022 h 10000"/>
              <a:gd name="connsiteX1" fmla="*/ 20 w 10000"/>
              <a:gd name="connsiteY1" fmla="*/ 5016 h 10000"/>
              <a:gd name="connsiteX2" fmla="*/ 124 w 10000"/>
              <a:gd name="connsiteY2" fmla="*/ 5016 h 10000"/>
              <a:gd name="connsiteX3" fmla="*/ 230 w 10000"/>
              <a:gd name="connsiteY3" fmla="*/ 5022 h 10000"/>
              <a:gd name="connsiteX4" fmla="*/ 335 w 10000"/>
              <a:gd name="connsiteY4" fmla="*/ 5027 h 10000"/>
              <a:gd name="connsiteX5" fmla="*/ 439 w 10000"/>
              <a:gd name="connsiteY5" fmla="*/ 5033 h 10000"/>
              <a:gd name="connsiteX6" fmla="*/ 545 w 10000"/>
              <a:gd name="connsiteY6" fmla="*/ 5049 h 10000"/>
              <a:gd name="connsiteX7" fmla="*/ 650 w 10000"/>
              <a:gd name="connsiteY7" fmla="*/ 5061 h 10000"/>
              <a:gd name="connsiteX8" fmla="*/ 748 w 10000"/>
              <a:gd name="connsiteY8" fmla="*/ 5073 h 10000"/>
              <a:gd name="connsiteX9" fmla="*/ 846 w 10000"/>
              <a:gd name="connsiteY9" fmla="*/ 5089 h 10000"/>
              <a:gd name="connsiteX10" fmla="*/ 952 w 10000"/>
              <a:gd name="connsiteY10" fmla="*/ 5106 h 10000"/>
              <a:gd name="connsiteX11" fmla="*/ 1050 w 10000"/>
              <a:gd name="connsiteY11" fmla="*/ 5128 h 10000"/>
              <a:gd name="connsiteX12" fmla="*/ 1148 w 10000"/>
              <a:gd name="connsiteY12" fmla="*/ 5151 h 10000"/>
              <a:gd name="connsiteX13" fmla="*/ 1246 w 10000"/>
              <a:gd name="connsiteY13" fmla="*/ 5174 h 10000"/>
              <a:gd name="connsiteX14" fmla="*/ 1339 w 10000"/>
              <a:gd name="connsiteY14" fmla="*/ 5202 h 10000"/>
              <a:gd name="connsiteX15" fmla="*/ 1437 w 10000"/>
              <a:gd name="connsiteY15" fmla="*/ 5230 h 10000"/>
              <a:gd name="connsiteX16" fmla="*/ 1529 w 10000"/>
              <a:gd name="connsiteY16" fmla="*/ 5263 h 10000"/>
              <a:gd name="connsiteX17" fmla="*/ 1621 w 10000"/>
              <a:gd name="connsiteY17" fmla="*/ 5296 h 10000"/>
              <a:gd name="connsiteX18" fmla="*/ 1713 w 10000"/>
              <a:gd name="connsiteY18" fmla="*/ 5330 h 10000"/>
              <a:gd name="connsiteX19" fmla="*/ 1806 w 10000"/>
              <a:gd name="connsiteY19" fmla="*/ 5364 h 10000"/>
              <a:gd name="connsiteX20" fmla="*/ 1897 w 10000"/>
              <a:gd name="connsiteY20" fmla="*/ 5403 h 10000"/>
              <a:gd name="connsiteX21" fmla="*/ 1989 w 10000"/>
              <a:gd name="connsiteY21" fmla="*/ 5442 h 10000"/>
              <a:gd name="connsiteX22" fmla="*/ 2074 w 10000"/>
              <a:gd name="connsiteY22" fmla="*/ 5487 h 10000"/>
              <a:gd name="connsiteX23" fmla="*/ 2160 w 10000"/>
              <a:gd name="connsiteY23" fmla="*/ 5527 h 10000"/>
              <a:gd name="connsiteX24" fmla="*/ 2245 w 10000"/>
              <a:gd name="connsiteY24" fmla="*/ 5572 h 10000"/>
              <a:gd name="connsiteX25" fmla="*/ 2323 w 10000"/>
              <a:gd name="connsiteY25" fmla="*/ 5617 h 10000"/>
              <a:gd name="connsiteX26" fmla="*/ 2408 w 10000"/>
              <a:gd name="connsiteY26" fmla="*/ 5668 h 10000"/>
              <a:gd name="connsiteX27" fmla="*/ 2486 w 10000"/>
              <a:gd name="connsiteY27" fmla="*/ 5718 h 10000"/>
              <a:gd name="connsiteX28" fmla="*/ 2567 w 10000"/>
              <a:gd name="connsiteY28" fmla="*/ 5769 h 10000"/>
              <a:gd name="connsiteX29" fmla="*/ 2645 w 10000"/>
              <a:gd name="connsiteY29" fmla="*/ 5819 h 10000"/>
              <a:gd name="connsiteX30" fmla="*/ 2724 w 10000"/>
              <a:gd name="connsiteY30" fmla="*/ 5876 h 10000"/>
              <a:gd name="connsiteX31" fmla="*/ 2796 w 10000"/>
              <a:gd name="connsiteY31" fmla="*/ 5932 h 10000"/>
              <a:gd name="connsiteX32" fmla="*/ 2867 w 10000"/>
              <a:gd name="connsiteY32" fmla="*/ 5989 h 10000"/>
              <a:gd name="connsiteX33" fmla="*/ 2940 w 10000"/>
              <a:gd name="connsiteY33" fmla="*/ 6051 h 10000"/>
              <a:gd name="connsiteX34" fmla="*/ 3006 w 10000"/>
              <a:gd name="connsiteY34" fmla="*/ 6112 h 10000"/>
              <a:gd name="connsiteX35" fmla="*/ 3078 w 10000"/>
              <a:gd name="connsiteY35" fmla="*/ 6174 h 10000"/>
              <a:gd name="connsiteX36" fmla="*/ 3143 w 10000"/>
              <a:gd name="connsiteY36" fmla="*/ 6236 h 10000"/>
              <a:gd name="connsiteX37" fmla="*/ 3202 w 10000"/>
              <a:gd name="connsiteY37" fmla="*/ 6303 h 10000"/>
              <a:gd name="connsiteX38" fmla="*/ 3268 w 10000"/>
              <a:gd name="connsiteY38" fmla="*/ 6366 h 10000"/>
              <a:gd name="connsiteX39" fmla="*/ 3327 w 10000"/>
              <a:gd name="connsiteY39" fmla="*/ 6433 h 10000"/>
              <a:gd name="connsiteX40" fmla="*/ 3386 w 10000"/>
              <a:gd name="connsiteY40" fmla="*/ 6500 h 10000"/>
              <a:gd name="connsiteX41" fmla="*/ 3445 w 10000"/>
              <a:gd name="connsiteY41" fmla="*/ 6568 h 10000"/>
              <a:gd name="connsiteX42" fmla="*/ 3497 w 10000"/>
              <a:gd name="connsiteY42" fmla="*/ 6641 h 10000"/>
              <a:gd name="connsiteX43" fmla="*/ 3550 w 10000"/>
              <a:gd name="connsiteY43" fmla="*/ 6714 h 10000"/>
              <a:gd name="connsiteX44" fmla="*/ 3602 w 10000"/>
              <a:gd name="connsiteY44" fmla="*/ 6788 h 10000"/>
              <a:gd name="connsiteX45" fmla="*/ 3656 w 10000"/>
              <a:gd name="connsiteY45" fmla="*/ 6860 h 10000"/>
              <a:gd name="connsiteX46" fmla="*/ 3695 w 10000"/>
              <a:gd name="connsiteY46" fmla="*/ 6939 h 10000"/>
              <a:gd name="connsiteX47" fmla="*/ 3747 w 10000"/>
              <a:gd name="connsiteY47" fmla="*/ 7018 h 10000"/>
              <a:gd name="connsiteX48" fmla="*/ 3786 w 10000"/>
              <a:gd name="connsiteY48" fmla="*/ 7091 h 10000"/>
              <a:gd name="connsiteX49" fmla="*/ 3826 w 10000"/>
              <a:gd name="connsiteY49" fmla="*/ 7170 h 10000"/>
              <a:gd name="connsiteX50" fmla="*/ 3865 w 10000"/>
              <a:gd name="connsiteY50" fmla="*/ 7249 h 10000"/>
              <a:gd name="connsiteX51" fmla="*/ 3898 w 10000"/>
              <a:gd name="connsiteY51" fmla="*/ 7328 h 10000"/>
              <a:gd name="connsiteX52" fmla="*/ 3930 w 10000"/>
              <a:gd name="connsiteY52" fmla="*/ 7412 h 10000"/>
              <a:gd name="connsiteX53" fmla="*/ 3963 w 10000"/>
              <a:gd name="connsiteY53" fmla="*/ 7496 h 10000"/>
              <a:gd name="connsiteX54" fmla="*/ 3996 w 10000"/>
              <a:gd name="connsiteY54" fmla="*/ 7575 h 10000"/>
              <a:gd name="connsiteX55" fmla="*/ 4022 w 10000"/>
              <a:gd name="connsiteY55" fmla="*/ 7660 h 10000"/>
              <a:gd name="connsiteX56" fmla="*/ 4042 w 10000"/>
              <a:gd name="connsiteY56" fmla="*/ 7744 h 10000"/>
              <a:gd name="connsiteX57" fmla="*/ 4069 w 10000"/>
              <a:gd name="connsiteY57" fmla="*/ 7834 h 10000"/>
              <a:gd name="connsiteX58" fmla="*/ 4088 w 10000"/>
              <a:gd name="connsiteY58" fmla="*/ 7919 h 10000"/>
              <a:gd name="connsiteX59" fmla="*/ 4108 w 10000"/>
              <a:gd name="connsiteY59" fmla="*/ 8003 h 10000"/>
              <a:gd name="connsiteX60" fmla="*/ 7213 w 10000"/>
              <a:gd name="connsiteY60" fmla="*/ 8298 h 10000"/>
              <a:gd name="connsiteX61" fmla="*/ 9850 w 10000"/>
              <a:gd name="connsiteY61" fmla="*/ 10000 h 10000"/>
              <a:gd name="connsiteX62" fmla="*/ 9889 w 10000"/>
              <a:gd name="connsiteY62" fmla="*/ 9825 h 10000"/>
              <a:gd name="connsiteX63" fmla="*/ 9915 w 10000"/>
              <a:gd name="connsiteY63" fmla="*/ 9645 h 10000"/>
              <a:gd name="connsiteX64" fmla="*/ 9941 w 10000"/>
              <a:gd name="connsiteY64" fmla="*/ 9465 h 10000"/>
              <a:gd name="connsiteX65" fmla="*/ 9961 w 10000"/>
              <a:gd name="connsiteY65" fmla="*/ 9279 h 10000"/>
              <a:gd name="connsiteX66" fmla="*/ 9974 w 10000"/>
              <a:gd name="connsiteY66" fmla="*/ 9093 h 10000"/>
              <a:gd name="connsiteX67" fmla="*/ 9987 w 10000"/>
              <a:gd name="connsiteY67" fmla="*/ 8913 h 10000"/>
              <a:gd name="connsiteX68" fmla="*/ 9993 w 10000"/>
              <a:gd name="connsiteY68" fmla="*/ 8729 h 10000"/>
              <a:gd name="connsiteX69" fmla="*/ 10000 w 10000"/>
              <a:gd name="connsiteY69" fmla="*/ 8543 h 10000"/>
              <a:gd name="connsiteX70" fmla="*/ 9993 w 10000"/>
              <a:gd name="connsiteY70" fmla="*/ 8319 h 10000"/>
              <a:gd name="connsiteX71" fmla="*/ 9987 w 10000"/>
              <a:gd name="connsiteY71" fmla="*/ 8104 h 10000"/>
              <a:gd name="connsiteX72" fmla="*/ 9967 w 10000"/>
              <a:gd name="connsiteY72" fmla="*/ 7885 h 10000"/>
              <a:gd name="connsiteX73" fmla="*/ 9948 w 10000"/>
              <a:gd name="connsiteY73" fmla="*/ 7671 h 10000"/>
              <a:gd name="connsiteX74" fmla="*/ 9915 w 10000"/>
              <a:gd name="connsiteY74" fmla="*/ 7451 h 10000"/>
              <a:gd name="connsiteX75" fmla="*/ 9882 w 10000"/>
              <a:gd name="connsiteY75" fmla="*/ 7244 h 10000"/>
              <a:gd name="connsiteX76" fmla="*/ 9843 w 10000"/>
              <a:gd name="connsiteY76" fmla="*/ 7030 h 10000"/>
              <a:gd name="connsiteX77" fmla="*/ 9796 w 10000"/>
              <a:gd name="connsiteY77" fmla="*/ 6821 h 10000"/>
              <a:gd name="connsiteX78" fmla="*/ 9744 w 10000"/>
              <a:gd name="connsiteY78" fmla="*/ 6613 h 10000"/>
              <a:gd name="connsiteX79" fmla="*/ 9685 w 10000"/>
              <a:gd name="connsiteY79" fmla="*/ 6411 h 10000"/>
              <a:gd name="connsiteX80" fmla="*/ 9620 w 10000"/>
              <a:gd name="connsiteY80" fmla="*/ 6202 h 10000"/>
              <a:gd name="connsiteX81" fmla="*/ 9555 w 10000"/>
              <a:gd name="connsiteY81" fmla="*/ 5999 h 10000"/>
              <a:gd name="connsiteX82" fmla="*/ 9475 w 10000"/>
              <a:gd name="connsiteY82" fmla="*/ 5802 h 10000"/>
              <a:gd name="connsiteX83" fmla="*/ 9396 w 10000"/>
              <a:gd name="connsiteY83" fmla="*/ 5605 h 10000"/>
              <a:gd name="connsiteX84" fmla="*/ 9304 w 10000"/>
              <a:gd name="connsiteY84" fmla="*/ 5409 h 10000"/>
              <a:gd name="connsiteX85" fmla="*/ 9213 w 10000"/>
              <a:gd name="connsiteY85" fmla="*/ 5219 h 10000"/>
              <a:gd name="connsiteX86" fmla="*/ 9121 w 10000"/>
              <a:gd name="connsiteY86" fmla="*/ 5027 h 10000"/>
              <a:gd name="connsiteX87" fmla="*/ 9016 w 10000"/>
              <a:gd name="connsiteY87" fmla="*/ 4841 h 10000"/>
              <a:gd name="connsiteX88" fmla="*/ 8911 w 10000"/>
              <a:gd name="connsiteY88" fmla="*/ 4656 h 10000"/>
              <a:gd name="connsiteX89" fmla="*/ 8800 w 10000"/>
              <a:gd name="connsiteY89" fmla="*/ 4470 h 10000"/>
              <a:gd name="connsiteX90" fmla="*/ 8682 w 10000"/>
              <a:gd name="connsiteY90" fmla="*/ 4290 h 10000"/>
              <a:gd name="connsiteX91" fmla="*/ 8557 w 10000"/>
              <a:gd name="connsiteY91" fmla="*/ 4116 h 10000"/>
              <a:gd name="connsiteX92" fmla="*/ 8432 w 10000"/>
              <a:gd name="connsiteY92" fmla="*/ 3941 h 10000"/>
              <a:gd name="connsiteX93" fmla="*/ 8300 w 10000"/>
              <a:gd name="connsiteY93" fmla="*/ 3767 h 10000"/>
              <a:gd name="connsiteX94" fmla="*/ 8162 w 10000"/>
              <a:gd name="connsiteY94" fmla="*/ 3598 h 10000"/>
              <a:gd name="connsiteX95" fmla="*/ 8018 w 10000"/>
              <a:gd name="connsiteY95" fmla="*/ 3434 h 10000"/>
              <a:gd name="connsiteX96" fmla="*/ 7873 w 10000"/>
              <a:gd name="connsiteY96" fmla="*/ 3271 h 10000"/>
              <a:gd name="connsiteX97" fmla="*/ 7723 w 10000"/>
              <a:gd name="connsiteY97" fmla="*/ 3108 h 10000"/>
              <a:gd name="connsiteX98" fmla="*/ 7573 w 10000"/>
              <a:gd name="connsiteY98" fmla="*/ 2956 h 10000"/>
              <a:gd name="connsiteX99" fmla="*/ 7407 w 10000"/>
              <a:gd name="connsiteY99" fmla="*/ 2805 h 10000"/>
              <a:gd name="connsiteX100" fmla="*/ 7250 w 10000"/>
              <a:gd name="connsiteY100" fmla="*/ 2652 h 10000"/>
              <a:gd name="connsiteX101" fmla="*/ 7080 w 10000"/>
              <a:gd name="connsiteY101" fmla="*/ 2501 h 10000"/>
              <a:gd name="connsiteX102" fmla="*/ 6910 w 10000"/>
              <a:gd name="connsiteY102" fmla="*/ 2359 h 10000"/>
              <a:gd name="connsiteX103" fmla="*/ 6740 w 10000"/>
              <a:gd name="connsiteY103" fmla="*/ 2219 h 10000"/>
              <a:gd name="connsiteX104" fmla="*/ 6556 w 10000"/>
              <a:gd name="connsiteY104" fmla="*/ 2085 h 10000"/>
              <a:gd name="connsiteX105" fmla="*/ 6372 w 10000"/>
              <a:gd name="connsiteY105" fmla="*/ 1955 h 10000"/>
              <a:gd name="connsiteX106" fmla="*/ 6188 w 10000"/>
              <a:gd name="connsiteY106" fmla="*/ 1826 h 10000"/>
              <a:gd name="connsiteX107" fmla="*/ 5998 w 10000"/>
              <a:gd name="connsiteY107" fmla="*/ 1702 h 10000"/>
              <a:gd name="connsiteX108" fmla="*/ 5801 w 10000"/>
              <a:gd name="connsiteY108" fmla="*/ 1579 h 10000"/>
              <a:gd name="connsiteX109" fmla="*/ 5605 w 10000"/>
              <a:gd name="connsiteY109" fmla="*/ 1460 h 10000"/>
              <a:gd name="connsiteX110" fmla="*/ 5407 w 10000"/>
              <a:gd name="connsiteY110" fmla="*/ 1348 h 10000"/>
              <a:gd name="connsiteX111" fmla="*/ 5204 w 10000"/>
              <a:gd name="connsiteY111" fmla="*/ 1241 h 10000"/>
              <a:gd name="connsiteX112" fmla="*/ 5001 w 10000"/>
              <a:gd name="connsiteY112" fmla="*/ 1134 h 10000"/>
              <a:gd name="connsiteX113" fmla="*/ 4783 w 10000"/>
              <a:gd name="connsiteY113" fmla="*/ 1033 h 10000"/>
              <a:gd name="connsiteX114" fmla="*/ 4574 w 10000"/>
              <a:gd name="connsiteY114" fmla="*/ 937 h 10000"/>
              <a:gd name="connsiteX115" fmla="*/ 4356 w 10000"/>
              <a:gd name="connsiteY115" fmla="*/ 848 h 10000"/>
              <a:gd name="connsiteX116" fmla="*/ 4134 w 10000"/>
              <a:gd name="connsiteY116" fmla="*/ 757 h 10000"/>
              <a:gd name="connsiteX117" fmla="*/ 3917 w 10000"/>
              <a:gd name="connsiteY117" fmla="*/ 673 h 10000"/>
              <a:gd name="connsiteX118" fmla="*/ 3695 w 10000"/>
              <a:gd name="connsiteY118" fmla="*/ 600 h 10000"/>
              <a:gd name="connsiteX119" fmla="*/ 3464 w 10000"/>
              <a:gd name="connsiteY119" fmla="*/ 521 h 10000"/>
              <a:gd name="connsiteX120" fmla="*/ 3234 w 10000"/>
              <a:gd name="connsiteY120" fmla="*/ 454 h 10000"/>
              <a:gd name="connsiteX121" fmla="*/ 2999 w 10000"/>
              <a:gd name="connsiteY121" fmla="*/ 385 h 10000"/>
              <a:gd name="connsiteX122" fmla="*/ 2769 w 10000"/>
              <a:gd name="connsiteY122" fmla="*/ 330 h 10000"/>
              <a:gd name="connsiteX123" fmla="*/ 2528 w 10000"/>
              <a:gd name="connsiteY123" fmla="*/ 274 h 10000"/>
              <a:gd name="connsiteX124" fmla="*/ 2284 w 10000"/>
              <a:gd name="connsiteY124" fmla="*/ 222 h 10000"/>
              <a:gd name="connsiteX125" fmla="*/ 2047 w 10000"/>
              <a:gd name="connsiteY125" fmla="*/ 178 h 10000"/>
              <a:gd name="connsiteX126" fmla="*/ 1806 w 10000"/>
              <a:gd name="connsiteY126" fmla="*/ 138 h 10000"/>
              <a:gd name="connsiteX127" fmla="*/ 1555 w 10000"/>
              <a:gd name="connsiteY127" fmla="*/ 99 h 10000"/>
              <a:gd name="connsiteX128" fmla="*/ 1305 w 10000"/>
              <a:gd name="connsiteY128" fmla="*/ 71 h 10000"/>
              <a:gd name="connsiteX129" fmla="*/ 1057 w 10000"/>
              <a:gd name="connsiteY129" fmla="*/ 48 h 10000"/>
              <a:gd name="connsiteX130" fmla="*/ 807 w 10000"/>
              <a:gd name="connsiteY130" fmla="*/ 32 h 10000"/>
              <a:gd name="connsiteX131" fmla="*/ 551 w 10000"/>
              <a:gd name="connsiteY131" fmla="*/ 15 h 10000"/>
              <a:gd name="connsiteX132" fmla="*/ 295 w 10000"/>
              <a:gd name="connsiteY132" fmla="*/ 8 h 10000"/>
              <a:gd name="connsiteX133" fmla="*/ 39 w 10000"/>
              <a:gd name="connsiteY133" fmla="*/ 3 h 10000"/>
              <a:gd name="connsiteX134" fmla="*/ 0 w 10000"/>
              <a:gd name="connsiteY134" fmla="*/ 0 h 10000"/>
              <a:gd name="connsiteX135" fmla="*/ 1210 w 10000"/>
              <a:gd name="connsiteY135" fmla="*/ 2574 h 10000"/>
              <a:gd name="connsiteX136" fmla="*/ 7 w 10000"/>
              <a:gd name="connsiteY136" fmla="*/ 5022 h 10000"/>
              <a:gd name="connsiteX0" fmla="*/ 7 w 10000"/>
              <a:gd name="connsiteY0" fmla="*/ 5022 h 9825"/>
              <a:gd name="connsiteX1" fmla="*/ 20 w 10000"/>
              <a:gd name="connsiteY1" fmla="*/ 5016 h 9825"/>
              <a:gd name="connsiteX2" fmla="*/ 124 w 10000"/>
              <a:gd name="connsiteY2" fmla="*/ 5016 h 9825"/>
              <a:gd name="connsiteX3" fmla="*/ 230 w 10000"/>
              <a:gd name="connsiteY3" fmla="*/ 5022 h 9825"/>
              <a:gd name="connsiteX4" fmla="*/ 335 w 10000"/>
              <a:gd name="connsiteY4" fmla="*/ 5027 h 9825"/>
              <a:gd name="connsiteX5" fmla="*/ 439 w 10000"/>
              <a:gd name="connsiteY5" fmla="*/ 5033 h 9825"/>
              <a:gd name="connsiteX6" fmla="*/ 545 w 10000"/>
              <a:gd name="connsiteY6" fmla="*/ 5049 h 9825"/>
              <a:gd name="connsiteX7" fmla="*/ 650 w 10000"/>
              <a:gd name="connsiteY7" fmla="*/ 5061 h 9825"/>
              <a:gd name="connsiteX8" fmla="*/ 748 w 10000"/>
              <a:gd name="connsiteY8" fmla="*/ 5073 h 9825"/>
              <a:gd name="connsiteX9" fmla="*/ 846 w 10000"/>
              <a:gd name="connsiteY9" fmla="*/ 5089 h 9825"/>
              <a:gd name="connsiteX10" fmla="*/ 952 w 10000"/>
              <a:gd name="connsiteY10" fmla="*/ 5106 h 9825"/>
              <a:gd name="connsiteX11" fmla="*/ 1050 w 10000"/>
              <a:gd name="connsiteY11" fmla="*/ 5128 h 9825"/>
              <a:gd name="connsiteX12" fmla="*/ 1148 w 10000"/>
              <a:gd name="connsiteY12" fmla="*/ 5151 h 9825"/>
              <a:gd name="connsiteX13" fmla="*/ 1246 w 10000"/>
              <a:gd name="connsiteY13" fmla="*/ 5174 h 9825"/>
              <a:gd name="connsiteX14" fmla="*/ 1339 w 10000"/>
              <a:gd name="connsiteY14" fmla="*/ 5202 h 9825"/>
              <a:gd name="connsiteX15" fmla="*/ 1437 w 10000"/>
              <a:gd name="connsiteY15" fmla="*/ 5230 h 9825"/>
              <a:gd name="connsiteX16" fmla="*/ 1529 w 10000"/>
              <a:gd name="connsiteY16" fmla="*/ 5263 h 9825"/>
              <a:gd name="connsiteX17" fmla="*/ 1621 w 10000"/>
              <a:gd name="connsiteY17" fmla="*/ 5296 h 9825"/>
              <a:gd name="connsiteX18" fmla="*/ 1713 w 10000"/>
              <a:gd name="connsiteY18" fmla="*/ 5330 h 9825"/>
              <a:gd name="connsiteX19" fmla="*/ 1806 w 10000"/>
              <a:gd name="connsiteY19" fmla="*/ 5364 h 9825"/>
              <a:gd name="connsiteX20" fmla="*/ 1897 w 10000"/>
              <a:gd name="connsiteY20" fmla="*/ 5403 h 9825"/>
              <a:gd name="connsiteX21" fmla="*/ 1989 w 10000"/>
              <a:gd name="connsiteY21" fmla="*/ 5442 h 9825"/>
              <a:gd name="connsiteX22" fmla="*/ 2074 w 10000"/>
              <a:gd name="connsiteY22" fmla="*/ 5487 h 9825"/>
              <a:gd name="connsiteX23" fmla="*/ 2160 w 10000"/>
              <a:gd name="connsiteY23" fmla="*/ 5527 h 9825"/>
              <a:gd name="connsiteX24" fmla="*/ 2245 w 10000"/>
              <a:gd name="connsiteY24" fmla="*/ 5572 h 9825"/>
              <a:gd name="connsiteX25" fmla="*/ 2323 w 10000"/>
              <a:gd name="connsiteY25" fmla="*/ 5617 h 9825"/>
              <a:gd name="connsiteX26" fmla="*/ 2408 w 10000"/>
              <a:gd name="connsiteY26" fmla="*/ 5668 h 9825"/>
              <a:gd name="connsiteX27" fmla="*/ 2486 w 10000"/>
              <a:gd name="connsiteY27" fmla="*/ 5718 h 9825"/>
              <a:gd name="connsiteX28" fmla="*/ 2567 w 10000"/>
              <a:gd name="connsiteY28" fmla="*/ 5769 h 9825"/>
              <a:gd name="connsiteX29" fmla="*/ 2645 w 10000"/>
              <a:gd name="connsiteY29" fmla="*/ 5819 h 9825"/>
              <a:gd name="connsiteX30" fmla="*/ 2724 w 10000"/>
              <a:gd name="connsiteY30" fmla="*/ 5876 h 9825"/>
              <a:gd name="connsiteX31" fmla="*/ 2796 w 10000"/>
              <a:gd name="connsiteY31" fmla="*/ 5932 h 9825"/>
              <a:gd name="connsiteX32" fmla="*/ 2867 w 10000"/>
              <a:gd name="connsiteY32" fmla="*/ 5989 h 9825"/>
              <a:gd name="connsiteX33" fmla="*/ 2940 w 10000"/>
              <a:gd name="connsiteY33" fmla="*/ 6051 h 9825"/>
              <a:gd name="connsiteX34" fmla="*/ 3006 w 10000"/>
              <a:gd name="connsiteY34" fmla="*/ 6112 h 9825"/>
              <a:gd name="connsiteX35" fmla="*/ 3078 w 10000"/>
              <a:gd name="connsiteY35" fmla="*/ 6174 h 9825"/>
              <a:gd name="connsiteX36" fmla="*/ 3143 w 10000"/>
              <a:gd name="connsiteY36" fmla="*/ 6236 h 9825"/>
              <a:gd name="connsiteX37" fmla="*/ 3202 w 10000"/>
              <a:gd name="connsiteY37" fmla="*/ 6303 h 9825"/>
              <a:gd name="connsiteX38" fmla="*/ 3268 w 10000"/>
              <a:gd name="connsiteY38" fmla="*/ 6366 h 9825"/>
              <a:gd name="connsiteX39" fmla="*/ 3327 w 10000"/>
              <a:gd name="connsiteY39" fmla="*/ 6433 h 9825"/>
              <a:gd name="connsiteX40" fmla="*/ 3386 w 10000"/>
              <a:gd name="connsiteY40" fmla="*/ 6500 h 9825"/>
              <a:gd name="connsiteX41" fmla="*/ 3445 w 10000"/>
              <a:gd name="connsiteY41" fmla="*/ 6568 h 9825"/>
              <a:gd name="connsiteX42" fmla="*/ 3497 w 10000"/>
              <a:gd name="connsiteY42" fmla="*/ 6641 h 9825"/>
              <a:gd name="connsiteX43" fmla="*/ 3550 w 10000"/>
              <a:gd name="connsiteY43" fmla="*/ 6714 h 9825"/>
              <a:gd name="connsiteX44" fmla="*/ 3602 w 10000"/>
              <a:gd name="connsiteY44" fmla="*/ 6788 h 9825"/>
              <a:gd name="connsiteX45" fmla="*/ 3656 w 10000"/>
              <a:gd name="connsiteY45" fmla="*/ 6860 h 9825"/>
              <a:gd name="connsiteX46" fmla="*/ 3695 w 10000"/>
              <a:gd name="connsiteY46" fmla="*/ 6939 h 9825"/>
              <a:gd name="connsiteX47" fmla="*/ 3747 w 10000"/>
              <a:gd name="connsiteY47" fmla="*/ 7018 h 9825"/>
              <a:gd name="connsiteX48" fmla="*/ 3786 w 10000"/>
              <a:gd name="connsiteY48" fmla="*/ 7091 h 9825"/>
              <a:gd name="connsiteX49" fmla="*/ 3826 w 10000"/>
              <a:gd name="connsiteY49" fmla="*/ 7170 h 9825"/>
              <a:gd name="connsiteX50" fmla="*/ 3865 w 10000"/>
              <a:gd name="connsiteY50" fmla="*/ 7249 h 9825"/>
              <a:gd name="connsiteX51" fmla="*/ 3898 w 10000"/>
              <a:gd name="connsiteY51" fmla="*/ 7328 h 9825"/>
              <a:gd name="connsiteX52" fmla="*/ 3930 w 10000"/>
              <a:gd name="connsiteY52" fmla="*/ 7412 h 9825"/>
              <a:gd name="connsiteX53" fmla="*/ 3963 w 10000"/>
              <a:gd name="connsiteY53" fmla="*/ 7496 h 9825"/>
              <a:gd name="connsiteX54" fmla="*/ 3996 w 10000"/>
              <a:gd name="connsiteY54" fmla="*/ 7575 h 9825"/>
              <a:gd name="connsiteX55" fmla="*/ 4022 w 10000"/>
              <a:gd name="connsiteY55" fmla="*/ 7660 h 9825"/>
              <a:gd name="connsiteX56" fmla="*/ 4042 w 10000"/>
              <a:gd name="connsiteY56" fmla="*/ 7744 h 9825"/>
              <a:gd name="connsiteX57" fmla="*/ 4069 w 10000"/>
              <a:gd name="connsiteY57" fmla="*/ 7834 h 9825"/>
              <a:gd name="connsiteX58" fmla="*/ 4088 w 10000"/>
              <a:gd name="connsiteY58" fmla="*/ 7919 h 9825"/>
              <a:gd name="connsiteX59" fmla="*/ 4108 w 10000"/>
              <a:gd name="connsiteY59" fmla="*/ 8003 h 9825"/>
              <a:gd name="connsiteX60" fmla="*/ 7213 w 10000"/>
              <a:gd name="connsiteY60" fmla="*/ 8298 h 9825"/>
              <a:gd name="connsiteX61" fmla="*/ 9889 w 10000"/>
              <a:gd name="connsiteY61" fmla="*/ 9825 h 9825"/>
              <a:gd name="connsiteX62" fmla="*/ 9915 w 10000"/>
              <a:gd name="connsiteY62" fmla="*/ 9645 h 9825"/>
              <a:gd name="connsiteX63" fmla="*/ 9941 w 10000"/>
              <a:gd name="connsiteY63" fmla="*/ 9465 h 9825"/>
              <a:gd name="connsiteX64" fmla="*/ 9961 w 10000"/>
              <a:gd name="connsiteY64" fmla="*/ 9279 h 9825"/>
              <a:gd name="connsiteX65" fmla="*/ 9974 w 10000"/>
              <a:gd name="connsiteY65" fmla="*/ 9093 h 9825"/>
              <a:gd name="connsiteX66" fmla="*/ 9987 w 10000"/>
              <a:gd name="connsiteY66" fmla="*/ 8913 h 9825"/>
              <a:gd name="connsiteX67" fmla="*/ 9993 w 10000"/>
              <a:gd name="connsiteY67" fmla="*/ 8729 h 9825"/>
              <a:gd name="connsiteX68" fmla="*/ 10000 w 10000"/>
              <a:gd name="connsiteY68" fmla="*/ 8543 h 9825"/>
              <a:gd name="connsiteX69" fmla="*/ 9993 w 10000"/>
              <a:gd name="connsiteY69" fmla="*/ 8319 h 9825"/>
              <a:gd name="connsiteX70" fmla="*/ 9987 w 10000"/>
              <a:gd name="connsiteY70" fmla="*/ 8104 h 9825"/>
              <a:gd name="connsiteX71" fmla="*/ 9967 w 10000"/>
              <a:gd name="connsiteY71" fmla="*/ 7885 h 9825"/>
              <a:gd name="connsiteX72" fmla="*/ 9948 w 10000"/>
              <a:gd name="connsiteY72" fmla="*/ 7671 h 9825"/>
              <a:gd name="connsiteX73" fmla="*/ 9915 w 10000"/>
              <a:gd name="connsiteY73" fmla="*/ 7451 h 9825"/>
              <a:gd name="connsiteX74" fmla="*/ 9882 w 10000"/>
              <a:gd name="connsiteY74" fmla="*/ 7244 h 9825"/>
              <a:gd name="connsiteX75" fmla="*/ 9843 w 10000"/>
              <a:gd name="connsiteY75" fmla="*/ 7030 h 9825"/>
              <a:gd name="connsiteX76" fmla="*/ 9796 w 10000"/>
              <a:gd name="connsiteY76" fmla="*/ 6821 h 9825"/>
              <a:gd name="connsiteX77" fmla="*/ 9744 w 10000"/>
              <a:gd name="connsiteY77" fmla="*/ 6613 h 9825"/>
              <a:gd name="connsiteX78" fmla="*/ 9685 w 10000"/>
              <a:gd name="connsiteY78" fmla="*/ 6411 h 9825"/>
              <a:gd name="connsiteX79" fmla="*/ 9620 w 10000"/>
              <a:gd name="connsiteY79" fmla="*/ 6202 h 9825"/>
              <a:gd name="connsiteX80" fmla="*/ 9555 w 10000"/>
              <a:gd name="connsiteY80" fmla="*/ 5999 h 9825"/>
              <a:gd name="connsiteX81" fmla="*/ 9475 w 10000"/>
              <a:gd name="connsiteY81" fmla="*/ 5802 h 9825"/>
              <a:gd name="connsiteX82" fmla="*/ 9396 w 10000"/>
              <a:gd name="connsiteY82" fmla="*/ 5605 h 9825"/>
              <a:gd name="connsiteX83" fmla="*/ 9304 w 10000"/>
              <a:gd name="connsiteY83" fmla="*/ 5409 h 9825"/>
              <a:gd name="connsiteX84" fmla="*/ 9213 w 10000"/>
              <a:gd name="connsiteY84" fmla="*/ 5219 h 9825"/>
              <a:gd name="connsiteX85" fmla="*/ 9121 w 10000"/>
              <a:gd name="connsiteY85" fmla="*/ 5027 h 9825"/>
              <a:gd name="connsiteX86" fmla="*/ 9016 w 10000"/>
              <a:gd name="connsiteY86" fmla="*/ 4841 h 9825"/>
              <a:gd name="connsiteX87" fmla="*/ 8911 w 10000"/>
              <a:gd name="connsiteY87" fmla="*/ 4656 h 9825"/>
              <a:gd name="connsiteX88" fmla="*/ 8800 w 10000"/>
              <a:gd name="connsiteY88" fmla="*/ 4470 h 9825"/>
              <a:gd name="connsiteX89" fmla="*/ 8682 w 10000"/>
              <a:gd name="connsiteY89" fmla="*/ 4290 h 9825"/>
              <a:gd name="connsiteX90" fmla="*/ 8557 w 10000"/>
              <a:gd name="connsiteY90" fmla="*/ 4116 h 9825"/>
              <a:gd name="connsiteX91" fmla="*/ 8432 w 10000"/>
              <a:gd name="connsiteY91" fmla="*/ 3941 h 9825"/>
              <a:gd name="connsiteX92" fmla="*/ 8300 w 10000"/>
              <a:gd name="connsiteY92" fmla="*/ 3767 h 9825"/>
              <a:gd name="connsiteX93" fmla="*/ 8162 w 10000"/>
              <a:gd name="connsiteY93" fmla="*/ 3598 h 9825"/>
              <a:gd name="connsiteX94" fmla="*/ 8018 w 10000"/>
              <a:gd name="connsiteY94" fmla="*/ 3434 h 9825"/>
              <a:gd name="connsiteX95" fmla="*/ 7873 w 10000"/>
              <a:gd name="connsiteY95" fmla="*/ 3271 h 9825"/>
              <a:gd name="connsiteX96" fmla="*/ 7723 w 10000"/>
              <a:gd name="connsiteY96" fmla="*/ 3108 h 9825"/>
              <a:gd name="connsiteX97" fmla="*/ 7573 w 10000"/>
              <a:gd name="connsiteY97" fmla="*/ 2956 h 9825"/>
              <a:gd name="connsiteX98" fmla="*/ 7407 w 10000"/>
              <a:gd name="connsiteY98" fmla="*/ 2805 h 9825"/>
              <a:gd name="connsiteX99" fmla="*/ 7250 w 10000"/>
              <a:gd name="connsiteY99" fmla="*/ 2652 h 9825"/>
              <a:gd name="connsiteX100" fmla="*/ 7080 w 10000"/>
              <a:gd name="connsiteY100" fmla="*/ 2501 h 9825"/>
              <a:gd name="connsiteX101" fmla="*/ 6910 w 10000"/>
              <a:gd name="connsiteY101" fmla="*/ 2359 h 9825"/>
              <a:gd name="connsiteX102" fmla="*/ 6740 w 10000"/>
              <a:gd name="connsiteY102" fmla="*/ 2219 h 9825"/>
              <a:gd name="connsiteX103" fmla="*/ 6556 w 10000"/>
              <a:gd name="connsiteY103" fmla="*/ 2085 h 9825"/>
              <a:gd name="connsiteX104" fmla="*/ 6372 w 10000"/>
              <a:gd name="connsiteY104" fmla="*/ 1955 h 9825"/>
              <a:gd name="connsiteX105" fmla="*/ 6188 w 10000"/>
              <a:gd name="connsiteY105" fmla="*/ 1826 h 9825"/>
              <a:gd name="connsiteX106" fmla="*/ 5998 w 10000"/>
              <a:gd name="connsiteY106" fmla="*/ 1702 h 9825"/>
              <a:gd name="connsiteX107" fmla="*/ 5801 w 10000"/>
              <a:gd name="connsiteY107" fmla="*/ 1579 h 9825"/>
              <a:gd name="connsiteX108" fmla="*/ 5605 w 10000"/>
              <a:gd name="connsiteY108" fmla="*/ 1460 h 9825"/>
              <a:gd name="connsiteX109" fmla="*/ 5407 w 10000"/>
              <a:gd name="connsiteY109" fmla="*/ 1348 h 9825"/>
              <a:gd name="connsiteX110" fmla="*/ 5204 w 10000"/>
              <a:gd name="connsiteY110" fmla="*/ 1241 h 9825"/>
              <a:gd name="connsiteX111" fmla="*/ 5001 w 10000"/>
              <a:gd name="connsiteY111" fmla="*/ 1134 h 9825"/>
              <a:gd name="connsiteX112" fmla="*/ 4783 w 10000"/>
              <a:gd name="connsiteY112" fmla="*/ 1033 h 9825"/>
              <a:gd name="connsiteX113" fmla="*/ 4574 w 10000"/>
              <a:gd name="connsiteY113" fmla="*/ 937 h 9825"/>
              <a:gd name="connsiteX114" fmla="*/ 4356 w 10000"/>
              <a:gd name="connsiteY114" fmla="*/ 848 h 9825"/>
              <a:gd name="connsiteX115" fmla="*/ 4134 w 10000"/>
              <a:gd name="connsiteY115" fmla="*/ 757 h 9825"/>
              <a:gd name="connsiteX116" fmla="*/ 3917 w 10000"/>
              <a:gd name="connsiteY116" fmla="*/ 673 h 9825"/>
              <a:gd name="connsiteX117" fmla="*/ 3695 w 10000"/>
              <a:gd name="connsiteY117" fmla="*/ 600 h 9825"/>
              <a:gd name="connsiteX118" fmla="*/ 3464 w 10000"/>
              <a:gd name="connsiteY118" fmla="*/ 521 h 9825"/>
              <a:gd name="connsiteX119" fmla="*/ 3234 w 10000"/>
              <a:gd name="connsiteY119" fmla="*/ 454 h 9825"/>
              <a:gd name="connsiteX120" fmla="*/ 2999 w 10000"/>
              <a:gd name="connsiteY120" fmla="*/ 385 h 9825"/>
              <a:gd name="connsiteX121" fmla="*/ 2769 w 10000"/>
              <a:gd name="connsiteY121" fmla="*/ 330 h 9825"/>
              <a:gd name="connsiteX122" fmla="*/ 2528 w 10000"/>
              <a:gd name="connsiteY122" fmla="*/ 274 h 9825"/>
              <a:gd name="connsiteX123" fmla="*/ 2284 w 10000"/>
              <a:gd name="connsiteY123" fmla="*/ 222 h 9825"/>
              <a:gd name="connsiteX124" fmla="*/ 2047 w 10000"/>
              <a:gd name="connsiteY124" fmla="*/ 178 h 9825"/>
              <a:gd name="connsiteX125" fmla="*/ 1806 w 10000"/>
              <a:gd name="connsiteY125" fmla="*/ 138 h 9825"/>
              <a:gd name="connsiteX126" fmla="*/ 1555 w 10000"/>
              <a:gd name="connsiteY126" fmla="*/ 99 h 9825"/>
              <a:gd name="connsiteX127" fmla="*/ 1305 w 10000"/>
              <a:gd name="connsiteY127" fmla="*/ 71 h 9825"/>
              <a:gd name="connsiteX128" fmla="*/ 1057 w 10000"/>
              <a:gd name="connsiteY128" fmla="*/ 48 h 9825"/>
              <a:gd name="connsiteX129" fmla="*/ 807 w 10000"/>
              <a:gd name="connsiteY129" fmla="*/ 32 h 9825"/>
              <a:gd name="connsiteX130" fmla="*/ 551 w 10000"/>
              <a:gd name="connsiteY130" fmla="*/ 15 h 9825"/>
              <a:gd name="connsiteX131" fmla="*/ 295 w 10000"/>
              <a:gd name="connsiteY131" fmla="*/ 8 h 9825"/>
              <a:gd name="connsiteX132" fmla="*/ 39 w 10000"/>
              <a:gd name="connsiteY132" fmla="*/ 3 h 9825"/>
              <a:gd name="connsiteX133" fmla="*/ 0 w 10000"/>
              <a:gd name="connsiteY133" fmla="*/ 0 h 9825"/>
              <a:gd name="connsiteX134" fmla="*/ 1210 w 10000"/>
              <a:gd name="connsiteY134" fmla="*/ 2574 h 9825"/>
              <a:gd name="connsiteX135" fmla="*/ 7 w 10000"/>
              <a:gd name="connsiteY135" fmla="*/ 5022 h 9825"/>
              <a:gd name="connsiteX0" fmla="*/ 7 w 10000"/>
              <a:gd name="connsiteY0" fmla="*/ 5111 h 9817"/>
              <a:gd name="connsiteX1" fmla="*/ 20 w 10000"/>
              <a:gd name="connsiteY1" fmla="*/ 5105 h 9817"/>
              <a:gd name="connsiteX2" fmla="*/ 124 w 10000"/>
              <a:gd name="connsiteY2" fmla="*/ 5105 h 9817"/>
              <a:gd name="connsiteX3" fmla="*/ 230 w 10000"/>
              <a:gd name="connsiteY3" fmla="*/ 5111 h 9817"/>
              <a:gd name="connsiteX4" fmla="*/ 335 w 10000"/>
              <a:gd name="connsiteY4" fmla="*/ 5117 h 9817"/>
              <a:gd name="connsiteX5" fmla="*/ 439 w 10000"/>
              <a:gd name="connsiteY5" fmla="*/ 5123 h 9817"/>
              <a:gd name="connsiteX6" fmla="*/ 545 w 10000"/>
              <a:gd name="connsiteY6" fmla="*/ 5139 h 9817"/>
              <a:gd name="connsiteX7" fmla="*/ 650 w 10000"/>
              <a:gd name="connsiteY7" fmla="*/ 5151 h 9817"/>
              <a:gd name="connsiteX8" fmla="*/ 748 w 10000"/>
              <a:gd name="connsiteY8" fmla="*/ 5163 h 9817"/>
              <a:gd name="connsiteX9" fmla="*/ 846 w 10000"/>
              <a:gd name="connsiteY9" fmla="*/ 5180 h 9817"/>
              <a:gd name="connsiteX10" fmla="*/ 952 w 10000"/>
              <a:gd name="connsiteY10" fmla="*/ 5197 h 9817"/>
              <a:gd name="connsiteX11" fmla="*/ 1050 w 10000"/>
              <a:gd name="connsiteY11" fmla="*/ 5219 h 9817"/>
              <a:gd name="connsiteX12" fmla="*/ 1148 w 10000"/>
              <a:gd name="connsiteY12" fmla="*/ 5243 h 9817"/>
              <a:gd name="connsiteX13" fmla="*/ 1246 w 10000"/>
              <a:gd name="connsiteY13" fmla="*/ 5266 h 9817"/>
              <a:gd name="connsiteX14" fmla="*/ 1339 w 10000"/>
              <a:gd name="connsiteY14" fmla="*/ 5295 h 9817"/>
              <a:gd name="connsiteX15" fmla="*/ 1437 w 10000"/>
              <a:gd name="connsiteY15" fmla="*/ 5323 h 9817"/>
              <a:gd name="connsiteX16" fmla="*/ 1529 w 10000"/>
              <a:gd name="connsiteY16" fmla="*/ 5357 h 9817"/>
              <a:gd name="connsiteX17" fmla="*/ 1621 w 10000"/>
              <a:gd name="connsiteY17" fmla="*/ 5390 h 9817"/>
              <a:gd name="connsiteX18" fmla="*/ 1713 w 10000"/>
              <a:gd name="connsiteY18" fmla="*/ 5425 h 9817"/>
              <a:gd name="connsiteX19" fmla="*/ 1806 w 10000"/>
              <a:gd name="connsiteY19" fmla="*/ 5460 h 9817"/>
              <a:gd name="connsiteX20" fmla="*/ 1897 w 10000"/>
              <a:gd name="connsiteY20" fmla="*/ 5499 h 9817"/>
              <a:gd name="connsiteX21" fmla="*/ 1989 w 10000"/>
              <a:gd name="connsiteY21" fmla="*/ 5539 h 9817"/>
              <a:gd name="connsiteX22" fmla="*/ 2074 w 10000"/>
              <a:gd name="connsiteY22" fmla="*/ 5585 h 9817"/>
              <a:gd name="connsiteX23" fmla="*/ 2160 w 10000"/>
              <a:gd name="connsiteY23" fmla="*/ 5625 h 9817"/>
              <a:gd name="connsiteX24" fmla="*/ 2245 w 10000"/>
              <a:gd name="connsiteY24" fmla="*/ 5671 h 9817"/>
              <a:gd name="connsiteX25" fmla="*/ 2323 w 10000"/>
              <a:gd name="connsiteY25" fmla="*/ 5717 h 9817"/>
              <a:gd name="connsiteX26" fmla="*/ 2408 w 10000"/>
              <a:gd name="connsiteY26" fmla="*/ 5769 h 9817"/>
              <a:gd name="connsiteX27" fmla="*/ 2486 w 10000"/>
              <a:gd name="connsiteY27" fmla="*/ 5820 h 9817"/>
              <a:gd name="connsiteX28" fmla="*/ 2567 w 10000"/>
              <a:gd name="connsiteY28" fmla="*/ 5872 h 9817"/>
              <a:gd name="connsiteX29" fmla="*/ 2645 w 10000"/>
              <a:gd name="connsiteY29" fmla="*/ 5923 h 9817"/>
              <a:gd name="connsiteX30" fmla="*/ 2724 w 10000"/>
              <a:gd name="connsiteY30" fmla="*/ 5981 h 9817"/>
              <a:gd name="connsiteX31" fmla="*/ 2796 w 10000"/>
              <a:gd name="connsiteY31" fmla="*/ 6038 h 9817"/>
              <a:gd name="connsiteX32" fmla="*/ 2867 w 10000"/>
              <a:gd name="connsiteY32" fmla="*/ 6096 h 9817"/>
              <a:gd name="connsiteX33" fmla="*/ 2940 w 10000"/>
              <a:gd name="connsiteY33" fmla="*/ 6159 h 9817"/>
              <a:gd name="connsiteX34" fmla="*/ 3006 w 10000"/>
              <a:gd name="connsiteY34" fmla="*/ 6221 h 9817"/>
              <a:gd name="connsiteX35" fmla="*/ 3078 w 10000"/>
              <a:gd name="connsiteY35" fmla="*/ 6284 h 9817"/>
              <a:gd name="connsiteX36" fmla="*/ 3143 w 10000"/>
              <a:gd name="connsiteY36" fmla="*/ 6347 h 9817"/>
              <a:gd name="connsiteX37" fmla="*/ 3202 w 10000"/>
              <a:gd name="connsiteY37" fmla="*/ 6415 h 9817"/>
              <a:gd name="connsiteX38" fmla="*/ 3268 w 10000"/>
              <a:gd name="connsiteY38" fmla="*/ 6479 h 9817"/>
              <a:gd name="connsiteX39" fmla="*/ 3327 w 10000"/>
              <a:gd name="connsiteY39" fmla="*/ 6548 h 9817"/>
              <a:gd name="connsiteX40" fmla="*/ 3386 w 10000"/>
              <a:gd name="connsiteY40" fmla="*/ 6616 h 9817"/>
              <a:gd name="connsiteX41" fmla="*/ 3445 w 10000"/>
              <a:gd name="connsiteY41" fmla="*/ 6685 h 9817"/>
              <a:gd name="connsiteX42" fmla="*/ 3497 w 10000"/>
              <a:gd name="connsiteY42" fmla="*/ 6759 h 9817"/>
              <a:gd name="connsiteX43" fmla="*/ 3550 w 10000"/>
              <a:gd name="connsiteY43" fmla="*/ 6834 h 9817"/>
              <a:gd name="connsiteX44" fmla="*/ 3602 w 10000"/>
              <a:gd name="connsiteY44" fmla="*/ 6909 h 9817"/>
              <a:gd name="connsiteX45" fmla="*/ 3656 w 10000"/>
              <a:gd name="connsiteY45" fmla="*/ 6982 h 9817"/>
              <a:gd name="connsiteX46" fmla="*/ 3695 w 10000"/>
              <a:gd name="connsiteY46" fmla="*/ 7063 h 9817"/>
              <a:gd name="connsiteX47" fmla="*/ 3747 w 10000"/>
              <a:gd name="connsiteY47" fmla="*/ 7143 h 9817"/>
              <a:gd name="connsiteX48" fmla="*/ 3786 w 10000"/>
              <a:gd name="connsiteY48" fmla="*/ 7217 h 9817"/>
              <a:gd name="connsiteX49" fmla="*/ 3826 w 10000"/>
              <a:gd name="connsiteY49" fmla="*/ 7298 h 9817"/>
              <a:gd name="connsiteX50" fmla="*/ 3865 w 10000"/>
              <a:gd name="connsiteY50" fmla="*/ 7378 h 9817"/>
              <a:gd name="connsiteX51" fmla="*/ 3898 w 10000"/>
              <a:gd name="connsiteY51" fmla="*/ 7459 h 9817"/>
              <a:gd name="connsiteX52" fmla="*/ 3930 w 10000"/>
              <a:gd name="connsiteY52" fmla="*/ 7544 h 9817"/>
              <a:gd name="connsiteX53" fmla="*/ 3963 w 10000"/>
              <a:gd name="connsiteY53" fmla="*/ 7630 h 9817"/>
              <a:gd name="connsiteX54" fmla="*/ 3996 w 10000"/>
              <a:gd name="connsiteY54" fmla="*/ 7710 h 9817"/>
              <a:gd name="connsiteX55" fmla="*/ 4022 w 10000"/>
              <a:gd name="connsiteY55" fmla="*/ 7796 h 9817"/>
              <a:gd name="connsiteX56" fmla="*/ 4042 w 10000"/>
              <a:gd name="connsiteY56" fmla="*/ 7882 h 9817"/>
              <a:gd name="connsiteX57" fmla="*/ 4069 w 10000"/>
              <a:gd name="connsiteY57" fmla="*/ 7974 h 9817"/>
              <a:gd name="connsiteX58" fmla="*/ 4088 w 10000"/>
              <a:gd name="connsiteY58" fmla="*/ 8060 h 9817"/>
              <a:gd name="connsiteX59" fmla="*/ 4108 w 10000"/>
              <a:gd name="connsiteY59" fmla="*/ 8146 h 9817"/>
              <a:gd name="connsiteX60" fmla="*/ 7213 w 10000"/>
              <a:gd name="connsiteY60" fmla="*/ 8446 h 9817"/>
              <a:gd name="connsiteX61" fmla="*/ 9915 w 10000"/>
              <a:gd name="connsiteY61" fmla="*/ 9817 h 9817"/>
              <a:gd name="connsiteX62" fmla="*/ 9941 w 10000"/>
              <a:gd name="connsiteY62" fmla="*/ 9634 h 9817"/>
              <a:gd name="connsiteX63" fmla="*/ 9961 w 10000"/>
              <a:gd name="connsiteY63" fmla="*/ 9444 h 9817"/>
              <a:gd name="connsiteX64" fmla="*/ 9974 w 10000"/>
              <a:gd name="connsiteY64" fmla="*/ 9255 h 9817"/>
              <a:gd name="connsiteX65" fmla="*/ 9987 w 10000"/>
              <a:gd name="connsiteY65" fmla="*/ 9072 h 9817"/>
              <a:gd name="connsiteX66" fmla="*/ 9993 w 10000"/>
              <a:gd name="connsiteY66" fmla="*/ 8884 h 9817"/>
              <a:gd name="connsiteX67" fmla="*/ 10000 w 10000"/>
              <a:gd name="connsiteY67" fmla="*/ 8695 h 9817"/>
              <a:gd name="connsiteX68" fmla="*/ 9993 w 10000"/>
              <a:gd name="connsiteY68" fmla="*/ 8467 h 9817"/>
              <a:gd name="connsiteX69" fmla="*/ 9987 w 10000"/>
              <a:gd name="connsiteY69" fmla="*/ 8248 h 9817"/>
              <a:gd name="connsiteX70" fmla="*/ 9967 w 10000"/>
              <a:gd name="connsiteY70" fmla="*/ 8025 h 9817"/>
              <a:gd name="connsiteX71" fmla="*/ 9948 w 10000"/>
              <a:gd name="connsiteY71" fmla="*/ 7808 h 9817"/>
              <a:gd name="connsiteX72" fmla="*/ 9915 w 10000"/>
              <a:gd name="connsiteY72" fmla="*/ 7584 h 9817"/>
              <a:gd name="connsiteX73" fmla="*/ 9882 w 10000"/>
              <a:gd name="connsiteY73" fmla="*/ 7373 h 9817"/>
              <a:gd name="connsiteX74" fmla="*/ 9843 w 10000"/>
              <a:gd name="connsiteY74" fmla="*/ 7155 h 9817"/>
              <a:gd name="connsiteX75" fmla="*/ 9796 w 10000"/>
              <a:gd name="connsiteY75" fmla="*/ 6942 h 9817"/>
              <a:gd name="connsiteX76" fmla="*/ 9744 w 10000"/>
              <a:gd name="connsiteY76" fmla="*/ 6731 h 9817"/>
              <a:gd name="connsiteX77" fmla="*/ 9685 w 10000"/>
              <a:gd name="connsiteY77" fmla="*/ 6525 h 9817"/>
              <a:gd name="connsiteX78" fmla="*/ 9620 w 10000"/>
              <a:gd name="connsiteY78" fmla="*/ 6312 h 9817"/>
              <a:gd name="connsiteX79" fmla="*/ 9555 w 10000"/>
              <a:gd name="connsiteY79" fmla="*/ 6106 h 9817"/>
              <a:gd name="connsiteX80" fmla="*/ 9475 w 10000"/>
              <a:gd name="connsiteY80" fmla="*/ 5905 h 9817"/>
              <a:gd name="connsiteX81" fmla="*/ 9396 w 10000"/>
              <a:gd name="connsiteY81" fmla="*/ 5705 h 9817"/>
              <a:gd name="connsiteX82" fmla="*/ 9304 w 10000"/>
              <a:gd name="connsiteY82" fmla="*/ 5505 h 9817"/>
              <a:gd name="connsiteX83" fmla="*/ 9213 w 10000"/>
              <a:gd name="connsiteY83" fmla="*/ 5312 h 9817"/>
              <a:gd name="connsiteX84" fmla="*/ 9121 w 10000"/>
              <a:gd name="connsiteY84" fmla="*/ 5117 h 9817"/>
              <a:gd name="connsiteX85" fmla="*/ 9016 w 10000"/>
              <a:gd name="connsiteY85" fmla="*/ 4927 h 9817"/>
              <a:gd name="connsiteX86" fmla="*/ 8911 w 10000"/>
              <a:gd name="connsiteY86" fmla="*/ 4739 h 9817"/>
              <a:gd name="connsiteX87" fmla="*/ 8800 w 10000"/>
              <a:gd name="connsiteY87" fmla="*/ 4550 h 9817"/>
              <a:gd name="connsiteX88" fmla="*/ 8682 w 10000"/>
              <a:gd name="connsiteY88" fmla="*/ 4366 h 9817"/>
              <a:gd name="connsiteX89" fmla="*/ 8557 w 10000"/>
              <a:gd name="connsiteY89" fmla="*/ 4189 h 9817"/>
              <a:gd name="connsiteX90" fmla="*/ 8432 w 10000"/>
              <a:gd name="connsiteY90" fmla="*/ 4011 h 9817"/>
              <a:gd name="connsiteX91" fmla="*/ 8300 w 10000"/>
              <a:gd name="connsiteY91" fmla="*/ 3834 h 9817"/>
              <a:gd name="connsiteX92" fmla="*/ 8162 w 10000"/>
              <a:gd name="connsiteY92" fmla="*/ 3662 h 9817"/>
              <a:gd name="connsiteX93" fmla="*/ 8018 w 10000"/>
              <a:gd name="connsiteY93" fmla="*/ 3495 h 9817"/>
              <a:gd name="connsiteX94" fmla="*/ 7873 w 10000"/>
              <a:gd name="connsiteY94" fmla="*/ 3329 h 9817"/>
              <a:gd name="connsiteX95" fmla="*/ 7723 w 10000"/>
              <a:gd name="connsiteY95" fmla="*/ 3163 h 9817"/>
              <a:gd name="connsiteX96" fmla="*/ 7573 w 10000"/>
              <a:gd name="connsiteY96" fmla="*/ 3009 h 9817"/>
              <a:gd name="connsiteX97" fmla="*/ 7407 w 10000"/>
              <a:gd name="connsiteY97" fmla="*/ 2855 h 9817"/>
              <a:gd name="connsiteX98" fmla="*/ 7250 w 10000"/>
              <a:gd name="connsiteY98" fmla="*/ 2699 h 9817"/>
              <a:gd name="connsiteX99" fmla="*/ 7080 w 10000"/>
              <a:gd name="connsiteY99" fmla="*/ 2546 h 9817"/>
              <a:gd name="connsiteX100" fmla="*/ 6910 w 10000"/>
              <a:gd name="connsiteY100" fmla="*/ 2401 h 9817"/>
              <a:gd name="connsiteX101" fmla="*/ 6740 w 10000"/>
              <a:gd name="connsiteY101" fmla="*/ 2259 h 9817"/>
              <a:gd name="connsiteX102" fmla="*/ 6556 w 10000"/>
              <a:gd name="connsiteY102" fmla="*/ 2122 h 9817"/>
              <a:gd name="connsiteX103" fmla="*/ 6372 w 10000"/>
              <a:gd name="connsiteY103" fmla="*/ 1990 h 9817"/>
              <a:gd name="connsiteX104" fmla="*/ 6188 w 10000"/>
              <a:gd name="connsiteY104" fmla="*/ 1859 h 9817"/>
              <a:gd name="connsiteX105" fmla="*/ 5998 w 10000"/>
              <a:gd name="connsiteY105" fmla="*/ 1732 h 9817"/>
              <a:gd name="connsiteX106" fmla="*/ 5801 w 10000"/>
              <a:gd name="connsiteY106" fmla="*/ 1607 h 9817"/>
              <a:gd name="connsiteX107" fmla="*/ 5605 w 10000"/>
              <a:gd name="connsiteY107" fmla="*/ 1486 h 9817"/>
              <a:gd name="connsiteX108" fmla="*/ 5407 w 10000"/>
              <a:gd name="connsiteY108" fmla="*/ 1372 h 9817"/>
              <a:gd name="connsiteX109" fmla="*/ 5204 w 10000"/>
              <a:gd name="connsiteY109" fmla="*/ 1263 h 9817"/>
              <a:gd name="connsiteX110" fmla="*/ 5001 w 10000"/>
              <a:gd name="connsiteY110" fmla="*/ 1154 h 9817"/>
              <a:gd name="connsiteX111" fmla="*/ 4783 w 10000"/>
              <a:gd name="connsiteY111" fmla="*/ 1051 h 9817"/>
              <a:gd name="connsiteX112" fmla="*/ 4574 w 10000"/>
              <a:gd name="connsiteY112" fmla="*/ 954 h 9817"/>
              <a:gd name="connsiteX113" fmla="*/ 4356 w 10000"/>
              <a:gd name="connsiteY113" fmla="*/ 863 h 9817"/>
              <a:gd name="connsiteX114" fmla="*/ 4134 w 10000"/>
              <a:gd name="connsiteY114" fmla="*/ 770 h 9817"/>
              <a:gd name="connsiteX115" fmla="*/ 3917 w 10000"/>
              <a:gd name="connsiteY115" fmla="*/ 685 h 9817"/>
              <a:gd name="connsiteX116" fmla="*/ 3695 w 10000"/>
              <a:gd name="connsiteY116" fmla="*/ 611 h 9817"/>
              <a:gd name="connsiteX117" fmla="*/ 3464 w 10000"/>
              <a:gd name="connsiteY117" fmla="*/ 530 h 9817"/>
              <a:gd name="connsiteX118" fmla="*/ 3234 w 10000"/>
              <a:gd name="connsiteY118" fmla="*/ 462 h 9817"/>
              <a:gd name="connsiteX119" fmla="*/ 2999 w 10000"/>
              <a:gd name="connsiteY119" fmla="*/ 392 h 9817"/>
              <a:gd name="connsiteX120" fmla="*/ 2769 w 10000"/>
              <a:gd name="connsiteY120" fmla="*/ 336 h 9817"/>
              <a:gd name="connsiteX121" fmla="*/ 2528 w 10000"/>
              <a:gd name="connsiteY121" fmla="*/ 279 h 9817"/>
              <a:gd name="connsiteX122" fmla="*/ 2284 w 10000"/>
              <a:gd name="connsiteY122" fmla="*/ 226 h 9817"/>
              <a:gd name="connsiteX123" fmla="*/ 2047 w 10000"/>
              <a:gd name="connsiteY123" fmla="*/ 181 h 9817"/>
              <a:gd name="connsiteX124" fmla="*/ 1806 w 10000"/>
              <a:gd name="connsiteY124" fmla="*/ 140 h 9817"/>
              <a:gd name="connsiteX125" fmla="*/ 1555 w 10000"/>
              <a:gd name="connsiteY125" fmla="*/ 101 h 9817"/>
              <a:gd name="connsiteX126" fmla="*/ 1305 w 10000"/>
              <a:gd name="connsiteY126" fmla="*/ 72 h 9817"/>
              <a:gd name="connsiteX127" fmla="*/ 1057 w 10000"/>
              <a:gd name="connsiteY127" fmla="*/ 49 h 9817"/>
              <a:gd name="connsiteX128" fmla="*/ 807 w 10000"/>
              <a:gd name="connsiteY128" fmla="*/ 33 h 9817"/>
              <a:gd name="connsiteX129" fmla="*/ 551 w 10000"/>
              <a:gd name="connsiteY129" fmla="*/ 15 h 9817"/>
              <a:gd name="connsiteX130" fmla="*/ 295 w 10000"/>
              <a:gd name="connsiteY130" fmla="*/ 8 h 9817"/>
              <a:gd name="connsiteX131" fmla="*/ 39 w 10000"/>
              <a:gd name="connsiteY131" fmla="*/ 3 h 9817"/>
              <a:gd name="connsiteX132" fmla="*/ 0 w 10000"/>
              <a:gd name="connsiteY132" fmla="*/ 0 h 9817"/>
              <a:gd name="connsiteX133" fmla="*/ 1210 w 10000"/>
              <a:gd name="connsiteY133" fmla="*/ 2620 h 9817"/>
              <a:gd name="connsiteX134" fmla="*/ 7 w 10000"/>
              <a:gd name="connsiteY134" fmla="*/ 5111 h 9817"/>
              <a:gd name="connsiteX0" fmla="*/ 7 w 10000"/>
              <a:gd name="connsiteY0" fmla="*/ 5206 h 9814"/>
              <a:gd name="connsiteX1" fmla="*/ 20 w 10000"/>
              <a:gd name="connsiteY1" fmla="*/ 5200 h 9814"/>
              <a:gd name="connsiteX2" fmla="*/ 124 w 10000"/>
              <a:gd name="connsiteY2" fmla="*/ 5200 h 9814"/>
              <a:gd name="connsiteX3" fmla="*/ 230 w 10000"/>
              <a:gd name="connsiteY3" fmla="*/ 5206 h 9814"/>
              <a:gd name="connsiteX4" fmla="*/ 335 w 10000"/>
              <a:gd name="connsiteY4" fmla="*/ 5212 h 9814"/>
              <a:gd name="connsiteX5" fmla="*/ 439 w 10000"/>
              <a:gd name="connsiteY5" fmla="*/ 5218 h 9814"/>
              <a:gd name="connsiteX6" fmla="*/ 545 w 10000"/>
              <a:gd name="connsiteY6" fmla="*/ 5235 h 9814"/>
              <a:gd name="connsiteX7" fmla="*/ 650 w 10000"/>
              <a:gd name="connsiteY7" fmla="*/ 5247 h 9814"/>
              <a:gd name="connsiteX8" fmla="*/ 748 w 10000"/>
              <a:gd name="connsiteY8" fmla="*/ 5259 h 9814"/>
              <a:gd name="connsiteX9" fmla="*/ 846 w 10000"/>
              <a:gd name="connsiteY9" fmla="*/ 5277 h 9814"/>
              <a:gd name="connsiteX10" fmla="*/ 952 w 10000"/>
              <a:gd name="connsiteY10" fmla="*/ 5294 h 9814"/>
              <a:gd name="connsiteX11" fmla="*/ 1050 w 10000"/>
              <a:gd name="connsiteY11" fmla="*/ 5316 h 9814"/>
              <a:gd name="connsiteX12" fmla="*/ 1148 w 10000"/>
              <a:gd name="connsiteY12" fmla="*/ 5341 h 9814"/>
              <a:gd name="connsiteX13" fmla="*/ 1246 w 10000"/>
              <a:gd name="connsiteY13" fmla="*/ 5364 h 9814"/>
              <a:gd name="connsiteX14" fmla="*/ 1339 w 10000"/>
              <a:gd name="connsiteY14" fmla="*/ 5394 h 9814"/>
              <a:gd name="connsiteX15" fmla="*/ 1437 w 10000"/>
              <a:gd name="connsiteY15" fmla="*/ 5422 h 9814"/>
              <a:gd name="connsiteX16" fmla="*/ 1529 w 10000"/>
              <a:gd name="connsiteY16" fmla="*/ 5457 h 9814"/>
              <a:gd name="connsiteX17" fmla="*/ 1621 w 10000"/>
              <a:gd name="connsiteY17" fmla="*/ 5490 h 9814"/>
              <a:gd name="connsiteX18" fmla="*/ 1713 w 10000"/>
              <a:gd name="connsiteY18" fmla="*/ 5526 h 9814"/>
              <a:gd name="connsiteX19" fmla="*/ 1806 w 10000"/>
              <a:gd name="connsiteY19" fmla="*/ 5562 h 9814"/>
              <a:gd name="connsiteX20" fmla="*/ 1897 w 10000"/>
              <a:gd name="connsiteY20" fmla="*/ 5602 h 9814"/>
              <a:gd name="connsiteX21" fmla="*/ 1989 w 10000"/>
              <a:gd name="connsiteY21" fmla="*/ 5642 h 9814"/>
              <a:gd name="connsiteX22" fmla="*/ 2074 w 10000"/>
              <a:gd name="connsiteY22" fmla="*/ 5689 h 9814"/>
              <a:gd name="connsiteX23" fmla="*/ 2160 w 10000"/>
              <a:gd name="connsiteY23" fmla="*/ 5730 h 9814"/>
              <a:gd name="connsiteX24" fmla="*/ 2245 w 10000"/>
              <a:gd name="connsiteY24" fmla="*/ 5777 h 9814"/>
              <a:gd name="connsiteX25" fmla="*/ 2323 w 10000"/>
              <a:gd name="connsiteY25" fmla="*/ 5824 h 9814"/>
              <a:gd name="connsiteX26" fmla="*/ 2408 w 10000"/>
              <a:gd name="connsiteY26" fmla="*/ 5877 h 9814"/>
              <a:gd name="connsiteX27" fmla="*/ 2486 w 10000"/>
              <a:gd name="connsiteY27" fmla="*/ 5928 h 9814"/>
              <a:gd name="connsiteX28" fmla="*/ 2567 w 10000"/>
              <a:gd name="connsiteY28" fmla="*/ 5981 h 9814"/>
              <a:gd name="connsiteX29" fmla="*/ 2645 w 10000"/>
              <a:gd name="connsiteY29" fmla="*/ 6033 h 9814"/>
              <a:gd name="connsiteX30" fmla="*/ 2724 w 10000"/>
              <a:gd name="connsiteY30" fmla="*/ 6092 h 9814"/>
              <a:gd name="connsiteX31" fmla="*/ 2796 w 10000"/>
              <a:gd name="connsiteY31" fmla="*/ 6151 h 9814"/>
              <a:gd name="connsiteX32" fmla="*/ 2867 w 10000"/>
              <a:gd name="connsiteY32" fmla="*/ 6210 h 9814"/>
              <a:gd name="connsiteX33" fmla="*/ 2940 w 10000"/>
              <a:gd name="connsiteY33" fmla="*/ 6274 h 9814"/>
              <a:gd name="connsiteX34" fmla="*/ 3006 w 10000"/>
              <a:gd name="connsiteY34" fmla="*/ 6337 h 9814"/>
              <a:gd name="connsiteX35" fmla="*/ 3078 w 10000"/>
              <a:gd name="connsiteY35" fmla="*/ 6401 h 9814"/>
              <a:gd name="connsiteX36" fmla="*/ 3143 w 10000"/>
              <a:gd name="connsiteY36" fmla="*/ 6465 h 9814"/>
              <a:gd name="connsiteX37" fmla="*/ 3202 w 10000"/>
              <a:gd name="connsiteY37" fmla="*/ 6535 h 9814"/>
              <a:gd name="connsiteX38" fmla="*/ 3268 w 10000"/>
              <a:gd name="connsiteY38" fmla="*/ 6600 h 9814"/>
              <a:gd name="connsiteX39" fmla="*/ 3327 w 10000"/>
              <a:gd name="connsiteY39" fmla="*/ 6670 h 9814"/>
              <a:gd name="connsiteX40" fmla="*/ 3386 w 10000"/>
              <a:gd name="connsiteY40" fmla="*/ 6739 h 9814"/>
              <a:gd name="connsiteX41" fmla="*/ 3445 w 10000"/>
              <a:gd name="connsiteY41" fmla="*/ 6810 h 9814"/>
              <a:gd name="connsiteX42" fmla="*/ 3497 w 10000"/>
              <a:gd name="connsiteY42" fmla="*/ 6885 h 9814"/>
              <a:gd name="connsiteX43" fmla="*/ 3550 w 10000"/>
              <a:gd name="connsiteY43" fmla="*/ 6961 h 9814"/>
              <a:gd name="connsiteX44" fmla="*/ 3602 w 10000"/>
              <a:gd name="connsiteY44" fmla="*/ 7038 h 9814"/>
              <a:gd name="connsiteX45" fmla="*/ 3656 w 10000"/>
              <a:gd name="connsiteY45" fmla="*/ 7112 h 9814"/>
              <a:gd name="connsiteX46" fmla="*/ 3695 w 10000"/>
              <a:gd name="connsiteY46" fmla="*/ 7195 h 9814"/>
              <a:gd name="connsiteX47" fmla="*/ 3747 w 10000"/>
              <a:gd name="connsiteY47" fmla="*/ 7276 h 9814"/>
              <a:gd name="connsiteX48" fmla="*/ 3786 w 10000"/>
              <a:gd name="connsiteY48" fmla="*/ 7352 h 9814"/>
              <a:gd name="connsiteX49" fmla="*/ 3826 w 10000"/>
              <a:gd name="connsiteY49" fmla="*/ 7434 h 9814"/>
              <a:gd name="connsiteX50" fmla="*/ 3865 w 10000"/>
              <a:gd name="connsiteY50" fmla="*/ 7516 h 9814"/>
              <a:gd name="connsiteX51" fmla="*/ 3898 w 10000"/>
              <a:gd name="connsiteY51" fmla="*/ 7598 h 9814"/>
              <a:gd name="connsiteX52" fmla="*/ 3930 w 10000"/>
              <a:gd name="connsiteY52" fmla="*/ 7685 h 9814"/>
              <a:gd name="connsiteX53" fmla="*/ 3963 w 10000"/>
              <a:gd name="connsiteY53" fmla="*/ 7772 h 9814"/>
              <a:gd name="connsiteX54" fmla="*/ 3996 w 10000"/>
              <a:gd name="connsiteY54" fmla="*/ 7854 h 9814"/>
              <a:gd name="connsiteX55" fmla="*/ 4022 w 10000"/>
              <a:gd name="connsiteY55" fmla="*/ 7941 h 9814"/>
              <a:gd name="connsiteX56" fmla="*/ 4042 w 10000"/>
              <a:gd name="connsiteY56" fmla="*/ 8029 h 9814"/>
              <a:gd name="connsiteX57" fmla="*/ 4069 w 10000"/>
              <a:gd name="connsiteY57" fmla="*/ 8123 h 9814"/>
              <a:gd name="connsiteX58" fmla="*/ 4088 w 10000"/>
              <a:gd name="connsiteY58" fmla="*/ 8210 h 9814"/>
              <a:gd name="connsiteX59" fmla="*/ 4108 w 10000"/>
              <a:gd name="connsiteY59" fmla="*/ 8298 h 9814"/>
              <a:gd name="connsiteX60" fmla="*/ 7213 w 10000"/>
              <a:gd name="connsiteY60" fmla="*/ 8603 h 9814"/>
              <a:gd name="connsiteX61" fmla="*/ 9941 w 10000"/>
              <a:gd name="connsiteY61" fmla="*/ 9814 h 9814"/>
              <a:gd name="connsiteX62" fmla="*/ 9961 w 10000"/>
              <a:gd name="connsiteY62" fmla="*/ 9620 h 9814"/>
              <a:gd name="connsiteX63" fmla="*/ 9974 w 10000"/>
              <a:gd name="connsiteY63" fmla="*/ 9428 h 9814"/>
              <a:gd name="connsiteX64" fmla="*/ 9987 w 10000"/>
              <a:gd name="connsiteY64" fmla="*/ 9241 h 9814"/>
              <a:gd name="connsiteX65" fmla="*/ 9993 w 10000"/>
              <a:gd name="connsiteY65" fmla="*/ 9050 h 9814"/>
              <a:gd name="connsiteX66" fmla="*/ 10000 w 10000"/>
              <a:gd name="connsiteY66" fmla="*/ 8857 h 9814"/>
              <a:gd name="connsiteX67" fmla="*/ 9993 w 10000"/>
              <a:gd name="connsiteY67" fmla="*/ 8625 h 9814"/>
              <a:gd name="connsiteX68" fmla="*/ 9987 w 10000"/>
              <a:gd name="connsiteY68" fmla="*/ 8402 h 9814"/>
              <a:gd name="connsiteX69" fmla="*/ 9967 w 10000"/>
              <a:gd name="connsiteY69" fmla="*/ 8175 h 9814"/>
              <a:gd name="connsiteX70" fmla="*/ 9948 w 10000"/>
              <a:gd name="connsiteY70" fmla="*/ 7954 h 9814"/>
              <a:gd name="connsiteX71" fmla="*/ 9915 w 10000"/>
              <a:gd name="connsiteY71" fmla="*/ 7725 h 9814"/>
              <a:gd name="connsiteX72" fmla="*/ 9882 w 10000"/>
              <a:gd name="connsiteY72" fmla="*/ 7510 h 9814"/>
              <a:gd name="connsiteX73" fmla="*/ 9843 w 10000"/>
              <a:gd name="connsiteY73" fmla="*/ 7288 h 9814"/>
              <a:gd name="connsiteX74" fmla="*/ 9796 w 10000"/>
              <a:gd name="connsiteY74" fmla="*/ 7071 h 9814"/>
              <a:gd name="connsiteX75" fmla="*/ 9744 w 10000"/>
              <a:gd name="connsiteY75" fmla="*/ 6856 h 9814"/>
              <a:gd name="connsiteX76" fmla="*/ 9685 w 10000"/>
              <a:gd name="connsiteY76" fmla="*/ 6647 h 9814"/>
              <a:gd name="connsiteX77" fmla="*/ 9620 w 10000"/>
              <a:gd name="connsiteY77" fmla="*/ 6430 h 9814"/>
              <a:gd name="connsiteX78" fmla="*/ 9555 w 10000"/>
              <a:gd name="connsiteY78" fmla="*/ 6220 h 9814"/>
              <a:gd name="connsiteX79" fmla="*/ 9475 w 10000"/>
              <a:gd name="connsiteY79" fmla="*/ 6015 h 9814"/>
              <a:gd name="connsiteX80" fmla="*/ 9396 w 10000"/>
              <a:gd name="connsiteY80" fmla="*/ 5811 h 9814"/>
              <a:gd name="connsiteX81" fmla="*/ 9304 w 10000"/>
              <a:gd name="connsiteY81" fmla="*/ 5608 h 9814"/>
              <a:gd name="connsiteX82" fmla="*/ 9213 w 10000"/>
              <a:gd name="connsiteY82" fmla="*/ 5411 h 9814"/>
              <a:gd name="connsiteX83" fmla="*/ 9121 w 10000"/>
              <a:gd name="connsiteY83" fmla="*/ 5212 h 9814"/>
              <a:gd name="connsiteX84" fmla="*/ 9016 w 10000"/>
              <a:gd name="connsiteY84" fmla="*/ 5019 h 9814"/>
              <a:gd name="connsiteX85" fmla="*/ 8911 w 10000"/>
              <a:gd name="connsiteY85" fmla="*/ 4827 h 9814"/>
              <a:gd name="connsiteX86" fmla="*/ 8800 w 10000"/>
              <a:gd name="connsiteY86" fmla="*/ 4635 h 9814"/>
              <a:gd name="connsiteX87" fmla="*/ 8682 w 10000"/>
              <a:gd name="connsiteY87" fmla="*/ 4447 h 9814"/>
              <a:gd name="connsiteX88" fmla="*/ 8557 w 10000"/>
              <a:gd name="connsiteY88" fmla="*/ 4267 h 9814"/>
              <a:gd name="connsiteX89" fmla="*/ 8432 w 10000"/>
              <a:gd name="connsiteY89" fmla="*/ 4086 h 9814"/>
              <a:gd name="connsiteX90" fmla="*/ 8300 w 10000"/>
              <a:gd name="connsiteY90" fmla="*/ 3905 h 9814"/>
              <a:gd name="connsiteX91" fmla="*/ 8162 w 10000"/>
              <a:gd name="connsiteY91" fmla="*/ 3730 h 9814"/>
              <a:gd name="connsiteX92" fmla="*/ 8018 w 10000"/>
              <a:gd name="connsiteY92" fmla="*/ 3560 h 9814"/>
              <a:gd name="connsiteX93" fmla="*/ 7873 w 10000"/>
              <a:gd name="connsiteY93" fmla="*/ 3391 h 9814"/>
              <a:gd name="connsiteX94" fmla="*/ 7723 w 10000"/>
              <a:gd name="connsiteY94" fmla="*/ 3222 h 9814"/>
              <a:gd name="connsiteX95" fmla="*/ 7573 w 10000"/>
              <a:gd name="connsiteY95" fmla="*/ 3065 h 9814"/>
              <a:gd name="connsiteX96" fmla="*/ 7407 w 10000"/>
              <a:gd name="connsiteY96" fmla="*/ 2908 h 9814"/>
              <a:gd name="connsiteX97" fmla="*/ 7250 w 10000"/>
              <a:gd name="connsiteY97" fmla="*/ 2749 h 9814"/>
              <a:gd name="connsiteX98" fmla="*/ 7080 w 10000"/>
              <a:gd name="connsiteY98" fmla="*/ 2593 h 9814"/>
              <a:gd name="connsiteX99" fmla="*/ 6910 w 10000"/>
              <a:gd name="connsiteY99" fmla="*/ 2446 h 9814"/>
              <a:gd name="connsiteX100" fmla="*/ 6740 w 10000"/>
              <a:gd name="connsiteY100" fmla="*/ 2301 h 9814"/>
              <a:gd name="connsiteX101" fmla="*/ 6556 w 10000"/>
              <a:gd name="connsiteY101" fmla="*/ 2162 h 9814"/>
              <a:gd name="connsiteX102" fmla="*/ 6372 w 10000"/>
              <a:gd name="connsiteY102" fmla="*/ 2027 h 9814"/>
              <a:gd name="connsiteX103" fmla="*/ 6188 w 10000"/>
              <a:gd name="connsiteY103" fmla="*/ 1894 h 9814"/>
              <a:gd name="connsiteX104" fmla="*/ 5998 w 10000"/>
              <a:gd name="connsiteY104" fmla="*/ 1764 h 9814"/>
              <a:gd name="connsiteX105" fmla="*/ 5801 w 10000"/>
              <a:gd name="connsiteY105" fmla="*/ 1637 h 9814"/>
              <a:gd name="connsiteX106" fmla="*/ 5605 w 10000"/>
              <a:gd name="connsiteY106" fmla="*/ 1514 h 9814"/>
              <a:gd name="connsiteX107" fmla="*/ 5407 w 10000"/>
              <a:gd name="connsiteY107" fmla="*/ 1398 h 9814"/>
              <a:gd name="connsiteX108" fmla="*/ 5204 w 10000"/>
              <a:gd name="connsiteY108" fmla="*/ 1287 h 9814"/>
              <a:gd name="connsiteX109" fmla="*/ 5001 w 10000"/>
              <a:gd name="connsiteY109" fmla="*/ 1176 h 9814"/>
              <a:gd name="connsiteX110" fmla="*/ 4783 w 10000"/>
              <a:gd name="connsiteY110" fmla="*/ 1071 h 9814"/>
              <a:gd name="connsiteX111" fmla="*/ 4574 w 10000"/>
              <a:gd name="connsiteY111" fmla="*/ 972 h 9814"/>
              <a:gd name="connsiteX112" fmla="*/ 4356 w 10000"/>
              <a:gd name="connsiteY112" fmla="*/ 879 h 9814"/>
              <a:gd name="connsiteX113" fmla="*/ 4134 w 10000"/>
              <a:gd name="connsiteY113" fmla="*/ 784 h 9814"/>
              <a:gd name="connsiteX114" fmla="*/ 3917 w 10000"/>
              <a:gd name="connsiteY114" fmla="*/ 698 h 9814"/>
              <a:gd name="connsiteX115" fmla="*/ 3695 w 10000"/>
              <a:gd name="connsiteY115" fmla="*/ 622 h 9814"/>
              <a:gd name="connsiteX116" fmla="*/ 3464 w 10000"/>
              <a:gd name="connsiteY116" fmla="*/ 540 h 9814"/>
              <a:gd name="connsiteX117" fmla="*/ 3234 w 10000"/>
              <a:gd name="connsiteY117" fmla="*/ 471 h 9814"/>
              <a:gd name="connsiteX118" fmla="*/ 2999 w 10000"/>
              <a:gd name="connsiteY118" fmla="*/ 399 h 9814"/>
              <a:gd name="connsiteX119" fmla="*/ 2769 w 10000"/>
              <a:gd name="connsiteY119" fmla="*/ 342 h 9814"/>
              <a:gd name="connsiteX120" fmla="*/ 2528 w 10000"/>
              <a:gd name="connsiteY120" fmla="*/ 284 h 9814"/>
              <a:gd name="connsiteX121" fmla="*/ 2284 w 10000"/>
              <a:gd name="connsiteY121" fmla="*/ 230 h 9814"/>
              <a:gd name="connsiteX122" fmla="*/ 2047 w 10000"/>
              <a:gd name="connsiteY122" fmla="*/ 184 h 9814"/>
              <a:gd name="connsiteX123" fmla="*/ 1806 w 10000"/>
              <a:gd name="connsiteY123" fmla="*/ 143 h 9814"/>
              <a:gd name="connsiteX124" fmla="*/ 1555 w 10000"/>
              <a:gd name="connsiteY124" fmla="*/ 103 h 9814"/>
              <a:gd name="connsiteX125" fmla="*/ 1305 w 10000"/>
              <a:gd name="connsiteY125" fmla="*/ 73 h 9814"/>
              <a:gd name="connsiteX126" fmla="*/ 1057 w 10000"/>
              <a:gd name="connsiteY126" fmla="*/ 50 h 9814"/>
              <a:gd name="connsiteX127" fmla="*/ 807 w 10000"/>
              <a:gd name="connsiteY127" fmla="*/ 34 h 9814"/>
              <a:gd name="connsiteX128" fmla="*/ 551 w 10000"/>
              <a:gd name="connsiteY128" fmla="*/ 15 h 9814"/>
              <a:gd name="connsiteX129" fmla="*/ 295 w 10000"/>
              <a:gd name="connsiteY129" fmla="*/ 8 h 9814"/>
              <a:gd name="connsiteX130" fmla="*/ 39 w 10000"/>
              <a:gd name="connsiteY130" fmla="*/ 3 h 9814"/>
              <a:gd name="connsiteX131" fmla="*/ 0 w 10000"/>
              <a:gd name="connsiteY131" fmla="*/ 0 h 9814"/>
              <a:gd name="connsiteX132" fmla="*/ 1210 w 10000"/>
              <a:gd name="connsiteY132" fmla="*/ 2669 h 9814"/>
              <a:gd name="connsiteX133" fmla="*/ 7 w 10000"/>
              <a:gd name="connsiteY133" fmla="*/ 5206 h 9814"/>
              <a:gd name="connsiteX0" fmla="*/ 7 w 10000"/>
              <a:gd name="connsiteY0" fmla="*/ 5305 h 9802"/>
              <a:gd name="connsiteX1" fmla="*/ 20 w 10000"/>
              <a:gd name="connsiteY1" fmla="*/ 5299 h 9802"/>
              <a:gd name="connsiteX2" fmla="*/ 124 w 10000"/>
              <a:gd name="connsiteY2" fmla="*/ 5299 h 9802"/>
              <a:gd name="connsiteX3" fmla="*/ 230 w 10000"/>
              <a:gd name="connsiteY3" fmla="*/ 5305 h 9802"/>
              <a:gd name="connsiteX4" fmla="*/ 335 w 10000"/>
              <a:gd name="connsiteY4" fmla="*/ 5311 h 9802"/>
              <a:gd name="connsiteX5" fmla="*/ 439 w 10000"/>
              <a:gd name="connsiteY5" fmla="*/ 5317 h 9802"/>
              <a:gd name="connsiteX6" fmla="*/ 545 w 10000"/>
              <a:gd name="connsiteY6" fmla="*/ 5334 h 9802"/>
              <a:gd name="connsiteX7" fmla="*/ 650 w 10000"/>
              <a:gd name="connsiteY7" fmla="*/ 5346 h 9802"/>
              <a:gd name="connsiteX8" fmla="*/ 748 w 10000"/>
              <a:gd name="connsiteY8" fmla="*/ 5359 h 9802"/>
              <a:gd name="connsiteX9" fmla="*/ 846 w 10000"/>
              <a:gd name="connsiteY9" fmla="*/ 5377 h 9802"/>
              <a:gd name="connsiteX10" fmla="*/ 952 w 10000"/>
              <a:gd name="connsiteY10" fmla="*/ 5394 h 9802"/>
              <a:gd name="connsiteX11" fmla="*/ 1050 w 10000"/>
              <a:gd name="connsiteY11" fmla="*/ 5417 h 9802"/>
              <a:gd name="connsiteX12" fmla="*/ 1148 w 10000"/>
              <a:gd name="connsiteY12" fmla="*/ 5442 h 9802"/>
              <a:gd name="connsiteX13" fmla="*/ 1246 w 10000"/>
              <a:gd name="connsiteY13" fmla="*/ 5466 h 9802"/>
              <a:gd name="connsiteX14" fmla="*/ 1339 w 10000"/>
              <a:gd name="connsiteY14" fmla="*/ 5496 h 9802"/>
              <a:gd name="connsiteX15" fmla="*/ 1437 w 10000"/>
              <a:gd name="connsiteY15" fmla="*/ 5525 h 9802"/>
              <a:gd name="connsiteX16" fmla="*/ 1529 w 10000"/>
              <a:gd name="connsiteY16" fmla="*/ 5560 h 9802"/>
              <a:gd name="connsiteX17" fmla="*/ 1621 w 10000"/>
              <a:gd name="connsiteY17" fmla="*/ 5594 h 9802"/>
              <a:gd name="connsiteX18" fmla="*/ 1713 w 10000"/>
              <a:gd name="connsiteY18" fmla="*/ 5631 h 9802"/>
              <a:gd name="connsiteX19" fmla="*/ 1806 w 10000"/>
              <a:gd name="connsiteY19" fmla="*/ 5667 h 9802"/>
              <a:gd name="connsiteX20" fmla="*/ 1897 w 10000"/>
              <a:gd name="connsiteY20" fmla="*/ 5708 h 9802"/>
              <a:gd name="connsiteX21" fmla="*/ 1989 w 10000"/>
              <a:gd name="connsiteY21" fmla="*/ 5749 h 9802"/>
              <a:gd name="connsiteX22" fmla="*/ 2074 w 10000"/>
              <a:gd name="connsiteY22" fmla="*/ 5797 h 9802"/>
              <a:gd name="connsiteX23" fmla="*/ 2160 w 10000"/>
              <a:gd name="connsiteY23" fmla="*/ 5839 h 9802"/>
              <a:gd name="connsiteX24" fmla="*/ 2245 w 10000"/>
              <a:gd name="connsiteY24" fmla="*/ 5886 h 9802"/>
              <a:gd name="connsiteX25" fmla="*/ 2323 w 10000"/>
              <a:gd name="connsiteY25" fmla="*/ 5934 h 9802"/>
              <a:gd name="connsiteX26" fmla="*/ 2408 w 10000"/>
              <a:gd name="connsiteY26" fmla="*/ 5988 h 9802"/>
              <a:gd name="connsiteX27" fmla="*/ 2486 w 10000"/>
              <a:gd name="connsiteY27" fmla="*/ 6040 h 9802"/>
              <a:gd name="connsiteX28" fmla="*/ 2567 w 10000"/>
              <a:gd name="connsiteY28" fmla="*/ 6094 h 9802"/>
              <a:gd name="connsiteX29" fmla="*/ 2645 w 10000"/>
              <a:gd name="connsiteY29" fmla="*/ 6147 h 9802"/>
              <a:gd name="connsiteX30" fmla="*/ 2724 w 10000"/>
              <a:gd name="connsiteY30" fmla="*/ 6207 h 9802"/>
              <a:gd name="connsiteX31" fmla="*/ 2796 w 10000"/>
              <a:gd name="connsiteY31" fmla="*/ 6268 h 9802"/>
              <a:gd name="connsiteX32" fmla="*/ 2867 w 10000"/>
              <a:gd name="connsiteY32" fmla="*/ 6328 h 9802"/>
              <a:gd name="connsiteX33" fmla="*/ 2940 w 10000"/>
              <a:gd name="connsiteY33" fmla="*/ 6393 h 9802"/>
              <a:gd name="connsiteX34" fmla="*/ 3006 w 10000"/>
              <a:gd name="connsiteY34" fmla="*/ 6457 h 9802"/>
              <a:gd name="connsiteX35" fmla="*/ 3078 w 10000"/>
              <a:gd name="connsiteY35" fmla="*/ 6522 h 9802"/>
              <a:gd name="connsiteX36" fmla="*/ 3143 w 10000"/>
              <a:gd name="connsiteY36" fmla="*/ 6588 h 9802"/>
              <a:gd name="connsiteX37" fmla="*/ 3202 w 10000"/>
              <a:gd name="connsiteY37" fmla="*/ 6659 h 9802"/>
              <a:gd name="connsiteX38" fmla="*/ 3268 w 10000"/>
              <a:gd name="connsiteY38" fmla="*/ 6725 h 9802"/>
              <a:gd name="connsiteX39" fmla="*/ 3327 w 10000"/>
              <a:gd name="connsiteY39" fmla="*/ 6796 h 9802"/>
              <a:gd name="connsiteX40" fmla="*/ 3386 w 10000"/>
              <a:gd name="connsiteY40" fmla="*/ 6867 h 9802"/>
              <a:gd name="connsiteX41" fmla="*/ 3445 w 10000"/>
              <a:gd name="connsiteY41" fmla="*/ 6939 h 9802"/>
              <a:gd name="connsiteX42" fmla="*/ 3497 w 10000"/>
              <a:gd name="connsiteY42" fmla="*/ 7015 h 9802"/>
              <a:gd name="connsiteX43" fmla="*/ 3550 w 10000"/>
              <a:gd name="connsiteY43" fmla="*/ 7093 h 9802"/>
              <a:gd name="connsiteX44" fmla="*/ 3602 w 10000"/>
              <a:gd name="connsiteY44" fmla="*/ 7171 h 9802"/>
              <a:gd name="connsiteX45" fmla="*/ 3656 w 10000"/>
              <a:gd name="connsiteY45" fmla="*/ 7247 h 9802"/>
              <a:gd name="connsiteX46" fmla="*/ 3695 w 10000"/>
              <a:gd name="connsiteY46" fmla="*/ 7331 h 9802"/>
              <a:gd name="connsiteX47" fmla="*/ 3747 w 10000"/>
              <a:gd name="connsiteY47" fmla="*/ 7414 h 9802"/>
              <a:gd name="connsiteX48" fmla="*/ 3786 w 10000"/>
              <a:gd name="connsiteY48" fmla="*/ 7491 h 9802"/>
              <a:gd name="connsiteX49" fmla="*/ 3826 w 10000"/>
              <a:gd name="connsiteY49" fmla="*/ 7575 h 9802"/>
              <a:gd name="connsiteX50" fmla="*/ 3865 w 10000"/>
              <a:gd name="connsiteY50" fmla="*/ 7658 h 9802"/>
              <a:gd name="connsiteX51" fmla="*/ 3898 w 10000"/>
              <a:gd name="connsiteY51" fmla="*/ 7742 h 9802"/>
              <a:gd name="connsiteX52" fmla="*/ 3930 w 10000"/>
              <a:gd name="connsiteY52" fmla="*/ 7831 h 9802"/>
              <a:gd name="connsiteX53" fmla="*/ 3963 w 10000"/>
              <a:gd name="connsiteY53" fmla="*/ 7919 h 9802"/>
              <a:gd name="connsiteX54" fmla="*/ 3996 w 10000"/>
              <a:gd name="connsiteY54" fmla="*/ 8003 h 9802"/>
              <a:gd name="connsiteX55" fmla="*/ 4022 w 10000"/>
              <a:gd name="connsiteY55" fmla="*/ 8092 h 9802"/>
              <a:gd name="connsiteX56" fmla="*/ 4042 w 10000"/>
              <a:gd name="connsiteY56" fmla="*/ 8181 h 9802"/>
              <a:gd name="connsiteX57" fmla="*/ 4069 w 10000"/>
              <a:gd name="connsiteY57" fmla="*/ 8277 h 9802"/>
              <a:gd name="connsiteX58" fmla="*/ 4088 w 10000"/>
              <a:gd name="connsiteY58" fmla="*/ 8366 h 9802"/>
              <a:gd name="connsiteX59" fmla="*/ 4108 w 10000"/>
              <a:gd name="connsiteY59" fmla="*/ 8455 h 9802"/>
              <a:gd name="connsiteX60" fmla="*/ 7213 w 10000"/>
              <a:gd name="connsiteY60" fmla="*/ 8766 h 9802"/>
              <a:gd name="connsiteX61" fmla="*/ 9961 w 10000"/>
              <a:gd name="connsiteY61" fmla="*/ 9802 h 9802"/>
              <a:gd name="connsiteX62" fmla="*/ 9974 w 10000"/>
              <a:gd name="connsiteY62" fmla="*/ 9607 h 9802"/>
              <a:gd name="connsiteX63" fmla="*/ 9987 w 10000"/>
              <a:gd name="connsiteY63" fmla="*/ 9416 h 9802"/>
              <a:gd name="connsiteX64" fmla="*/ 9993 w 10000"/>
              <a:gd name="connsiteY64" fmla="*/ 9222 h 9802"/>
              <a:gd name="connsiteX65" fmla="*/ 10000 w 10000"/>
              <a:gd name="connsiteY65" fmla="*/ 9025 h 9802"/>
              <a:gd name="connsiteX66" fmla="*/ 9993 w 10000"/>
              <a:gd name="connsiteY66" fmla="*/ 8788 h 9802"/>
              <a:gd name="connsiteX67" fmla="*/ 9987 w 10000"/>
              <a:gd name="connsiteY67" fmla="*/ 8561 h 9802"/>
              <a:gd name="connsiteX68" fmla="*/ 9967 w 10000"/>
              <a:gd name="connsiteY68" fmla="*/ 8330 h 9802"/>
              <a:gd name="connsiteX69" fmla="*/ 9948 w 10000"/>
              <a:gd name="connsiteY69" fmla="*/ 8105 h 9802"/>
              <a:gd name="connsiteX70" fmla="*/ 9915 w 10000"/>
              <a:gd name="connsiteY70" fmla="*/ 7871 h 9802"/>
              <a:gd name="connsiteX71" fmla="*/ 9882 w 10000"/>
              <a:gd name="connsiteY71" fmla="*/ 7652 h 9802"/>
              <a:gd name="connsiteX72" fmla="*/ 9843 w 10000"/>
              <a:gd name="connsiteY72" fmla="*/ 7426 h 9802"/>
              <a:gd name="connsiteX73" fmla="*/ 9796 w 10000"/>
              <a:gd name="connsiteY73" fmla="*/ 7205 h 9802"/>
              <a:gd name="connsiteX74" fmla="*/ 9744 w 10000"/>
              <a:gd name="connsiteY74" fmla="*/ 6986 h 9802"/>
              <a:gd name="connsiteX75" fmla="*/ 9685 w 10000"/>
              <a:gd name="connsiteY75" fmla="*/ 6773 h 9802"/>
              <a:gd name="connsiteX76" fmla="*/ 9620 w 10000"/>
              <a:gd name="connsiteY76" fmla="*/ 6552 h 9802"/>
              <a:gd name="connsiteX77" fmla="*/ 9555 w 10000"/>
              <a:gd name="connsiteY77" fmla="*/ 6338 h 9802"/>
              <a:gd name="connsiteX78" fmla="*/ 9475 w 10000"/>
              <a:gd name="connsiteY78" fmla="*/ 6129 h 9802"/>
              <a:gd name="connsiteX79" fmla="*/ 9396 w 10000"/>
              <a:gd name="connsiteY79" fmla="*/ 5921 h 9802"/>
              <a:gd name="connsiteX80" fmla="*/ 9304 w 10000"/>
              <a:gd name="connsiteY80" fmla="*/ 5714 h 9802"/>
              <a:gd name="connsiteX81" fmla="*/ 9213 w 10000"/>
              <a:gd name="connsiteY81" fmla="*/ 5514 h 9802"/>
              <a:gd name="connsiteX82" fmla="*/ 9121 w 10000"/>
              <a:gd name="connsiteY82" fmla="*/ 5311 h 9802"/>
              <a:gd name="connsiteX83" fmla="*/ 9016 w 10000"/>
              <a:gd name="connsiteY83" fmla="*/ 5114 h 9802"/>
              <a:gd name="connsiteX84" fmla="*/ 8911 w 10000"/>
              <a:gd name="connsiteY84" fmla="*/ 4918 h 9802"/>
              <a:gd name="connsiteX85" fmla="*/ 8800 w 10000"/>
              <a:gd name="connsiteY85" fmla="*/ 4723 h 9802"/>
              <a:gd name="connsiteX86" fmla="*/ 8682 w 10000"/>
              <a:gd name="connsiteY86" fmla="*/ 4531 h 9802"/>
              <a:gd name="connsiteX87" fmla="*/ 8557 w 10000"/>
              <a:gd name="connsiteY87" fmla="*/ 4348 h 9802"/>
              <a:gd name="connsiteX88" fmla="*/ 8432 w 10000"/>
              <a:gd name="connsiteY88" fmla="*/ 4163 h 9802"/>
              <a:gd name="connsiteX89" fmla="*/ 8300 w 10000"/>
              <a:gd name="connsiteY89" fmla="*/ 3979 h 9802"/>
              <a:gd name="connsiteX90" fmla="*/ 8162 w 10000"/>
              <a:gd name="connsiteY90" fmla="*/ 3801 h 9802"/>
              <a:gd name="connsiteX91" fmla="*/ 8018 w 10000"/>
              <a:gd name="connsiteY91" fmla="*/ 3627 h 9802"/>
              <a:gd name="connsiteX92" fmla="*/ 7873 w 10000"/>
              <a:gd name="connsiteY92" fmla="*/ 3455 h 9802"/>
              <a:gd name="connsiteX93" fmla="*/ 7723 w 10000"/>
              <a:gd name="connsiteY93" fmla="*/ 3283 h 9802"/>
              <a:gd name="connsiteX94" fmla="*/ 7573 w 10000"/>
              <a:gd name="connsiteY94" fmla="*/ 3123 h 9802"/>
              <a:gd name="connsiteX95" fmla="*/ 7407 w 10000"/>
              <a:gd name="connsiteY95" fmla="*/ 2963 h 9802"/>
              <a:gd name="connsiteX96" fmla="*/ 7250 w 10000"/>
              <a:gd name="connsiteY96" fmla="*/ 2801 h 9802"/>
              <a:gd name="connsiteX97" fmla="*/ 7080 w 10000"/>
              <a:gd name="connsiteY97" fmla="*/ 2642 h 9802"/>
              <a:gd name="connsiteX98" fmla="*/ 6910 w 10000"/>
              <a:gd name="connsiteY98" fmla="*/ 2492 h 9802"/>
              <a:gd name="connsiteX99" fmla="*/ 6740 w 10000"/>
              <a:gd name="connsiteY99" fmla="*/ 2345 h 9802"/>
              <a:gd name="connsiteX100" fmla="*/ 6556 w 10000"/>
              <a:gd name="connsiteY100" fmla="*/ 2203 h 9802"/>
              <a:gd name="connsiteX101" fmla="*/ 6372 w 10000"/>
              <a:gd name="connsiteY101" fmla="*/ 2065 h 9802"/>
              <a:gd name="connsiteX102" fmla="*/ 6188 w 10000"/>
              <a:gd name="connsiteY102" fmla="*/ 1930 h 9802"/>
              <a:gd name="connsiteX103" fmla="*/ 5998 w 10000"/>
              <a:gd name="connsiteY103" fmla="*/ 1797 h 9802"/>
              <a:gd name="connsiteX104" fmla="*/ 5801 w 10000"/>
              <a:gd name="connsiteY104" fmla="*/ 1668 h 9802"/>
              <a:gd name="connsiteX105" fmla="*/ 5605 w 10000"/>
              <a:gd name="connsiteY105" fmla="*/ 1543 h 9802"/>
              <a:gd name="connsiteX106" fmla="*/ 5407 w 10000"/>
              <a:gd name="connsiteY106" fmla="*/ 1424 h 9802"/>
              <a:gd name="connsiteX107" fmla="*/ 5204 w 10000"/>
              <a:gd name="connsiteY107" fmla="*/ 1311 h 9802"/>
              <a:gd name="connsiteX108" fmla="*/ 5001 w 10000"/>
              <a:gd name="connsiteY108" fmla="*/ 1198 h 9802"/>
              <a:gd name="connsiteX109" fmla="*/ 4783 w 10000"/>
              <a:gd name="connsiteY109" fmla="*/ 1091 h 9802"/>
              <a:gd name="connsiteX110" fmla="*/ 4574 w 10000"/>
              <a:gd name="connsiteY110" fmla="*/ 990 h 9802"/>
              <a:gd name="connsiteX111" fmla="*/ 4356 w 10000"/>
              <a:gd name="connsiteY111" fmla="*/ 896 h 9802"/>
              <a:gd name="connsiteX112" fmla="*/ 4134 w 10000"/>
              <a:gd name="connsiteY112" fmla="*/ 799 h 9802"/>
              <a:gd name="connsiteX113" fmla="*/ 3917 w 10000"/>
              <a:gd name="connsiteY113" fmla="*/ 711 h 9802"/>
              <a:gd name="connsiteX114" fmla="*/ 3695 w 10000"/>
              <a:gd name="connsiteY114" fmla="*/ 634 h 9802"/>
              <a:gd name="connsiteX115" fmla="*/ 3464 w 10000"/>
              <a:gd name="connsiteY115" fmla="*/ 550 h 9802"/>
              <a:gd name="connsiteX116" fmla="*/ 3234 w 10000"/>
              <a:gd name="connsiteY116" fmla="*/ 480 h 9802"/>
              <a:gd name="connsiteX117" fmla="*/ 2999 w 10000"/>
              <a:gd name="connsiteY117" fmla="*/ 407 h 9802"/>
              <a:gd name="connsiteX118" fmla="*/ 2769 w 10000"/>
              <a:gd name="connsiteY118" fmla="*/ 348 h 9802"/>
              <a:gd name="connsiteX119" fmla="*/ 2528 w 10000"/>
              <a:gd name="connsiteY119" fmla="*/ 289 h 9802"/>
              <a:gd name="connsiteX120" fmla="*/ 2284 w 10000"/>
              <a:gd name="connsiteY120" fmla="*/ 234 h 9802"/>
              <a:gd name="connsiteX121" fmla="*/ 2047 w 10000"/>
              <a:gd name="connsiteY121" fmla="*/ 187 h 9802"/>
              <a:gd name="connsiteX122" fmla="*/ 1806 w 10000"/>
              <a:gd name="connsiteY122" fmla="*/ 146 h 9802"/>
              <a:gd name="connsiteX123" fmla="*/ 1555 w 10000"/>
              <a:gd name="connsiteY123" fmla="*/ 105 h 9802"/>
              <a:gd name="connsiteX124" fmla="*/ 1305 w 10000"/>
              <a:gd name="connsiteY124" fmla="*/ 74 h 9802"/>
              <a:gd name="connsiteX125" fmla="*/ 1057 w 10000"/>
              <a:gd name="connsiteY125" fmla="*/ 51 h 9802"/>
              <a:gd name="connsiteX126" fmla="*/ 807 w 10000"/>
              <a:gd name="connsiteY126" fmla="*/ 35 h 9802"/>
              <a:gd name="connsiteX127" fmla="*/ 551 w 10000"/>
              <a:gd name="connsiteY127" fmla="*/ 15 h 9802"/>
              <a:gd name="connsiteX128" fmla="*/ 295 w 10000"/>
              <a:gd name="connsiteY128" fmla="*/ 8 h 9802"/>
              <a:gd name="connsiteX129" fmla="*/ 39 w 10000"/>
              <a:gd name="connsiteY129" fmla="*/ 3 h 9802"/>
              <a:gd name="connsiteX130" fmla="*/ 0 w 10000"/>
              <a:gd name="connsiteY130" fmla="*/ 0 h 9802"/>
              <a:gd name="connsiteX131" fmla="*/ 1210 w 10000"/>
              <a:gd name="connsiteY131" fmla="*/ 2720 h 9802"/>
              <a:gd name="connsiteX132" fmla="*/ 7 w 10000"/>
              <a:gd name="connsiteY132" fmla="*/ 5305 h 9802"/>
              <a:gd name="connsiteX0" fmla="*/ 7 w 10000"/>
              <a:gd name="connsiteY0" fmla="*/ 5412 h 9801"/>
              <a:gd name="connsiteX1" fmla="*/ 20 w 10000"/>
              <a:gd name="connsiteY1" fmla="*/ 5406 h 9801"/>
              <a:gd name="connsiteX2" fmla="*/ 124 w 10000"/>
              <a:gd name="connsiteY2" fmla="*/ 5406 h 9801"/>
              <a:gd name="connsiteX3" fmla="*/ 230 w 10000"/>
              <a:gd name="connsiteY3" fmla="*/ 5412 h 9801"/>
              <a:gd name="connsiteX4" fmla="*/ 335 w 10000"/>
              <a:gd name="connsiteY4" fmla="*/ 5418 h 9801"/>
              <a:gd name="connsiteX5" fmla="*/ 439 w 10000"/>
              <a:gd name="connsiteY5" fmla="*/ 5424 h 9801"/>
              <a:gd name="connsiteX6" fmla="*/ 545 w 10000"/>
              <a:gd name="connsiteY6" fmla="*/ 5442 h 9801"/>
              <a:gd name="connsiteX7" fmla="*/ 650 w 10000"/>
              <a:gd name="connsiteY7" fmla="*/ 5454 h 9801"/>
              <a:gd name="connsiteX8" fmla="*/ 748 w 10000"/>
              <a:gd name="connsiteY8" fmla="*/ 5467 h 9801"/>
              <a:gd name="connsiteX9" fmla="*/ 846 w 10000"/>
              <a:gd name="connsiteY9" fmla="*/ 5486 h 9801"/>
              <a:gd name="connsiteX10" fmla="*/ 952 w 10000"/>
              <a:gd name="connsiteY10" fmla="*/ 5503 h 9801"/>
              <a:gd name="connsiteX11" fmla="*/ 1050 w 10000"/>
              <a:gd name="connsiteY11" fmla="*/ 5526 h 9801"/>
              <a:gd name="connsiteX12" fmla="*/ 1148 w 10000"/>
              <a:gd name="connsiteY12" fmla="*/ 5552 h 9801"/>
              <a:gd name="connsiteX13" fmla="*/ 1246 w 10000"/>
              <a:gd name="connsiteY13" fmla="*/ 5576 h 9801"/>
              <a:gd name="connsiteX14" fmla="*/ 1339 w 10000"/>
              <a:gd name="connsiteY14" fmla="*/ 5607 h 9801"/>
              <a:gd name="connsiteX15" fmla="*/ 1437 w 10000"/>
              <a:gd name="connsiteY15" fmla="*/ 5637 h 9801"/>
              <a:gd name="connsiteX16" fmla="*/ 1529 w 10000"/>
              <a:gd name="connsiteY16" fmla="*/ 5672 h 9801"/>
              <a:gd name="connsiteX17" fmla="*/ 1621 w 10000"/>
              <a:gd name="connsiteY17" fmla="*/ 5707 h 9801"/>
              <a:gd name="connsiteX18" fmla="*/ 1713 w 10000"/>
              <a:gd name="connsiteY18" fmla="*/ 5745 h 9801"/>
              <a:gd name="connsiteX19" fmla="*/ 1806 w 10000"/>
              <a:gd name="connsiteY19" fmla="*/ 5781 h 9801"/>
              <a:gd name="connsiteX20" fmla="*/ 1897 w 10000"/>
              <a:gd name="connsiteY20" fmla="*/ 5823 h 9801"/>
              <a:gd name="connsiteX21" fmla="*/ 1989 w 10000"/>
              <a:gd name="connsiteY21" fmla="*/ 5865 h 9801"/>
              <a:gd name="connsiteX22" fmla="*/ 2074 w 10000"/>
              <a:gd name="connsiteY22" fmla="*/ 5914 h 9801"/>
              <a:gd name="connsiteX23" fmla="*/ 2160 w 10000"/>
              <a:gd name="connsiteY23" fmla="*/ 5957 h 9801"/>
              <a:gd name="connsiteX24" fmla="*/ 2245 w 10000"/>
              <a:gd name="connsiteY24" fmla="*/ 6005 h 9801"/>
              <a:gd name="connsiteX25" fmla="*/ 2323 w 10000"/>
              <a:gd name="connsiteY25" fmla="*/ 6054 h 9801"/>
              <a:gd name="connsiteX26" fmla="*/ 2408 w 10000"/>
              <a:gd name="connsiteY26" fmla="*/ 6109 h 9801"/>
              <a:gd name="connsiteX27" fmla="*/ 2486 w 10000"/>
              <a:gd name="connsiteY27" fmla="*/ 6162 h 9801"/>
              <a:gd name="connsiteX28" fmla="*/ 2567 w 10000"/>
              <a:gd name="connsiteY28" fmla="*/ 6217 h 9801"/>
              <a:gd name="connsiteX29" fmla="*/ 2645 w 10000"/>
              <a:gd name="connsiteY29" fmla="*/ 6271 h 9801"/>
              <a:gd name="connsiteX30" fmla="*/ 2724 w 10000"/>
              <a:gd name="connsiteY30" fmla="*/ 6332 h 9801"/>
              <a:gd name="connsiteX31" fmla="*/ 2796 w 10000"/>
              <a:gd name="connsiteY31" fmla="*/ 6395 h 9801"/>
              <a:gd name="connsiteX32" fmla="*/ 2867 w 10000"/>
              <a:gd name="connsiteY32" fmla="*/ 6456 h 9801"/>
              <a:gd name="connsiteX33" fmla="*/ 2940 w 10000"/>
              <a:gd name="connsiteY33" fmla="*/ 6522 h 9801"/>
              <a:gd name="connsiteX34" fmla="*/ 3006 w 10000"/>
              <a:gd name="connsiteY34" fmla="*/ 6587 h 9801"/>
              <a:gd name="connsiteX35" fmla="*/ 3078 w 10000"/>
              <a:gd name="connsiteY35" fmla="*/ 6654 h 9801"/>
              <a:gd name="connsiteX36" fmla="*/ 3143 w 10000"/>
              <a:gd name="connsiteY36" fmla="*/ 6721 h 9801"/>
              <a:gd name="connsiteX37" fmla="*/ 3202 w 10000"/>
              <a:gd name="connsiteY37" fmla="*/ 6794 h 9801"/>
              <a:gd name="connsiteX38" fmla="*/ 3268 w 10000"/>
              <a:gd name="connsiteY38" fmla="*/ 6861 h 9801"/>
              <a:gd name="connsiteX39" fmla="*/ 3327 w 10000"/>
              <a:gd name="connsiteY39" fmla="*/ 6933 h 9801"/>
              <a:gd name="connsiteX40" fmla="*/ 3386 w 10000"/>
              <a:gd name="connsiteY40" fmla="*/ 7006 h 9801"/>
              <a:gd name="connsiteX41" fmla="*/ 3445 w 10000"/>
              <a:gd name="connsiteY41" fmla="*/ 7079 h 9801"/>
              <a:gd name="connsiteX42" fmla="*/ 3497 w 10000"/>
              <a:gd name="connsiteY42" fmla="*/ 7157 h 9801"/>
              <a:gd name="connsiteX43" fmla="*/ 3550 w 10000"/>
              <a:gd name="connsiteY43" fmla="*/ 7236 h 9801"/>
              <a:gd name="connsiteX44" fmla="*/ 3602 w 10000"/>
              <a:gd name="connsiteY44" fmla="*/ 7316 h 9801"/>
              <a:gd name="connsiteX45" fmla="*/ 3656 w 10000"/>
              <a:gd name="connsiteY45" fmla="*/ 7393 h 9801"/>
              <a:gd name="connsiteX46" fmla="*/ 3695 w 10000"/>
              <a:gd name="connsiteY46" fmla="*/ 7479 h 9801"/>
              <a:gd name="connsiteX47" fmla="*/ 3747 w 10000"/>
              <a:gd name="connsiteY47" fmla="*/ 7564 h 9801"/>
              <a:gd name="connsiteX48" fmla="*/ 3786 w 10000"/>
              <a:gd name="connsiteY48" fmla="*/ 7642 h 9801"/>
              <a:gd name="connsiteX49" fmla="*/ 3826 w 10000"/>
              <a:gd name="connsiteY49" fmla="*/ 7728 h 9801"/>
              <a:gd name="connsiteX50" fmla="*/ 3865 w 10000"/>
              <a:gd name="connsiteY50" fmla="*/ 7813 h 9801"/>
              <a:gd name="connsiteX51" fmla="*/ 3898 w 10000"/>
              <a:gd name="connsiteY51" fmla="*/ 7898 h 9801"/>
              <a:gd name="connsiteX52" fmla="*/ 3930 w 10000"/>
              <a:gd name="connsiteY52" fmla="*/ 7989 h 9801"/>
              <a:gd name="connsiteX53" fmla="*/ 3963 w 10000"/>
              <a:gd name="connsiteY53" fmla="*/ 8079 h 9801"/>
              <a:gd name="connsiteX54" fmla="*/ 3996 w 10000"/>
              <a:gd name="connsiteY54" fmla="*/ 8165 h 9801"/>
              <a:gd name="connsiteX55" fmla="*/ 4022 w 10000"/>
              <a:gd name="connsiteY55" fmla="*/ 8255 h 9801"/>
              <a:gd name="connsiteX56" fmla="*/ 4042 w 10000"/>
              <a:gd name="connsiteY56" fmla="*/ 8346 h 9801"/>
              <a:gd name="connsiteX57" fmla="*/ 4069 w 10000"/>
              <a:gd name="connsiteY57" fmla="*/ 8444 h 9801"/>
              <a:gd name="connsiteX58" fmla="*/ 4088 w 10000"/>
              <a:gd name="connsiteY58" fmla="*/ 8535 h 9801"/>
              <a:gd name="connsiteX59" fmla="*/ 4108 w 10000"/>
              <a:gd name="connsiteY59" fmla="*/ 8626 h 9801"/>
              <a:gd name="connsiteX60" fmla="*/ 7213 w 10000"/>
              <a:gd name="connsiteY60" fmla="*/ 8943 h 9801"/>
              <a:gd name="connsiteX61" fmla="*/ 9974 w 10000"/>
              <a:gd name="connsiteY61" fmla="*/ 9801 h 9801"/>
              <a:gd name="connsiteX62" fmla="*/ 9987 w 10000"/>
              <a:gd name="connsiteY62" fmla="*/ 9606 h 9801"/>
              <a:gd name="connsiteX63" fmla="*/ 9993 w 10000"/>
              <a:gd name="connsiteY63" fmla="*/ 9408 h 9801"/>
              <a:gd name="connsiteX64" fmla="*/ 10000 w 10000"/>
              <a:gd name="connsiteY64" fmla="*/ 9207 h 9801"/>
              <a:gd name="connsiteX65" fmla="*/ 9993 w 10000"/>
              <a:gd name="connsiteY65" fmla="*/ 8966 h 9801"/>
              <a:gd name="connsiteX66" fmla="*/ 9987 w 10000"/>
              <a:gd name="connsiteY66" fmla="*/ 8734 h 9801"/>
              <a:gd name="connsiteX67" fmla="*/ 9967 w 10000"/>
              <a:gd name="connsiteY67" fmla="*/ 8498 h 9801"/>
              <a:gd name="connsiteX68" fmla="*/ 9948 w 10000"/>
              <a:gd name="connsiteY68" fmla="*/ 8269 h 9801"/>
              <a:gd name="connsiteX69" fmla="*/ 9915 w 10000"/>
              <a:gd name="connsiteY69" fmla="*/ 8030 h 9801"/>
              <a:gd name="connsiteX70" fmla="*/ 9882 w 10000"/>
              <a:gd name="connsiteY70" fmla="*/ 7807 h 9801"/>
              <a:gd name="connsiteX71" fmla="*/ 9843 w 10000"/>
              <a:gd name="connsiteY71" fmla="*/ 7576 h 9801"/>
              <a:gd name="connsiteX72" fmla="*/ 9796 w 10000"/>
              <a:gd name="connsiteY72" fmla="*/ 7351 h 9801"/>
              <a:gd name="connsiteX73" fmla="*/ 9744 w 10000"/>
              <a:gd name="connsiteY73" fmla="*/ 7127 h 9801"/>
              <a:gd name="connsiteX74" fmla="*/ 9685 w 10000"/>
              <a:gd name="connsiteY74" fmla="*/ 6910 h 9801"/>
              <a:gd name="connsiteX75" fmla="*/ 9620 w 10000"/>
              <a:gd name="connsiteY75" fmla="*/ 6684 h 9801"/>
              <a:gd name="connsiteX76" fmla="*/ 9555 w 10000"/>
              <a:gd name="connsiteY76" fmla="*/ 6466 h 9801"/>
              <a:gd name="connsiteX77" fmla="*/ 9475 w 10000"/>
              <a:gd name="connsiteY77" fmla="*/ 6253 h 9801"/>
              <a:gd name="connsiteX78" fmla="*/ 9396 w 10000"/>
              <a:gd name="connsiteY78" fmla="*/ 6041 h 9801"/>
              <a:gd name="connsiteX79" fmla="*/ 9304 w 10000"/>
              <a:gd name="connsiteY79" fmla="*/ 5829 h 9801"/>
              <a:gd name="connsiteX80" fmla="*/ 9213 w 10000"/>
              <a:gd name="connsiteY80" fmla="*/ 5625 h 9801"/>
              <a:gd name="connsiteX81" fmla="*/ 9121 w 10000"/>
              <a:gd name="connsiteY81" fmla="*/ 5418 h 9801"/>
              <a:gd name="connsiteX82" fmla="*/ 9016 w 10000"/>
              <a:gd name="connsiteY82" fmla="*/ 5217 h 9801"/>
              <a:gd name="connsiteX83" fmla="*/ 8911 w 10000"/>
              <a:gd name="connsiteY83" fmla="*/ 5017 h 9801"/>
              <a:gd name="connsiteX84" fmla="*/ 8800 w 10000"/>
              <a:gd name="connsiteY84" fmla="*/ 4818 h 9801"/>
              <a:gd name="connsiteX85" fmla="*/ 8682 w 10000"/>
              <a:gd name="connsiteY85" fmla="*/ 4623 h 9801"/>
              <a:gd name="connsiteX86" fmla="*/ 8557 w 10000"/>
              <a:gd name="connsiteY86" fmla="*/ 4436 h 9801"/>
              <a:gd name="connsiteX87" fmla="*/ 8432 w 10000"/>
              <a:gd name="connsiteY87" fmla="*/ 4247 h 9801"/>
              <a:gd name="connsiteX88" fmla="*/ 8300 w 10000"/>
              <a:gd name="connsiteY88" fmla="*/ 4059 h 9801"/>
              <a:gd name="connsiteX89" fmla="*/ 8162 w 10000"/>
              <a:gd name="connsiteY89" fmla="*/ 3878 h 9801"/>
              <a:gd name="connsiteX90" fmla="*/ 8018 w 10000"/>
              <a:gd name="connsiteY90" fmla="*/ 3700 h 9801"/>
              <a:gd name="connsiteX91" fmla="*/ 7873 w 10000"/>
              <a:gd name="connsiteY91" fmla="*/ 3525 h 9801"/>
              <a:gd name="connsiteX92" fmla="*/ 7723 w 10000"/>
              <a:gd name="connsiteY92" fmla="*/ 3349 h 9801"/>
              <a:gd name="connsiteX93" fmla="*/ 7573 w 10000"/>
              <a:gd name="connsiteY93" fmla="*/ 3186 h 9801"/>
              <a:gd name="connsiteX94" fmla="*/ 7407 w 10000"/>
              <a:gd name="connsiteY94" fmla="*/ 3023 h 9801"/>
              <a:gd name="connsiteX95" fmla="*/ 7250 w 10000"/>
              <a:gd name="connsiteY95" fmla="*/ 2858 h 9801"/>
              <a:gd name="connsiteX96" fmla="*/ 7080 w 10000"/>
              <a:gd name="connsiteY96" fmla="*/ 2695 h 9801"/>
              <a:gd name="connsiteX97" fmla="*/ 6910 w 10000"/>
              <a:gd name="connsiteY97" fmla="*/ 2542 h 9801"/>
              <a:gd name="connsiteX98" fmla="*/ 6740 w 10000"/>
              <a:gd name="connsiteY98" fmla="*/ 2392 h 9801"/>
              <a:gd name="connsiteX99" fmla="*/ 6556 w 10000"/>
              <a:gd name="connsiteY99" fmla="*/ 2248 h 9801"/>
              <a:gd name="connsiteX100" fmla="*/ 6372 w 10000"/>
              <a:gd name="connsiteY100" fmla="*/ 2107 h 9801"/>
              <a:gd name="connsiteX101" fmla="*/ 6188 w 10000"/>
              <a:gd name="connsiteY101" fmla="*/ 1969 h 9801"/>
              <a:gd name="connsiteX102" fmla="*/ 5998 w 10000"/>
              <a:gd name="connsiteY102" fmla="*/ 1833 h 9801"/>
              <a:gd name="connsiteX103" fmla="*/ 5801 w 10000"/>
              <a:gd name="connsiteY103" fmla="*/ 1702 h 9801"/>
              <a:gd name="connsiteX104" fmla="*/ 5605 w 10000"/>
              <a:gd name="connsiteY104" fmla="*/ 1574 h 9801"/>
              <a:gd name="connsiteX105" fmla="*/ 5407 w 10000"/>
              <a:gd name="connsiteY105" fmla="*/ 1453 h 9801"/>
              <a:gd name="connsiteX106" fmla="*/ 5204 w 10000"/>
              <a:gd name="connsiteY106" fmla="*/ 1337 h 9801"/>
              <a:gd name="connsiteX107" fmla="*/ 5001 w 10000"/>
              <a:gd name="connsiteY107" fmla="*/ 1222 h 9801"/>
              <a:gd name="connsiteX108" fmla="*/ 4783 w 10000"/>
              <a:gd name="connsiteY108" fmla="*/ 1113 h 9801"/>
              <a:gd name="connsiteX109" fmla="*/ 4574 w 10000"/>
              <a:gd name="connsiteY109" fmla="*/ 1010 h 9801"/>
              <a:gd name="connsiteX110" fmla="*/ 4356 w 10000"/>
              <a:gd name="connsiteY110" fmla="*/ 914 h 9801"/>
              <a:gd name="connsiteX111" fmla="*/ 4134 w 10000"/>
              <a:gd name="connsiteY111" fmla="*/ 815 h 9801"/>
              <a:gd name="connsiteX112" fmla="*/ 3917 w 10000"/>
              <a:gd name="connsiteY112" fmla="*/ 725 h 9801"/>
              <a:gd name="connsiteX113" fmla="*/ 3695 w 10000"/>
              <a:gd name="connsiteY113" fmla="*/ 647 h 9801"/>
              <a:gd name="connsiteX114" fmla="*/ 3464 w 10000"/>
              <a:gd name="connsiteY114" fmla="*/ 561 h 9801"/>
              <a:gd name="connsiteX115" fmla="*/ 3234 w 10000"/>
              <a:gd name="connsiteY115" fmla="*/ 490 h 9801"/>
              <a:gd name="connsiteX116" fmla="*/ 2999 w 10000"/>
              <a:gd name="connsiteY116" fmla="*/ 415 h 9801"/>
              <a:gd name="connsiteX117" fmla="*/ 2769 w 10000"/>
              <a:gd name="connsiteY117" fmla="*/ 355 h 9801"/>
              <a:gd name="connsiteX118" fmla="*/ 2528 w 10000"/>
              <a:gd name="connsiteY118" fmla="*/ 295 h 9801"/>
              <a:gd name="connsiteX119" fmla="*/ 2284 w 10000"/>
              <a:gd name="connsiteY119" fmla="*/ 239 h 9801"/>
              <a:gd name="connsiteX120" fmla="*/ 2047 w 10000"/>
              <a:gd name="connsiteY120" fmla="*/ 191 h 9801"/>
              <a:gd name="connsiteX121" fmla="*/ 1806 w 10000"/>
              <a:gd name="connsiteY121" fmla="*/ 149 h 9801"/>
              <a:gd name="connsiteX122" fmla="*/ 1555 w 10000"/>
              <a:gd name="connsiteY122" fmla="*/ 107 h 9801"/>
              <a:gd name="connsiteX123" fmla="*/ 1305 w 10000"/>
              <a:gd name="connsiteY123" fmla="*/ 75 h 9801"/>
              <a:gd name="connsiteX124" fmla="*/ 1057 w 10000"/>
              <a:gd name="connsiteY124" fmla="*/ 52 h 9801"/>
              <a:gd name="connsiteX125" fmla="*/ 807 w 10000"/>
              <a:gd name="connsiteY125" fmla="*/ 36 h 9801"/>
              <a:gd name="connsiteX126" fmla="*/ 551 w 10000"/>
              <a:gd name="connsiteY126" fmla="*/ 15 h 9801"/>
              <a:gd name="connsiteX127" fmla="*/ 295 w 10000"/>
              <a:gd name="connsiteY127" fmla="*/ 8 h 9801"/>
              <a:gd name="connsiteX128" fmla="*/ 39 w 10000"/>
              <a:gd name="connsiteY128" fmla="*/ 3 h 9801"/>
              <a:gd name="connsiteX129" fmla="*/ 0 w 10000"/>
              <a:gd name="connsiteY129" fmla="*/ 0 h 9801"/>
              <a:gd name="connsiteX130" fmla="*/ 1210 w 10000"/>
              <a:gd name="connsiteY130" fmla="*/ 2775 h 9801"/>
              <a:gd name="connsiteX131" fmla="*/ 7 w 10000"/>
              <a:gd name="connsiteY131" fmla="*/ 5412 h 9801"/>
              <a:gd name="connsiteX0" fmla="*/ 7 w 10000"/>
              <a:gd name="connsiteY0" fmla="*/ 5522 h 9801"/>
              <a:gd name="connsiteX1" fmla="*/ 20 w 10000"/>
              <a:gd name="connsiteY1" fmla="*/ 5516 h 9801"/>
              <a:gd name="connsiteX2" fmla="*/ 124 w 10000"/>
              <a:gd name="connsiteY2" fmla="*/ 5516 h 9801"/>
              <a:gd name="connsiteX3" fmla="*/ 230 w 10000"/>
              <a:gd name="connsiteY3" fmla="*/ 5522 h 9801"/>
              <a:gd name="connsiteX4" fmla="*/ 335 w 10000"/>
              <a:gd name="connsiteY4" fmla="*/ 5528 h 9801"/>
              <a:gd name="connsiteX5" fmla="*/ 439 w 10000"/>
              <a:gd name="connsiteY5" fmla="*/ 5534 h 9801"/>
              <a:gd name="connsiteX6" fmla="*/ 545 w 10000"/>
              <a:gd name="connsiteY6" fmla="*/ 5552 h 9801"/>
              <a:gd name="connsiteX7" fmla="*/ 650 w 10000"/>
              <a:gd name="connsiteY7" fmla="*/ 5565 h 9801"/>
              <a:gd name="connsiteX8" fmla="*/ 748 w 10000"/>
              <a:gd name="connsiteY8" fmla="*/ 5578 h 9801"/>
              <a:gd name="connsiteX9" fmla="*/ 846 w 10000"/>
              <a:gd name="connsiteY9" fmla="*/ 5597 h 9801"/>
              <a:gd name="connsiteX10" fmla="*/ 952 w 10000"/>
              <a:gd name="connsiteY10" fmla="*/ 5615 h 9801"/>
              <a:gd name="connsiteX11" fmla="*/ 1050 w 10000"/>
              <a:gd name="connsiteY11" fmla="*/ 5638 h 9801"/>
              <a:gd name="connsiteX12" fmla="*/ 1148 w 10000"/>
              <a:gd name="connsiteY12" fmla="*/ 5665 h 9801"/>
              <a:gd name="connsiteX13" fmla="*/ 1246 w 10000"/>
              <a:gd name="connsiteY13" fmla="*/ 5689 h 9801"/>
              <a:gd name="connsiteX14" fmla="*/ 1339 w 10000"/>
              <a:gd name="connsiteY14" fmla="*/ 5721 h 9801"/>
              <a:gd name="connsiteX15" fmla="*/ 1437 w 10000"/>
              <a:gd name="connsiteY15" fmla="*/ 5751 h 9801"/>
              <a:gd name="connsiteX16" fmla="*/ 1529 w 10000"/>
              <a:gd name="connsiteY16" fmla="*/ 5787 h 9801"/>
              <a:gd name="connsiteX17" fmla="*/ 1621 w 10000"/>
              <a:gd name="connsiteY17" fmla="*/ 5823 h 9801"/>
              <a:gd name="connsiteX18" fmla="*/ 1713 w 10000"/>
              <a:gd name="connsiteY18" fmla="*/ 5862 h 9801"/>
              <a:gd name="connsiteX19" fmla="*/ 1806 w 10000"/>
              <a:gd name="connsiteY19" fmla="*/ 5898 h 9801"/>
              <a:gd name="connsiteX20" fmla="*/ 1897 w 10000"/>
              <a:gd name="connsiteY20" fmla="*/ 5941 h 9801"/>
              <a:gd name="connsiteX21" fmla="*/ 1989 w 10000"/>
              <a:gd name="connsiteY21" fmla="*/ 5984 h 9801"/>
              <a:gd name="connsiteX22" fmla="*/ 2074 w 10000"/>
              <a:gd name="connsiteY22" fmla="*/ 6034 h 9801"/>
              <a:gd name="connsiteX23" fmla="*/ 2160 w 10000"/>
              <a:gd name="connsiteY23" fmla="*/ 6078 h 9801"/>
              <a:gd name="connsiteX24" fmla="*/ 2245 w 10000"/>
              <a:gd name="connsiteY24" fmla="*/ 6127 h 9801"/>
              <a:gd name="connsiteX25" fmla="*/ 2323 w 10000"/>
              <a:gd name="connsiteY25" fmla="*/ 6177 h 9801"/>
              <a:gd name="connsiteX26" fmla="*/ 2408 w 10000"/>
              <a:gd name="connsiteY26" fmla="*/ 6233 h 9801"/>
              <a:gd name="connsiteX27" fmla="*/ 2486 w 10000"/>
              <a:gd name="connsiteY27" fmla="*/ 6287 h 9801"/>
              <a:gd name="connsiteX28" fmla="*/ 2567 w 10000"/>
              <a:gd name="connsiteY28" fmla="*/ 6343 h 9801"/>
              <a:gd name="connsiteX29" fmla="*/ 2645 w 10000"/>
              <a:gd name="connsiteY29" fmla="*/ 6398 h 9801"/>
              <a:gd name="connsiteX30" fmla="*/ 2724 w 10000"/>
              <a:gd name="connsiteY30" fmla="*/ 6461 h 9801"/>
              <a:gd name="connsiteX31" fmla="*/ 2796 w 10000"/>
              <a:gd name="connsiteY31" fmla="*/ 6525 h 9801"/>
              <a:gd name="connsiteX32" fmla="*/ 2867 w 10000"/>
              <a:gd name="connsiteY32" fmla="*/ 6587 h 9801"/>
              <a:gd name="connsiteX33" fmla="*/ 2940 w 10000"/>
              <a:gd name="connsiteY33" fmla="*/ 6654 h 9801"/>
              <a:gd name="connsiteX34" fmla="*/ 3006 w 10000"/>
              <a:gd name="connsiteY34" fmla="*/ 6721 h 9801"/>
              <a:gd name="connsiteX35" fmla="*/ 3078 w 10000"/>
              <a:gd name="connsiteY35" fmla="*/ 6789 h 9801"/>
              <a:gd name="connsiteX36" fmla="*/ 3143 w 10000"/>
              <a:gd name="connsiteY36" fmla="*/ 6857 h 9801"/>
              <a:gd name="connsiteX37" fmla="*/ 3202 w 10000"/>
              <a:gd name="connsiteY37" fmla="*/ 6932 h 9801"/>
              <a:gd name="connsiteX38" fmla="*/ 3268 w 10000"/>
              <a:gd name="connsiteY38" fmla="*/ 7000 h 9801"/>
              <a:gd name="connsiteX39" fmla="*/ 3327 w 10000"/>
              <a:gd name="connsiteY39" fmla="*/ 7074 h 9801"/>
              <a:gd name="connsiteX40" fmla="*/ 3386 w 10000"/>
              <a:gd name="connsiteY40" fmla="*/ 7148 h 9801"/>
              <a:gd name="connsiteX41" fmla="*/ 3445 w 10000"/>
              <a:gd name="connsiteY41" fmla="*/ 7223 h 9801"/>
              <a:gd name="connsiteX42" fmla="*/ 3497 w 10000"/>
              <a:gd name="connsiteY42" fmla="*/ 7302 h 9801"/>
              <a:gd name="connsiteX43" fmla="*/ 3550 w 10000"/>
              <a:gd name="connsiteY43" fmla="*/ 7383 h 9801"/>
              <a:gd name="connsiteX44" fmla="*/ 3602 w 10000"/>
              <a:gd name="connsiteY44" fmla="*/ 7465 h 9801"/>
              <a:gd name="connsiteX45" fmla="*/ 3656 w 10000"/>
              <a:gd name="connsiteY45" fmla="*/ 7543 h 9801"/>
              <a:gd name="connsiteX46" fmla="*/ 3695 w 10000"/>
              <a:gd name="connsiteY46" fmla="*/ 7631 h 9801"/>
              <a:gd name="connsiteX47" fmla="*/ 3747 w 10000"/>
              <a:gd name="connsiteY47" fmla="*/ 7718 h 9801"/>
              <a:gd name="connsiteX48" fmla="*/ 3786 w 10000"/>
              <a:gd name="connsiteY48" fmla="*/ 7797 h 9801"/>
              <a:gd name="connsiteX49" fmla="*/ 3826 w 10000"/>
              <a:gd name="connsiteY49" fmla="*/ 7885 h 9801"/>
              <a:gd name="connsiteX50" fmla="*/ 3865 w 10000"/>
              <a:gd name="connsiteY50" fmla="*/ 7972 h 9801"/>
              <a:gd name="connsiteX51" fmla="*/ 3898 w 10000"/>
              <a:gd name="connsiteY51" fmla="*/ 8058 h 9801"/>
              <a:gd name="connsiteX52" fmla="*/ 3930 w 10000"/>
              <a:gd name="connsiteY52" fmla="*/ 8151 h 9801"/>
              <a:gd name="connsiteX53" fmla="*/ 3963 w 10000"/>
              <a:gd name="connsiteY53" fmla="*/ 8243 h 9801"/>
              <a:gd name="connsiteX54" fmla="*/ 3996 w 10000"/>
              <a:gd name="connsiteY54" fmla="*/ 8331 h 9801"/>
              <a:gd name="connsiteX55" fmla="*/ 4022 w 10000"/>
              <a:gd name="connsiteY55" fmla="*/ 8423 h 9801"/>
              <a:gd name="connsiteX56" fmla="*/ 4042 w 10000"/>
              <a:gd name="connsiteY56" fmla="*/ 8515 h 9801"/>
              <a:gd name="connsiteX57" fmla="*/ 4069 w 10000"/>
              <a:gd name="connsiteY57" fmla="*/ 8615 h 9801"/>
              <a:gd name="connsiteX58" fmla="*/ 4088 w 10000"/>
              <a:gd name="connsiteY58" fmla="*/ 8708 h 9801"/>
              <a:gd name="connsiteX59" fmla="*/ 4108 w 10000"/>
              <a:gd name="connsiteY59" fmla="*/ 8801 h 9801"/>
              <a:gd name="connsiteX60" fmla="*/ 7213 w 10000"/>
              <a:gd name="connsiteY60" fmla="*/ 9125 h 9801"/>
              <a:gd name="connsiteX61" fmla="*/ 9987 w 10000"/>
              <a:gd name="connsiteY61" fmla="*/ 9801 h 9801"/>
              <a:gd name="connsiteX62" fmla="*/ 9993 w 10000"/>
              <a:gd name="connsiteY62" fmla="*/ 9599 h 9801"/>
              <a:gd name="connsiteX63" fmla="*/ 10000 w 10000"/>
              <a:gd name="connsiteY63" fmla="*/ 9394 h 9801"/>
              <a:gd name="connsiteX64" fmla="*/ 9993 w 10000"/>
              <a:gd name="connsiteY64" fmla="*/ 9148 h 9801"/>
              <a:gd name="connsiteX65" fmla="*/ 9987 w 10000"/>
              <a:gd name="connsiteY65" fmla="*/ 8911 h 9801"/>
              <a:gd name="connsiteX66" fmla="*/ 9967 w 10000"/>
              <a:gd name="connsiteY66" fmla="*/ 8671 h 9801"/>
              <a:gd name="connsiteX67" fmla="*/ 9948 w 10000"/>
              <a:gd name="connsiteY67" fmla="*/ 8437 h 9801"/>
              <a:gd name="connsiteX68" fmla="*/ 9915 w 10000"/>
              <a:gd name="connsiteY68" fmla="*/ 8193 h 9801"/>
              <a:gd name="connsiteX69" fmla="*/ 9882 w 10000"/>
              <a:gd name="connsiteY69" fmla="*/ 7966 h 9801"/>
              <a:gd name="connsiteX70" fmla="*/ 9843 w 10000"/>
              <a:gd name="connsiteY70" fmla="*/ 7730 h 9801"/>
              <a:gd name="connsiteX71" fmla="*/ 9796 w 10000"/>
              <a:gd name="connsiteY71" fmla="*/ 7500 h 9801"/>
              <a:gd name="connsiteX72" fmla="*/ 9744 w 10000"/>
              <a:gd name="connsiteY72" fmla="*/ 7272 h 9801"/>
              <a:gd name="connsiteX73" fmla="*/ 9685 w 10000"/>
              <a:gd name="connsiteY73" fmla="*/ 7050 h 9801"/>
              <a:gd name="connsiteX74" fmla="*/ 9620 w 10000"/>
              <a:gd name="connsiteY74" fmla="*/ 6820 h 9801"/>
              <a:gd name="connsiteX75" fmla="*/ 9555 w 10000"/>
              <a:gd name="connsiteY75" fmla="*/ 6597 h 9801"/>
              <a:gd name="connsiteX76" fmla="*/ 9475 w 10000"/>
              <a:gd name="connsiteY76" fmla="*/ 6380 h 9801"/>
              <a:gd name="connsiteX77" fmla="*/ 9396 w 10000"/>
              <a:gd name="connsiteY77" fmla="*/ 6164 h 9801"/>
              <a:gd name="connsiteX78" fmla="*/ 9304 w 10000"/>
              <a:gd name="connsiteY78" fmla="*/ 5947 h 9801"/>
              <a:gd name="connsiteX79" fmla="*/ 9213 w 10000"/>
              <a:gd name="connsiteY79" fmla="*/ 5739 h 9801"/>
              <a:gd name="connsiteX80" fmla="*/ 9121 w 10000"/>
              <a:gd name="connsiteY80" fmla="*/ 5528 h 9801"/>
              <a:gd name="connsiteX81" fmla="*/ 9016 w 10000"/>
              <a:gd name="connsiteY81" fmla="*/ 5323 h 9801"/>
              <a:gd name="connsiteX82" fmla="*/ 8911 w 10000"/>
              <a:gd name="connsiteY82" fmla="*/ 5119 h 9801"/>
              <a:gd name="connsiteX83" fmla="*/ 8800 w 10000"/>
              <a:gd name="connsiteY83" fmla="*/ 4916 h 9801"/>
              <a:gd name="connsiteX84" fmla="*/ 8682 w 10000"/>
              <a:gd name="connsiteY84" fmla="*/ 4717 h 9801"/>
              <a:gd name="connsiteX85" fmla="*/ 8557 w 10000"/>
              <a:gd name="connsiteY85" fmla="*/ 4526 h 9801"/>
              <a:gd name="connsiteX86" fmla="*/ 8432 w 10000"/>
              <a:gd name="connsiteY86" fmla="*/ 4333 h 9801"/>
              <a:gd name="connsiteX87" fmla="*/ 8300 w 10000"/>
              <a:gd name="connsiteY87" fmla="*/ 4141 h 9801"/>
              <a:gd name="connsiteX88" fmla="*/ 8162 w 10000"/>
              <a:gd name="connsiteY88" fmla="*/ 3957 h 9801"/>
              <a:gd name="connsiteX89" fmla="*/ 8018 w 10000"/>
              <a:gd name="connsiteY89" fmla="*/ 3775 h 9801"/>
              <a:gd name="connsiteX90" fmla="*/ 7873 w 10000"/>
              <a:gd name="connsiteY90" fmla="*/ 3597 h 9801"/>
              <a:gd name="connsiteX91" fmla="*/ 7723 w 10000"/>
              <a:gd name="connsiteY91" fmla="*/ 3417 h 9801"/>
              <a:gd name="connsiteX92" fmla="*/ 7573 w 10000"/>
              <a:gd name="connsiteY92" fmla="*/ 3251 h 9801"/>
              <a:gd name="connsiteX93" fmla="*/ 7407 w 10000"/>
              <a:gd name="connsiteY93" fmla="*/ 3084 h 9801"/>
              <a:gd name="connsiteX94" fmla="*/ 7250 w 10000"/>
              <a:gd name="connsiteY94" fmla="*/ 2916 h 9801"/>
              <a:gd name="connsiteX95" fmla="*/ 7080 w 10000"/>
              <a:gd name="connsiteY95" fmla="*/ 2750 h 9801"/>
              <a:gd name="connsiteX96" fmla="*/ 6910 w 10000"/>
              <a:gd name="connsiteY96" fmla="*/ 2594 h 9801"/>
              <a:gd name="connsiteX97" fmla="*/ 6740 w 10000"/>
              <a:gd name="connsiteY97" fmla="*/ 2441 h 9801"/>
              <a:gd name="connsiteX98" fmla="*/ 6556 w 10000"/>
              <a:gd name="connsiteY98" fmla="*/ 2294 h 9801"/>
              <a:gd name="connsiteX99" fmla="*/ 6372 w 10000"/>
              <a:gd name="connsiteY99" fmla="*/ 2150 h 9801"/>
              <a:gd name="connsiteX100" fmla="*/ 6188 w 10000"/>
              <a:gd name="connsiteY100" fmla="*/ 2009 h 9801"/>
              <a:gd name="connsiteX101" fmla="*/ 5998 w 10000"/>
              <a:gd name="connsiteY101" fmla="*/ 1870 h 9801"/>
              <a:gd name="connsiteX102" fmla="*/ 5801 w 10000"/>
              <a:gd name="connsiteY102" fmla="*/ 1737 h 9801"/>
              <a:gd name="connsiteX103" fmla="*/ 5605 w 10000"/>
              <a:gd name="connsiteY103" fmla="*/ 1606 h 9801"/>
              <a:gd name="connsiteX104" fmla="*/ 5407 w 10000"/>
              <a:gd name="connsiteY104" fmla="*/ 1483 h 9801"/>
              <a:gd name="connsiteX105" fmla="*/ 5204 w 10000"/>
              <a:gd name="connsiteY105" fmla="*/ 1364 h 9801"/>
              <a:gd name="connsiteX106" fmla="*/ 5001 w 10000"/>
              <a:gd name="connsiteY106" fmla="*/ 1247 h 9801"/>
              <a:gd name="connsiteX107" fmla="*/ 4783 w 10000"/>
              <a:gd name="connsiteY107" fmla="*/ 1136 h 9801"/>
              <a:gd name="connsiteX108" fmla="*/ 4574 w 10000"/>
              <a:gd name="connsiteY108" fmla="*/ 1031 h 9801"/>
              <a:gd name="connsiteX109" fmla="*/ 4356 w 10000"/>
              <a:gd name="connsiteY109" fmla="*/ 933 h 9801"/>
              <a:gd name="connsiteX110" fmla="*/ 4134 w 10000"/>
              <a:gd name="connsiteY110" fmla="*/ 832 h 9801"/>
              <a:gd name="connsiteX111" fmla="*/ 3917 w 10000"/>
              <a:gd name="connsiteY111" fmla="*/ 740 h 9801"/>
              <a:gd name="connsiteX112" fmla="*/ 3695 w 10000"/>
              <a:gd name="connsiteY112" fmla="*/ 660 h 9801"/>
              <a:gd name="connsiteX113" fmla="*/ 3464 w 10000"/>
              <a:gd name="connsiteY113" fmla="*/ 572 h 9801"/>
              <a:gd name="connsiteX114" fmla="*/ 3234 w 10000"/>
              <a:gd name="connsiteY114" fmla="*/ 500 h 9801"/>
              <a:gd name="connsiteX115" fmla="*/ 2999 w 10000"/>
              <a:gd name="connsiteY115" fmla="*/ 423 h 9801"/>
              <a:gd name="connsiteX116" fmla="*/ 2769 w 10000"/>
              <a:gd name="connsiteY116" fmla="*/ 362 h 9801"/>
              <a:gd name="connsiteX117" fmla="*/ 2528 w 10000"/>
              <a:gd name="connsiteY117" fmla="*/ 301 h 9801"/>
              <a:gd name="connsiteX118" fmla="*/ 2284 w 10000"/>
              <a:gd name="connsiteY118" fmla="*/ 244 h 9801"/>
              <a:gd name="connsiteX119" fmla="*/ 2047 w 10000"/>
              <a:gd name="connsiteY119" fmla="*/ 195 h 9801"/>
              <a:gd name="connsiteX120" fmla="*/ 1806 w 10000"/>
              <a:gd name="connsiteY120" fmla="*/ 152 h 9801"/>
              <a:gd name="connsiteX121" fmla="*/ 1555 w 10000"/>
              <a:gd name="connsiteY121" fmla="*/ 109 h 9801"/>
              <a:gd name="connsiteX122" fmla="*/ 1305 w 10000"/>
              <a:gd name="connsiteY122" fmla="*/ 77 h 9801"/>
              <a:gd name="connsiteX123" fmla="*/ 1057 w 10000"/>
              <a:gd name="connsiteY123" fmla="*/ 53 h 9801"/>
              <a:gd name="connsiteX124" fmla="*/ 807 w 10000"/>
              <a:gd name="connsiteY124" fmla="*/ 37 h 9801"/>
              <a:gd name="connsiteX125" fmla="*/ 551 w 10000"/>
              <a:gd name="connsiteY125" fmla="*/ 15 h 9801"/>
              <a:gd name="connsiteX126" fmla="*/ 295 w 10000"/>
              <a:gd name="connsiteY126" fmla="*/ 8 h 9801"/>
              <a:gd name="connsiteX127" fmla="*/ 39 w 10000"/>
              <a:gd name="connsiteY127" fmla="*/ 3 h 9801"/>
              <a:gd name="connsiteX128" fmla="*/ 0 w 10000"/>
              <a:gd name="connsiteY128" fmla="*/ 0 h 9801"/>
              <a:gd name="connsiteX129" fmla="*/ 1210 w 10000"/>
              <a:gd name="connsiteY129" fmla="*/ 2831 h 9801"/>
              <a:gd name="connsiteX130" fmla="*/ 7 w 10000"/>
              <a:gd name="connsiteY130" fmla="*/ 5522 h 9801"/>
              <a:gd name="connsiteX0" fmla="*/ 7 w 10000"/>
              <a:gd name="connsiteY0" fmla="*/ 5634 h 9794"/>
              <a:gd name="connsiteX1" fmla="*/ 20 w 10000"/>
              <a:gd name="connsiteY1" fmla="*/ 5628 h 9794"/>
              <a:gd name="connsiteX2" fmla="*/ 124 w 10000"/>
              <a:gd name="connsiteY2" fmla="*/ 5628 h 9794"/>
              <a:gd name="connsiteX3" fmla="*/ 230 w 10000"/>
              <a:gd name="connsiteY3" fmla="*/ 5634 h 9794"/>
              <a:gd name="connsiteX4" fmla="*/ 335 w 10000"/>
              <a:gd name="connsiteY4" fmla="*/ 5640 h 9794"/>
              <a:gd name="connsiteX5" fmla="*/ 439 w 10000"/>
              <a:gd name="connsiteY5" fmla="*/ 5646 h 9794"/>
              <a:gd name="connsiteX6" fmla="*/ 545 w 10000"/>
              <a:gd name="connsiteY6" fmla="*/ 5665 h 9794"/>
              <a:gd name="connsiteX7" fmla="*/ 650 w 10000"/>
              <a:gd name="connsiteY7" fmla="*/ 5678 h 9794"/>
              <a:gd name="connsiteX8" fmla="*/ 748 w 10000"/>
              <a:gd name="connsiteY8" fmla="*/ 5691 h 9794"/>
              <a:gd name="connsiteX9" fmla="*/ 846 w 10000"/>
              <a:gd name="connsiteY9" fmla="*/ 5711 h 9794"/>
              <a:gd name="connsiteX10" fmla="*/ 952 w 10000"/>
              <a:gd name="connsiteY10" fmla="*/ 5729 h 9794"/>
              <a:gd name="connsiteX11" fmla="*/ 1050 w 10000"/>
              <a:gd name="connsiteY11" fmla="*/ 5752 h 9794"/>
              <a:gd name="connsiteX12" fmla="*/ 1148 w 10000"/>
              <a:gd name="connsiteY12" fmla="*/ 5780 h 9794"/>
              <a:gd name="connsiteX13" fmla="*/ 1246 w 10000"/>
              <a:gd name="connsiteY13" fmla="*/ 5805 h 9794"/>
              <a:gd name="connsiteX14" fmla="*/ 1339 w 10000"/>
              <a:gd name="connsiteY14" fmla="*/ 5837 h 9794"/>
              <a:gd name="connsiteX15" fmla="*/ 1437 w 10000"/>
              <a:gd name="connsiteY15" fmla="*/ 5868 h 9794"/>
              <a:gd name="connsiteX16" fmla="*/ 1529 w 10000"/>
              <a:gd name="connsiteY16" fmla="*/ 5904 h 9794"/>
              <a:gd name="connsiteX17" fmla="*/ 1621 w 10000"/>
              <a:gd name="connsiteY17" fmla="*/ 5941 h 9794"/>
              <a:gd name="connsiteX18" fmla="*/ 1713 w 10000"/>
              <a:gd name="connsiteY18" fmla="*/ 5981 h 9794"/>
              <a:gd name="connsiteX19" fmla="*/ 1806 w 10000"/>
              <a:gd name="connsiteY19" fmla="*/ 6018 h 9794"/>
              <a:gd name="connsiteX20" fmla="*/ 1897 w 10000"/>
              <a:gd name="connsiteY20" fmla="*/ 6062 h 9794"/>
              <a:gd name="connsiteX21" fmla="*/ 1989 w 10000"/>
              <a:gd name="connsiteY21" fmla="*/ 6105 h 9794"/>
              <a:gd name="connsiteX22" fmla="*/ 2074 w 10000"/>
              <a:gd name="connsiteY22" fmla="*/ 6157 h 9794"/>
              <a:gd name="connsiteX23" fmla="*/ 2160 w 10000"/>
              <a:gd name="connsiteY23" fmla="*/ 6201 h 9794"/>
              <a:gd name="connsiteX24" fmla="*/ 2245 w 10000"/>
              <a:gd name="connsiteY24" fmla="*/ 6251 h 9794"/>
              <a:gd name="connsiteX25" fmla="*/ 2323 w 10000"/>
              <a:gd name="connsiteY25" fmla="*/ 6302 h 9794"/>
              <a:gd name="connsiteX26" fmla="*/ 2408 w 10000"/>
              <a:gd name="connsiteY26" fmla="*/ 6360 h 9794"/>
              <a:gd name="connsiteX27" fmla="*/ 2486 w 10000"/>
              <a:gd name="connsiteY27" fmla="*/ 6415 h 9794"/>
              <a:gd name="connsiteX28" fmla="*/ 2567 w 10000"/>
              <a:gd name="connsiteY28" fmla="*/ 6472 h 9794"/>
              <a:gd name="connsiteX29" fmla="*/ 2645 w 10000"/>
              <a:gd name="connsiteY29" fmla="*/ 6528 h 9794"/>
              <a:gd name="connsiteX30" fmla="*/ 2724 w 10000"/>
              <a:gd name="connsiteY30" fmla="*/ 6592 h 9794"/>
              <a:gd name="connsiteX31" fmla="*/ 2796 w 10000"/>
              <a:gd name="connsiteY31" fmla="*/ 6657 h 9794"/>
              <a:gd name="connsiteX32" fmla="*/ 2867 w 10000"/>
              <a:gd name="connsiteY32" fmla="*/ 6721 h 9794"/>
              <a:gd name="connsiteX33" fmla="*/ 2940 w 10000"/>
              <a:gd name="connsiteY33" fmla="*/ 6789 h 9794"/>
              <a:gd name="connsiteX34" fmla="*/ 3006 w 10000"/>
              <a:gd name="connsiteY34" fmla="*/ 6857 h 9794"/>
              <a:gd name="connsiteX35" fmla="*/ 3078 w 10000"/>
              <a:gd name="connsiteY35" fmla="*/ 6927 h 9794"/>
              <a:gd name="connsiteX36" fmla="*/ 3143 w 10000"/>
              <a:gd name="connsiteY36" fmla="*/ 6996 h 9794"/>
              <a:gd name="connsiteX37" fmla="*/ 3202 w 10000"/>
              <a:gd name="connsiteY37" fmla="*/ 7073 h 9794"/>
              <a:gd name="connsiteX38" fmla="*/ 3268 w 10000"/>
              <a:gd name="connsiteY38" fmla="*/ 7142 h 9794"/>
              <a:gd name="connsiteX39" fmla="*/ 3327 w 10000"/>
              <a:gd name="connsiteY39" fmla="*/ 7218 h 9794"/>
              <a:gd name="connsiteX40" fmla="*/ 3386 w 10000"/>
              <a:gd name="connsiteY40" fmla="*/ 7293 h 9794"/>
              <a:gd name="connsiteX41" fmla="*/ 3445 w 10000"/>
              <a:gd name="connsiteY41" fmla="*/ 7370 h 9794"/>
              <a:gd name="connsiteX42" fmla="*/ 3497 w 10000"/>
              <a:gd name="connsiteY42" fmla="*/ 7450 h 9794"/>
              <a:gd name="connsiteX43" fmla="*/ 3550 w 10000"/>
              <a:gd name="connsiteY43" fmla="*/ 7533 h 9794"/>
              <a:gd name="connsiteX44" fmla="*/ 3602 w 10000"/>
              <a:gd name="connsiteY44" fmla="*/ 7617 h 9794"/>
              <a:gd name="connsiteX45" fmla="*/ 3656 w 10000"/>
              <a:gd name="connsiteY45" fmla="*/ 7696 h 9794"/>
              <a:gd name="connsiteX46" fmla="*/ 3695 w 10000"/>
              <a:gd name="connsiteY46" fmla="*/ 7786 h 9794"/>
              <a:gd name="connsiteX47" fmla="*/ 3747 w 10000"/>
              <a:gd name="connsiteY47" fmla="*/ 7875 h 9794"/>
              <a:gd name="connsiteX48" fmla="*/ 3786 w 10000"/>
              <a:gd name="connsiteY48" fmla="*/ 7955 h 9794"/>
              <a:gd name="connsiteX49" fmla="*/ 3826 w 10000"/>
              <a:gd name="connsiteY49" fmla="*/ 8045 h 9794"/>
              <a:gd name="connsiteX50" fmla="*/ 3865 w 10000"/>
              <a:gd name="connsiteY50" fmla="*/ 8134 h 9794"/>
              <a:gd name="connsiteX51" fmla="*/ 3898 w 10000"/>
              <a:gd name="connsiteY51" fmla="*/ 8222 h 9794"/>
              <a:gd name="connsiteX52" fmla="*/ 3930 w 10000"/>
              <a:gd name="connsiteY52" fmla="*/ 8316 h 9794"/>
              <a:gd name="connsiteX53" fmla="*/ 3963 w 10000"/>
              <a:gd name="connsiteY53" fmla="*/ 8410 h 9794"/>
              <a:gd name="connsiteX54" fmla="*/ 3996 w 10000"/>
              <a:gd name="connsiteY54" fmla="*/ 8500 h 9794"/>
              <a:gd name="connsiteX55" fmla="*/ 4022 w 10000"/>
              <a:gd name="connsiteY55" fmla="*/ 8594 h 9794"/>
              <a:gd name="connsiteX56" fmla="*/ 4042 w 10000"/>
              <a:gd name="connsiteY56" fmla="*/ 8688 h 9794"/>
              <a:gd name="connsiteX57" fmla="*/ 4069 w 10000"/>
              <a:gd name="connsiteY57" fmla="*/ 8790 h 9794"/>
              <a:gd name="connsiteX58" fmla="*/ 4088 w 10000"/>
              <a:gd name="connsiteY58" fmla="*/ 8885 h 9794"/>
              <a:gd name="connsiteX59" fmla="*/ 4108 w 10000"/>
              <a:gd name="connsiteY59" fmla="*/ 8980 h 9794"/>
              <a:gd name="connsiteX60" fmla="*/ 7213 w 10000"/>
              <a:gd name="connsiteY60" fmla="*/ 9310 h 9794"/>
              <a:gd name="connsiteX61" fmla="*/ 9993 w 10000"/>
              <a:gd name="connsiteY61" fmla="*/ 9794 h 9794"/>
              <a:gd name="connsiteX62" fmla="*/ 10000 w 10000"/>
              <a:gd name="connsiteY62" fmla="*/ 9585 h 9794"/>
              <a:gd name="connsiteX63" fmla="*/ 9993 w 10000"/>
              <a:gd name="connsiteY63" fmla="*/ 9334 h 9794"/>
              <a:gd name="connsiteX64" fmla="*/ 9987 w 10000"/>
              <a:gd name="connsiteY64" fmla="*/ 9092 h 9794"/>
              <a:gd name="connsiteX65" fmla="*/ 9967 w 10000"/>
              <a:gd name="connsiteY65" fmla="*/ 8847 h 9794"/>
              <a:gd name="connsiteX66" fmla="*/ 9948 w 10000"/>
              <a:gd name="connsiteY66" fmla="*/ 8608 h 9794"/>
              <a:gd name="connsiteX67" fmla="*/ 9915 w 10000"/>
              <a:gd name="connsiteY67" fmla="*/ 8359 h 9794"/>
              <a:gd name="connsiteX68" fmla="*/ 9882 w 10000"/>
              <a:gd name="connsiteY68" fmla="*/ 8128 h 9794"/>
              <a:gd name="connsiteX69" fmla="*/ 9843 w 10000"/>
              <a:gd name="connsiteY69" fmla="*/ 7887 h 9794"/>
              <a:gd name="connsiteX70" fmla="*/ 9796 w 10000"/>
              <a:gd name="connsiteY70" fmla="*/ 7652 h 9794"/>
              <a:gd name="connsiteX71" fmla="*/ 9744 w 10000"/>
              <a:gd name="connsiteY71" fmla="*/ 7420 h 9794"/>
              <a:gd name="connsiteX72" fmla="*/ 9685 w 10000"/>
              <a:gd name="connsiteY72" fmla="*/ 7193 h 9794"/>
              <a:gd name="connsiteX73" fmla="*/ 9620 w 10000"/>
              <a:gd name="connsiteY73" fmla="*/ 6958 h 9794"/>
              <a:gd name="connsiteX74" fmla="*/ 9555 w 10000"/>
              <a:gd name="connsiteY74" fmla="*/ 6731 h 9794"/>
              <a:gd name="connsiteX75" fmla="*/ 9475 w 10000"/>
              <a:gd name="connsiteY75" fmla="*/ 6510 h 9794"/>
              <a:gd name="connsiteX76" fmla="*/ 9396 w 10000"/>
              <a:gd name="connsiteY76" fmla="*/ 6289 h 9794"/>
              <a:gd name="connsiteX77" fmla="*/ 9304 w 10000"/>
              <a:gd name="connsiteY77" fmla="*/ 6068 h 9794"/>
              <a:gd name="connsiteX78" fmla="*/ 9213 w 10000"/>
              <a:gd name="connsiteY78" fmla="*/ 5856 h 9794"/>
              <a:gd name="connsiteX79" fmla="*/ 9121 w 10000"/>
              <a:gd name="connsiteY79" fmla="*/ 5640 h 9794"/>
              <a:gd name="connsiteX80" fmla="*/ 9016 w 10000"/>
              <a:gd name="connsiteY80" fmla="*/ 5431 h 9794"/>
              <a:gd name="connsiteX81" fmla="*/ 8911 w 10000"/>
              <a:gd name="connsiteY81" fmla="*/ 5223 h 9794"/>
              <a:gd name="connsiteX82" fmla="*/ 8800 w 10000"/>
              <a:gd name="connsiteY82" fmla="*/ 5016 h 9794"/>
              <a:gd name="connsiteX83" fmla="*/ 8682 w 10000"/>
              <a:gd name="connsiteY83" fmla="*/ 4813 h 9794"/>
              <a:gd name="connsiteX84" fmla="*/ 8557 w 10000"/>
              <a:gd name="connsiteY84" fmla="*/ 4618 h 9794"/>
              <a:gd name="connsiteX85" fmla="*/ 8432 w 10000"/>
              <a:gd name="connsiteY85" fmla="*/ 4421 h 9794"/>
              <a:gd name="connsiteX86" fmla="*/ 8300 w 10000"/>
              <a:gd name="connsiteY86" fmla="*/ 4225 h 9794"/>
              <a:gd name="connsiteX87" fmla="*/ 8162 w 10000"/>
              <a:gd name="connsiteY87" fmla="*/ 4037 h 9794"/>
              <a:gd name="connsiteX88" fmla="*/ 8018 w 10000"/>
              <a:gd name="connsiteY88" fmla="*/ 3852 h 9794"/>
              <a:gd name="connsiteX89" fmla="*/ 7873 w 10000"/>
              <a:gd name="connsiteY89" fmla="*/ 3670 h 9794"/>
              <a:gd name="connsiteX90" fmla="*/ 7723 w 10000"/>
              <a:gd name="connsiteY90" fmla="*/ 3486 h 9794"/>
              <a:gd name="connsiteX91" fmla="*/ 7573 w 10000"/>
              <a:gd name="connsiteY91" fmla="*/ 3317 h 9794"/>
              <a:gd name="connsiteX92" fmla="*/ 7407 w 10000"/>
              <a:gd name="connsiteY92" fmla="*/ 3147 h 9794"/>
              <a:gd name="connsiteX93" fmla="*/ 7250 w 10000"/>
              <a:gd name="connsiteY93" fmla="*/ 2975 h 9794"/>
              <a:gd name="connsiteX94" fmla="*/ 7080 w 10000"/>
              <a:gd name="connsiteY94" fmla="*/ 2806 h 9794"/>
              <a:gd name="connsiteX95" fmla="*/ 6910 w 10000"/>
              <a:gd name="connsiteY95" fmla="*/ 2647 h 9794"/>
              <a:gd name="connsiteX96" fmla="*/ 6740 w 10000"/>
              <a:gd name="connsiteY96" fmla="*/ 2491 h 9794"/>
              <a:gd name="connsiteX97" fmla="*/ 6556 w 10000"/>
              <a:gd name="connsiteY97" fmla="*/ 2341 h 9794"/>
              <a:gd name="connsiteX98" fmla="*/ 6372 w 10000"/>
              <a:gd name="connsiteY98" fmla="*/ 2194 h 9794"/>
              <a:gd name="connsiteX99" fmla="*/ 6188 w 10000"/>
              <a:gd name="connsiteY99" fmla="*/ 2050 h 9794"/>
              <a:gd name="connsiteX100" fmla="*/ 5998 w 10000"/>
              <a:gd name="connsiteY100" fmla="*/ 1908 h 9794"/>
              <a:gd name="connsiteX101" fmla="*/ 5801 w 10000"/>
              <a:gd name="connsiteY101" fmla="*/ 1772 h 9794"/>
              <a:gd name="connsiteX102" fmla="*/ 5605 w 10000"/>
              <a:gd name="connsiteY102" fmla="*/ 1639 h 9794"/>
              <a:gd name="connsiteX103" fmla="*/ 5407 w 10000"/>
              <a:gd name="connsiteY103" fmla="*/ 1513 h 9794"/>
              <a:gd name="connsiteX104" fmla="*/ 5204 w 10000"/>
              <a:gd name="connsiteY104" fmla="*/ 1392 h 9794"/>
              <a:gd name="connsiteX105" fmla="*/ 5001 w 10000"/>
              <a:gd name="connsiteY105" fmla="*/ 1272 h 9794"/>
              <a:gd name="connsiteX106" fmla="*/ 4783 w 10000"/>
              <a:gd name="connsiteY106" fmla="*/ 1159 h 9794"/>
              <a:gd name="connsiteX107" fmla="*/ 4574 w 10000"/>
              <a:gd name="connsiteY107" fmla="*/ 1052 h 9794"/>
              <a:gd name="connsiteX108" fmla="*/ 4356 w 10000"/>
              <a:gd name="connsiteY108" fmla="*/ 952 h 9794"/>
              <a:gd name="connsiteX109" fmla="*/ 4134 w 10000"/>
              <a:gd name="connsiteY109" fmla="*/ 849 h 9794"/>
              <a:gd name="connsiteX110" fmla="*/ 3917 w 10000"/>
              <a:gd name="connsiteY110" fmla="*/ 755 h 9794"/>
              <a:gd name="connsiteX111" fmla="*/ 3695 w 10000"/>
              <a:gd name="connsiteY111" fmla="*/ 673 h 9794"/>
              <a:gd name="connsiteX112" fmla="*/ 3464 w 10000"/>
              <a:gd name="connsiteY112" fmla="*/ 584 h 9794"/>
              <a:gd name="connsiteX113" fmla="*/ 3234 w 10000"/>
              <a:gd name="connsiteY113" fmla="*/ 510 h 9794"/>
              <a:gd name="connsiteX114" fmla="*/ 2999 w 10000"/>
              <a:gd name="connsiteY114" fmla="*/ 432 h 9794"/>
              <a:gd name="connsiteX115" fmla="*/ 2769 w 10000"/>
              <a:gd name="connsiteY115" fmla="*/ 369 h 9794"/>
              <a:gd name="connsiteX116" fmla="*/ 2528 w 10000"/>
              <a:gd name="connsiteY116" fmla="*/ 307 h 9794"/>
              <a:gd name="connsiteX117" fmla="*/ 2284 w 10000"/>
              <a:gd name="connsiteY117" fmla="*/ 249 h 9794"/>
              <a:gd name="connsiteX118" fmla="*/ 2047 w 10000"/>
              <a:gd name="connsiteY118" fmla="*/ 199 h 9794"/>
              <a:gd name="connsiteX119" fmla="*/ 1806 w 10000"/>
              <a:gd name="connsiteY119" fmla="*/ 155 h 9794"/>
              <a:gd name="connsiteX120" fmla="*/ 1555 w 10000"/>
              <a:gd name="connsiteY120" fmla="*/ 111 h 9794"/>
              <a:gd name="connsiteX121" fmla="*/ 1305 w 10000"/>
              <a:gd name="connsiteY121" fmla="*/ 79 h 9794"/>
              <a:gd name="connsiteX122" fmla="*/ 1057 w 10000"/>
              <a:gd name="connsiteY122" fmla="*/ 54 h 9794"/>
              <a:gd name="connsiteX123" fmla="*/ 807 w 10000"/>
              <a:gd name="connsiteY123" fmla="*/ 38 h 9794"/>
              <a:gd name="connsiteX124" fmla="*/ 551 w 10000"/>
              <a:gd name="connsiteY124" fmla="*/ 15 h 9794"/>
              <a:gd name="connsiteX125" fmla="*/ 295 w 10000"/>
              <a:gd name="connsiteY125" fmla="*/ 8 h 9794"/>
              <a:gd name="connsiteX126" fmla="*/ 39 w 10000"/>
              <a:gd name="connsiteY126" fmla="*/ 3 h 9794"/>
              <a:gd name="connsiteX127" fmla="*/ 0 w 10000"/>
              <a:gd name="connsiteY127" fmla="*/ 0 h 9794"/>
              <a:gd name="connsiteX128" fmla="*/ 1210 w 10000"/>
              <a:gd name="connsiteY128" fmla="*/ 2888 h 9794"/>
              <a:gd name="connsiteX129" fmla="*/ 7 w 10000"/>
              <a:gd name="connsiteY129" fmla="*/ 5634 h 9794"/>
              <a:gd name="connsiteX0" fmla="*/ 7 w 10000"/>
              <a:gd name="connsiteY0" fmla="*/ 5753 h 9787"/>
              <a:gd name="connsiteX1" fmla="*/ 20 w 10000"/>
              <a:gd name="connsiteY1" fmla="*/ 5746 h 9787"/>
              <a:gd name="connsiteX2" fmla="*/ 124 w 10000"/>
              <a:gd name="connsiteY2" fmla="*/ 5746 h 9787"/>
              <a:gd name="connsiteX3" fmla="*/ 230 w 10000"/>
              <a:gd name="connsiteY3" fmla="*/ 5753 h 9787"/>
              <a:gd name="connsiteX4" fmla="*/ 335 w 10000"/>
              <a:gd name="connsiteY4" fmla="*/ 5759 h 9787"/>
              <a:gd name="connsiteX5" fmla="*/ 439 w 10000"/>
              <a:gd name="connsiteY5" fmla="*/ 5765 h 9787"/>
              <a:gd name="connsiteX6" fmla="*/ 545 w 10000"/>
              <a:gd name="connsiteY6" fmla="*/ 5784 h 9787"/>
              <a:gd name="connsiteX7" fmla="*/ 650 w 10000"/>
              <a:gd name="connsiteY7" fmla="*/ 5797 h 9787"/>
              <a:gd name="connsiteX8" fmla="*/ 748 w 10000"/>
              <a:gd name="connsiteY8" fmla="*/ 5811 h 9787"/>
              <a:gd name="connsiteX9" fmla="*/ 846 w 10000"/>
              <a:gd name="connsiteY9" fmla="*/ 5831 h 9787"/>
              <a:gd name="connsiteX10" fmla="*/ 952 w 10000"/>
              <a:gd name="connsiteY10" fmla="*/ 5849 h 9787"/>
              <a:gd name="connsiteX11" fmla="*/ 1050 w 10000"/>
              <a:gd name="connsiteY11" fmla="*/ 5873 h 9787"/>
              <a:gd name="connsiteX12" fmla="*/ 1148 w 10000"/>
              <a:gd name="connsiteY12" fmla="*/ 5902 h 9787"/>
              <a:gd name="connsiteX13" fmla="*/ 1246 w 10000"/>
              <a:gd name="connsiteY13" fmla="*/ 5927 h 9787"/>
              <a:gd name="connsiteX14" fmla="*/ 1339 w 10000"/>
              <a:gd name="connsiteY14" fmla="*/ 5960 h 9787"/>
              <a:gd name="connsiteX15" fmla="*/ 1437 w 10000"/>
              <a:gd name="connsiteY15" fmla="*/ 5991 h 9787"/>
              <a:gd name="connsiteX16" fmla="*/ 1529 w 10000"/>
              <a:gd name="connsiteY16" fmla="*/ 6028 h 9787"/>
              <a:gd name="connsiteX17" fmla="*/ 1621 w 10000"/>
              <a:gd name="connsiteY17" fmla="*/ 6066 h 9787"/>
              <a:gd name="connsiteX18" fmla="*/ 1713 w 10000"/>
              <a:gd name="connsiteY18" fmla="*/ 6107 h 9787"/>
              <a:gd name="connsiteX19" fmla="*/ 1806 w 10000"/>
              <a:gd name="connsiteY19" fmla="*/ 6145 h 9787"/>
              <a:gd name="connsiteX20" fmla="*/ 1897 w 10000"/>
              <a:gd name="connsiteY20" fmla="*/ 6190 h 9787"/>
              <a:gd name="connsiteX21" fmla="*/ 1989 w 10000"/>
              <a:gd name="connsiteY21" fmla="*/ 6233 h 9787"/>
              <a:gd name="connsiteX22" fmla="*/ 2074 w 10000"/>
              <a:gd name="connsiteY22" fmla="*/ 6287 h 9787"/>
              <a:gd name="connsiteX23" fmla="*/ 2160 w 10000"/>
              <a:gd name="connsiteY23" fmla="*/ 6331 h 9787"/>
              <a:gd name="connsiteX24" fmla="*/ 2245 w 10000"/>
              <a:gd name="connsiteY24" fmla="*/ 6382 h 9787"/>
              <a:gd name="connsiteX25" fmla="*/ 2323 w 10000"/>
              <a:gd name="connsiteY25" fmla="*/ 6435 h 9787"/>
              <a:gd name="connsiteX26" fmla="*/ 2408 w 10000"/>
              <a:gd name="connsiteY26" fmla="*/ 6494 h 9787"/>
              <a:gd name="connsiteX27" fmla="*/ 2486 w 10000"/>
              <a:gd name="connsiteY27" fmla="*/ 6550 h 9787"/>
              <a:gd name="connsiteX28" fmla="*/ 2567 w 10000"/>
              <a:gd name="connsiteY28" fmla="*/ 6608 h 9787"/>
              <a:gd name="connsiteX29" fmla="*/ 2645 w 10000"/>
              <a:gd name="connsiteY29" fmla="*/ 6665 h 9787"/>
              <a:gd name="connsiteX30" fmla="*/ 2724 w 10000"/>
              <a:gd name="connsiteY30" fmla="*/ 6731 h 9787"/>
              <a:gd name="connsiteX31" fmla="*/ 2796 w 10000"/>
              <a:gd name="connsiteY31" fmla="*/ 6797 h 9787"/>
              <a:gd name="connsiteX32" fmla="*/ 2867 w 10000"/>
              <a:gd name="connsiteY32" fmla="*/ 6862 h 9787"/>
              <a:gd name="connsiteX33" fmla="*/ 2940 w 10000"/>
              <a:gd name="connsiteY33" fmla="*/ 6932 h 9787"/>
              <a:gd name="connsiteX34" fmla="*/ 3006 w 10000"/>
              <a:gd name="connsiteY34" fmla="*/ 7001 h 9787"/>
              <a:gd name="connsiteX35" fmla="*/ 3078 w 10000"/>
              <a:gd name="connsiteY35" fmla="*/ 7073 h 9787"/>
              <a:gd name="connsiteX36" fmla="*/ 3143 w 10000"/>
              <a:gd name="connsiteY36" fmla="*/ 7143 h 9787"/>
              <a:gd name="connsiteX37" fmla="*/ 3202 w 10000"/>
              <a:gd name="connsiteY37" fmla="*/ 7222 h 9787"/>
              <a:gd name="connsiteX38" fmla="*/ 3268 w 10000"/>
              <a:gd name="connsiteY38" fmla="*/ 7292 h 9787"/>
              <a:gd name="connsiteX39" fmla="*/ 3327 w 10000"/>
              <a:gd name="connsiteY39" fmla="*/ 7370 h 9787"/>
              <a:gd name="connsiteX40" fmla="*/ 3386 w 10000"/>
              <a:gd name="connsiteY40" fmla="*/ 7446 h 9787"/>
              <a:gd name="connsiteX41" fmla="*/ 3445 w 10000"/>
              <a:gd name="connsiteY41" fmla="*/ 7525 h 9787"/>
              <a:gd name="connsiteX42" fmla="*/ 3497 w 10000"/>
              <a:gd name="connsiteY42" fmla="*/ 7607 h 9787"/>
              <a:gd name="connsiteX43" fmla="*/ 3550 w 10000"/>
              <a:gd name="connsiteY43" fmla="*/ 7691 h 9787"/>
              <a:gd name="connsiteX44" fmla="*/ 3602 w 10000"/>
              <a:gd name="connsiteY44" fmla="*/ 7777 h 9787"/>
              <a:gd name="connsiteX45" fmla="*/ 3656 w 10000"/>
              <a:gd name="connsiteY45" fmla="*/ 7858 h 9787"/>
              <a:gd name="connsiteX46" fmla="*/ 3695 w 10000"/>
              <a:gd name="connsiteY46" fmla="*/ 7950 h 9787"/>
              <a:gd name="connsiteX47" fmla="*/ 3747 w 10000"/>
              <a:gd name="connsiteY47" fmla="*/ 8041 h 9787"/>
              <a:gd name="connsiteX48" fmla="*/ 3786 w 10000"/>
              <a:gd name="connsiteY48" fmla="*/ 8122 h 9787"/>
              <a:gd name="connsiteX49" fmla="*/ 3826 w 10000"/>
              <a:gd name="connsiteY49" fmla="*/ 8214 h 9787"/>
              <a:gd name="connsiteX50" fmla="*/ 3865 w 10000"/>
              <a:gd name="connsiteY50" fmla="*/ 8305 h 9787"/>
              <a:gd name="connsiteX51" fmla="*/ 3898 w 10000"/>
              <a:gd name="connsiteY51" fmla="*/ 8395 h 9787"/>
              <a:gd name="connsiteX52" fmla="*/ 3930 w 10000"/>
              <a:gd name="connsiteY52" fmla="*/ 8491 h 9787"/>
              <a:gd name="connsiteX53" fmla="*/ 3963 w 10000"/>
              <a:gd name="connsiteY53" fmla="*/ 8587 h 9787"/>
              <a:gd name="connsiteX54" fmla="*/ 3996 w 10000"/>
              <a:gd name="connsiteY54" fmla="*/ 8679 h 9787"/>
              <a:gd name="connsiteX55" fmla="*/ 4022 w 10000"/>
              <a:gd name="connsiteY55" fmla="*/ 8775 h 9787"/>
              <a:gd name="connsiteX56" fmla="*/ 4042 w 10000"/>
              <a:gd name="connsiteY56" fmla="*/ 8871 h 9787"/>
              <a:gd name="connsiteX57" fmla="*/ 4069 w 10000"/>
              <a:gd name="connsiteY57" fmla="*/ 8975 h 9787"/>
              <a:gd name="connsiteX58" fmla="*/ 4088 w 10000"/>
              <a:gd name="connsiteY58" fmla="*/ 9072 h 9787"/>
              <a:gd name="connsiteX59" fmla="*/ 4108 w 10000"/>
              <a:gd name="connsiteY59" fmla="*/ 9169 h 9787"/>
              <a:gd name="connsiteX60" fmla="*/ 7213 w 10000"/>
              <a:gd name="connsiteY60" fmla="*/ 9506 h 9787"/>
              <a:gd name="connsiteX61" fmla="*/ 10000 w 10000"/>
              <a:gd name="connsiteY61" fmla="*/ 9787 h 9787"/>
              <a:gd name="connsiteX62" fmla="*/ 9993 w 10000"/>
              <a:gd name="connsiteY62" fmla="*/ 9530 h 9787"/>
              <a:gd name="connsiteX63" fmla="*/ 9987 w 10000"/>
              <a:gd name="connsiteY63" fmla="*/ 9283 h 9787"/>
              <a:gd name="connsiteX64" fmla="*/ 9967 w 10000"/>
              <a:gd name="connsiteY64" fmla="*/ 9033 h 9787"/>
              <a:gd name="connsiteX65" fmla="*/ 9948 w 10000"/>
              <a:gd name="connsiteY65" fmla="*/ 8789 h 9787"/>
              <a:gd name="connsiteX66" fmla="*/ 9915 w 10000"/>
              <a:gd name="connsiteY66" fmla="*/ 8535 h 9787"/>
              <a:gd name="connsiteX67" fmla="*/ 9882 w 10000"/>
              <a:gd name="connsiteY67" fmla="*/ 8299 h 9787"/>
              <a:gd name="connsiteX68" fmla="*/ 9843 w 10000"/>
              <a:gd name="connsiteY68" fmla="*/ 8053 h 9787"/>
              <a:gd name="connsiteX69" fmla="*/ 9796 w 10000"/>
              <a:gd name="connsiteY69" fmla="*/ 7813 h 9787"/>
              <a:gd name="connsiteX70" fmla="*/ 9744 w 10000"/>
              <a:gd name="connsiteY70" fmla="*/ 7576 h 9787"/>
              <a:gd name="connsiteX71" fmla="*/ 9685 w 10000"/>
              <a:gd name="connsiteY71" fmla="*/ 7344 h 9787"/>
              <a:gd name="connsiteX72" fmla="*/ 9620 w 10000"/>
              <a:gd name="connsiteY72" fmla="*/ 7104 h 9787"/>
              <a:gd name="connsiteX73" fmla="*/ 9555 w 10000"/>
              <a:gd name="connsiteY73" fmla="*/ 6873 h 9787"/>
              <a:gd name="connsiteX74" fmla="*/ 9475 w 10000"/>
              <a:gd name="connsiteY74" fmla="*/ 6647 h 9787"/>
              <a:gd name="connsiteX75" fmla="*/ 9396 w 10000"/>
              <a:gd name="connsiteY75" fmla="*/ 6421 h 9787"/>
              <a:gd name="connsiteX76" fmla="*/ 9304 w 10000"/>
              <a:gd name="connsiteY76" fmla="*/ 6196 h 9787"/>
              <a:gd name="connsiteX77" fmla="*/ 9213 w 10000"/>
              <a:gd name="connsiteY77" fmla="*/ 5979 h 9787"/>
              <a:gd name="connsiteX78" fmla="*/ 9121 w 10000"/>
              <a:gd name="connsiteY78" fmla="*/ 5759 h 9787"/>
              <a:gd name="connsiteX79" fmla="*/ 9016 w 10000"/>
              <a:gd name="connsiteY79" fmla="*/ 5545 h 9787"/>
              <a:gd name="connsiteX80" fmla="*/ 8911 w 10000"/>
              <a:gd name="connsiteY80" fmla="*/ 5333 h 9787"/>
              <a:gd name="connsiteX81" fmla="*/ 8800 w 10000"/>
              <a:gd name="connsiteY81" fmla="*/ 5122 h 9787"/>
              <a:gd name="connsiteX82" fmla="*/ 8682 w 10000"/>
              <a:gd name="connsiteY82" fmla="*/ 4914 h 9787"/>
              <a:gd name="connsiteX83" fmla="*/ 8557 w 10000"/>
              <a:gd name="connsiteY83" fmla="*/ 4715 h 9787"/>
              <a:gd name="connsiteX84" fmla="*/ 8432 w 10000"/>
              <a:gd name="connsiteY84" fmla="*/ 4514 h 9787"/>
              <a:gd name="connsiteX85" fmla="*/ 8300 w 10000"/>
              <a:gd name="connsiteY85" fmla="*/ 4314 h 9787"/>
              <a:gd name="connsiteX86" fmla="*/ 8162 w 10000"/>
              <a:gd name="connsiteY86" fmla="*/ 4122 h 9787"/>
              <a:gd name="connsiteX87" fmla="*/ 8018 w 10000"/>
              <a:gd name="connsiteY87" fmla="*/ 3933 h 9787"/>
              <a:gd name="connsiteX88" fmla="*/ 7873 w 10000"/>
              <a:gd name="connsiteY88" fmla="*/ 3747 h 9787"/>
              <a:gd name="connsiteX89" fmla="*/ 7723 w 10000"/>
              <a:gd name="connsiteY89" fmla="*/ 3559 h 9787"/>
              <a:gd name="connsiteX90" fmla="*/ 7573 w 10000"/>
              <a:gd name="connsiteY90" fmla="*/ 3387 h 9787"/>
              <a:gd name="connsiteX91" fmla="*/ 7407 w 10000"/>
              <a:gd name="connsiteY91" fmla="*/ 3213 h 9787"/>
              <a:gd name="connsiteX92" fmla="*/ 7250 w 10000"/>
              <a:gd name="connsiteY92" fmla="*/ 3038 h 9787"/>
              <a:gd name="connsiteX93" fmla="*/ 7080 w 10000"/>
              <a:gd name="connsiteY93" fmla="*/ 2865 h 9787"/>
              <a:gd name="connsiteX94" fmla="*/ 6910 w 10000"/>
              <a:gd name="connsiteY94" fmla="*/ 2703 h 9787"/>
              <a:gd name="connsiteX95" fmla="*/ 6740 w 10000"/>
              <a:gd name="connsiteY95" fmla="*/ 2543 h 9787"/>
              <a:gd name="connsiteX96" fmla="*/ 6556 w 10000"/>
              <a:gd name="connsiteY96" fmla="*/ 2390 h 9787"/>
              <a:gd name="connsiteX97" fmla="*/ 6372 w 10000"/>
              <a:gd name="connsiteY97" fmla="*/ 2240 h 9787"/>
              <a:gd name="connsiteX98" fmla="*/ 6188 w 10000"/>
              <a:gd name="connsiteY98" fmla="*/ 2093 h 9787"/>
              <a:gd name="connsiteX99" fmla="*/ 5998 w 10000"/>
              <a:gd name="connsiteY99" fmla="*/ 1948 h 9787"/>
              <a:gd name="connsiteX100" fmla="*/ 5801 w 10000"/>
              <a:gd name="connsiteY100" fmla="*/ 1809 h 9787"/>
              <a:gd name="connsiteX101" fmla="*/ 5605 w 10000"/>
              <a:gd name="connsiteY101" fmla="*/ 1673 h 9787"/>
              <a:gd name="connsiteX102" fmla="*/ 5407 w 10000"/>
              <a:gd name="connsiteY102" fmla="*/ 1545 h 9787"/>
              <a:gd name="connsiteX103" fmla="*/ 5204 w 10000"/>
              <a:gd name="connsiteY103" fmla="*/ 1421 h 9787"/>
              <a:gd name="connsiteX104" fmla="*/ 5001 w 10000"/>
              <a:gd name="connsiteY104" fmla="*/ 1299 h 9787"/>
              <a:gd name="connsiteX105" fmla="*/ 4783 w 10000"/>
              <a:gd name="connsiteY105" fmla="*/ 1183 h 9787"/>
              <a:gd name="connsiteX106" fmla="*/ 4574 w 10000"/>
              <a:gd name="connsiteY106" fmla="*/ 1074 h 9787"/>
              <a:gd name="connsiteX107" fmla="*/ 4356 w 10000"/>
              <a:gd name="connsiteY107" fmla="*/ 972 h 9787"/>
              <a:gd name="connsiteX108" fmla="*/ 4134 w 10000"/>
              <a:gd name="connsiteY108" fmla="*/ 867 h 9787"/>
              <a:gd name="connsiteX109" fmla="*/ 3917 w 10000"/>
              <a:gd name="connsiteY109" fmla="*/ 771 h 9787"/>
              <a:gd name="connsiteX110" fmla="*/ 3695 w 10000"/>
              <a:gd name="connsiteY110" fmla="*/ 687 h 9787"/>
              <a:gd name="connsiteX111" fmla="*/ 3464 w 10000"/>
              <a:gd name="connsiteY111" fmla="*/ 596 h 9787"/>
              <a:gd name="connsiteX112" fmla="*/ 3234 w 10000"/>
              <a:gd name="connsiteY112" fmla="*/ 521 h 9787"/>
              <a:gd name="connsiteX113" fmla="*/ 2999 w 10000"/>
              <a:gd name="connsiteY113" fmla="*/ 441 h 9787"/>
              <a:gd name="connsiteX114" fmla="*/ 2769 w 10000"/>
              <a:gd name="connsiteY114" fmla="*/ 377 h 9787"/>
              <a:gd name="connsiteX115" fmla="*/ 2528 w 10000"/>
              <a:gd name="connsiteY115" fmla="*/ 313 h 9787"/>
              <a:gd name="connsiteX116" fmla="*/ 2284 w 10000"/>
              <a:gd name="connsiteY116" fmla="*/ 254 h 9787"/>
              <a:gd name="connsiteX117" fmla="*/ 2047 w 10000"/>
              <a:gd name="connsiteY117" fmla="*/ 203 h 9787"/>
              <a:gd name="connsiteX118" fmla="*/ 1806 w 10000"/>
              <a:gd name="connsiteY118" fmla="*/ 158 h 9787"/>
              <a:gd name="connsiteX119" fmla="*/ 1555 w 10000"/>
              <a:gd name="connsiteY119" fmla="*/ 113 h 9787"/>
              <a:gd name="connsiteX120" fmla="*/ 1305 w 10000"/>
              <a:gd name="connsiteY120" fmla="*/ 81 h 9787"/>
              <a:gd name="connsiteX121" fmla="*/ 1057 w 10000"/>
              <a:gd name="connsiteY121" fmla="*/ 55 h 9787"/>
              <a:gd name="connsiteX122" fmla="*/ 807 w 10000"/>
              <a:gd name="connsiteY122" fmla="*/ 39 h 9787"/>
              <a:gd name="connsiteX123" fmla="*/ 551 w 10000"/>
              <a:gd name="connsiteY123" fmla="*/ 15 h 9787"/>
              <a:gd name="connsiteX124" fmla="*/ 295 w 10000"/>
              <a:gd name="connsiteY124" fmla="*/ 8 h 9787"/>
              <a:gd name="connsiteX125" fmla="*/ 39 w 10000"/>
              <a:gd name="connsiteY125" fmla="*/ 3 h 9787"/>
              <a:gd name="connsiteX126" fmla="*/ 0 w 10000"/>
              <a:gd name="connsiteY126" fmla="*/ 0 h 9787"/>
              <a:gd name="connsiteX127" fmla="*/ 1210 w 10000"/>
              <a:gd name="connsiteY127" fmla="*/ 2949 h 9787"/>
              <a:gd name="connsiteX128" fmla="*/ 7 w 10000"/>
              <a:gd name="connsiteY128" fmla="*/ 5753 h 9787"/>
              <a:gd name="connsiteX0" fmla="*/ 7 w 9993"/>
              <a:gd name="connsiteY0" fmla="*/ 5878 h 9737"/>
              <a:gd name="connsiteX1" fmla="*/ 20 w 9993"/>
              <a:gd name="connsiteY1" fmla="*/ 5871 h 9737"/>
              <a:gd name="connsiteX2" fmla="*/ 124 w 9993"/>
              <a:gd name="connsiteY2" fmla="*/ 5871 h 9737"/>
              <a:gd name="connsiteX3" fmla="*/ 230 w 9993"/>
              <a:gd name="connsiteY3" fmla="*/ 5878 h 9737"/>
              <a:gd name="connsiteX4" fmla="*/ 335 w 9993"/>
              <a:gd name="connsiteY4" fmla="*/ 5884 h 9737"/>
              <a:gd name="connsiteX5" fmla="*/ 439 w 9993"/>
              <a:gd name="connsiteY5" fmla="*/ 5890 h 9737"/>
              <a:gd name="connsiteX6" fmla="*/ 545 w 9993"/>
              <a:gd name="connsiteY6" fmla="*/ 5910 h 9737"/>
              <a:gd name="connsiteX7" fmla="*/ 650 w 9993"/>
              <a:gd name="connsiteY7" fmla="*/ 5923 h 9737"/>
              <a:gd name="connsiteX8" fmla="*/ 748 w 9993"/>
              <a:gd name="connsiteY8" fmla="*/ 5937 h 9737"/>
              <a:gd name="connsiteX9" fmla="*/ 846 w 9993"/>
              <a:gd name="connsiteY9" fmla="*/ 5958 h 9737"/>
              <a:gd name="connsiteX10" fmla="*/ 952 w 9993"/>
              <a:gd name="connsiteY10" fmla="*/ 5976 h 9737"/>
              <a:gd name="connsiteX11" fmla="*/ 1050 w 9993"/>
              <a:gd name="connsiteY11" fmla="*/ 6001 h 9737"/>
              <a:gd name="connsiteX12" fmla="*/ 1148 w 9993"/>
              <a:gd name="connsiteY12" fmla="*/ 6030 h 9737"/>
              <a:gd name="connsiteX13" fmla="*/ 1246 w 9993"/>
              <a:gd name="connsiteY13" fmla="*/ 6056 h 9737"/>
              <a:gd name="connsiteX14" fmla="*/ 1339 w 9993"/>
              <a:gd name="connsiteY14" fmla="*/ 6090 h 9737"/>
              <a:gd name="connsiteX15" fmla="*/ 1437 w 9993"/>
              <a:gd name="connsiteY15" fmla="*/ 6121 h 9737"/>
              <a:gd name="connsiteX16" fmla="*/ 1529 w 9993"/>
              <a:gd name="connsiteY16" fmla="*/ 6159 h 9737"/>
              <a:gd name="connsiteX17" fmla="*/ 1621 w 9993"/>
              <a:gd name="connsiteY17" fmla="*/ 6198 h 9737"/>
              <a:gd name="connsiteX18" fmla="*/ 1713 w 9993"/>
              <a:gd name="connsiteY18" fmla="*/ 6240 h 9737"/>
              <a:gd name="connsiteX19" fmla="*/ 1806 w 9993"/>
              <a:gd name="connsiteY19" fmla="*/ 6279 h 9737"/>
              <a:gd name="connsiteX20" fmla="*/ 1897 w 9993"/>
              <a:gd name="connsiteY20" fmla="*/ 6325 h 9737"/>
              <a:gd name="connsiteX21" fmla="*/ 1989 w 9993"/>
              <a:gd name="connsiteY21" fmla="*/ 6369 h 9737"/>
              <a:gd name="connsiteX22" fmla="*/ 2074 w 9993"/>
              <a:gd name="connsiteY22" fmla="*/ 6424 h 9737"/>
              <a:gd name="connsiteX23" fmla="*/ 2160 w 9993"/>
              <a:gd name="connsiteY23" fmla="*/ 6469 h 9737"/>
              <a:gd name="connsiteX24" fmla="*/ 2245 w 9993"/>
              <a:gd name="connsiteY24" fmla="*/ 6521 h 9737"/>
              <a:gd name="connsiteX25" fmla="*/ 2323 w 9993"/>
              <a:gd name="connsiteY25" fmla="*/ 6575 h 9737"/>
              <a:gd name="connsiteX26" fmla="*/ 2408 w 9993"/>
              <a:gd name="connsiteY26" fmla="*/ 6635 h 9737"/>
              <a:gd name="connsiteX27" fmla="*/ 2486 w 9993"/>
              <a:gd name="connsiteY27" fmla="*/ 6693 h 9737"/>
              <a:gd name="connsiteX28" fmla="*/ 2567 w 9993"/>
              <a:gd name="connsiteY28" fmla="*/ 6752 h 9737"/>
              <a:gd name="connsiteX29" fmla="*/ 2645 w 9993"/>
              <a:gd name="connsiteY29" fmla="*/ 6810 h 9737"/>
              <a:gd name="connsiteX30" fmla="*/ 2724 w 9993"/>
              <a:gd name="connsiteY30" fmla="*/ 6877 h 9737"/>
              <a:gd name="connsiteX31" fmla="*/ 2796 w 9993"/>
              <a:gd name="connsiteY31" fmla="*/ 6945 h 9737"/>
              <a:gd name="connsiteX32" fmla="*/ 2867 w 9993"/>
              <a:gd name="connsiteY32" fmla="*/ 7011 h 9737"/>
              <a:gd name="connsiteX33" fmla="*/ 2940 w 9993"/>
              <a:gd name="connsiteY33" fmla="*/ 7083 h 9737"/>
              <a:gd name="connsiteX34" fmla="*/ 3006 w 9993"/>
              <a:gd name="connsiteY34" fmla="*/ 7153 h 9737"/>
              <a:gd name="connsiteX35" fmla="*/ 3078 w 9993"/>
              <a:gd name="connsiteY35" fmla="*/ 7227 h 9737"/>
              <a:gd name="connsiteX36" fmla="*/ 3143 w 9993"/>
              <a:gd name="connsiteY36" fmla="*/ 7298 h 9737"/>
              <a:gd name="connsiteX37" fmla="*/ 3202 w 9993"/>
              <a:gd name="connsiteY37" fmla="*/ 7379 h 9737"/>
              <a:gd name="connsiteX38" fmla="*/ 3268 w 9993"/>
              <a:gd name="connsiteY38" fmla="*/ 7451 h 9737"/>
              <a:gd name="connsiteX39" fmla="*/ 3327 w 9993"/>
              <a:gd name="connsiteY39" fmla="*/ 7530 h 9737"/>
              <a:gd name="connsiteX40" fmla="*/ 3386 w 9993"/>
              <a:gd name="connsiteY40" fmla="*/ 7608 h 9737"/>
              <a:gd name="connsiteX41" fmla="*/ 3445 w 9993"/>
              <a:gd name="connsiteY41" fmla="*/ 7689 h 9737"/>
              <a:gd name="connsiteX42" fmla="*/ 3497 w 9993"/>
              <a:gd name="connsiteY42" fmla="*/ 7773 h 9737"/>
              <a:gd name="connsiteX43" fmla="*/ 3550 w 9993"/>
              <a:gd name="connsiteY43" fmla="*/ 7858 h 9737"/>
              <a:gd name="connsiteX44" fmla="*/ 3602 w 9993"/>
              <a:gd name="connsiteY44" fmla="*/ 7946 h 9737"/>
              <a:gd name="connsiteX45" fmla="*/ 3656 w 9993"/>
              <a:gd name="connsiteY45" fmla="*/ 8029 h 9737"/>
              <a:gd name="connsiteX46" fmla="*/ 3695 w 9993"/>
              <a:gd name="connsiteY46" fmla="*/ 8123 h 9737"/>
              <a:gd name="connsiteX47" fmla="*/ 3747 w 9993"/>
              <a:gd name="connsiteY47" fmla="*/ 8216 h 9737"/>
              <a:gd name="connsiteX48" fmla="*/ 3786 w 9993"/>
              <a:gd name="connsiteY48" fmla="*/ 8299 h 9737"/>
              <a:gd name="connsiteX49" fmla="*/ 3826 w 9993"/>
              <a:gd name="connsiteY49" fmla="*/ 8393 h 9737"/>
              <a:gd name="connsiteX50" fmla="*/ 3865 w 9993"/>
              <a:gd name="connsiteY50" fmla="*/ 8486 h 9737"/>
              <a:gd name="connsiteX51" fmla="*/ 3898 w 9993"/>
              <a:gd name="connsiteY51" fmla="*/ 8578 h 9737"/>
              <a:gd name="connsiteX52" fmla="*/ 3930 w 9993"/>
              <a:gd name="connsiteY52" fmla="*/ 8676 h 9737"/>
              <a:gd name="connsiteX53" fmla="*/ 3963 w 9993"/>
              <a:gd name="connsiteY53" fmla="*/ 8774 h 9737"/>
              <a:gd name="connsiteX54" fmla="*/ 3996 w 9993"/>
              <a:gd name="connsiteY54" fmla="*/ 8868 h 9737"/>
              <a:gd name="connsiteX55" fmla="*/ 4022 w 9993"/>
              <a:gd name="connsiteY55" fmla="*/ 8966 h 9737"/>
              <a:gd name="connsiteX56" fmla="*/ 4042 w 9993"/>
              <a:gd name="connsiteY56" fmla="*/ 9064 h 9737"/>
              <a:gd name="connsiteX57" fmla="*/ 4069 w 9993"/>
              <a:gd name="connsiteY57" fmla="*/ 9170 h 9737"/>
              <a:gd name="connsiteX58" fmla="*/ 4088 w 9993"/>
              <a:gd name="connsiteY58" fmla="*/ 9269 h 9737"/>
              <a:gd name="connsiteX59" fmla="*/ 4108 w 9993"/>
              <a:gd name="connsiteY59" fmla="*/ 9369 h 9737"/>
              <a:gd name="connsiteX60" fmla="*/ 7213 w 9993"/>
              <a:gd name="connsiteY60" fmla="*/ 9713 h 9737"/>
              <a:gd name="connsiteX61" fmla="*/ 9993 w 9993"/>
              <a:gd name="connsiteY61" fmla="*/ 9737 h 9737"/>
              <a:gd name="connsiteX62" fmla="*/ 9987 w 9993"/>
              <a:gd name="connsiteY62" fmla="*/ 9485 h 9737"/>
              <a:gd name="connsiteX63" fmla="*/ 9967 w 9993"/>
              <a:gd name="connsiteY63" fmla="*/ 9230 h 9737"/>
              <a:gd name="connsiteX64" fmla="*/ 9948 w 9993"/>
              <a:gd name="connsiteY64" fmla="*/ 8980 h 9737"/>
              <a:gd name="connsiteX65" fmla="*/ 9915 w 9993"/>
              <a:gd name="connsiteY65" fmla="*/ 8721 h 9737"/>
              <a:gd name="connsiteX66" fmla="*/ 9882 w 9993"/>
              <a:gd name="connsiteY66" fmla="*/ 8480 h 9737"/>
              <a:gd name="connsiteX67" fmla="*/ 9843 w 9993"/>
              <a:gd name="connsiteY67" fmla="*/ 8228 h 9737"/>
              <a:gd name="connsiteX68" fmla="*/ 9796 w 9993"/>
              <a:gd name="connsiteY68" fmla="*/ 7983 h 9737"/>
              <a:gd name="connsiteX69" fmla="*/ 9744 w 9993"/>
              <a:gd name="connsiteY69" fmla="*/ 7741 h 9737"/>
              <a:gd name="connsiteX70" fmla="*/ 9685 w 9993"/>
              <a:gd name="connsiteY70" fmla="*/ 7504 h 9737"/>
              <a:gd name="connsiteX71" fmla="*/ 9620 w 9993"/>
              <a:gd name="connsiteY71" fmla="*/ 7259 h 9737"/>
              <a:gd name="connsiteX72" fmla="*/ 9555 w 9993"/>
              <a:gd name="connsiteY72" fmla="*/ 7023 h 9737"/>
              <a:gd name="connsiteX73" fmla="*/ 9475 w 9993"/>
              <a:gd name="connsiteY73" fmla="*/ 6792 h 9737"/>
              <a:gd name="connsiteX74" fmla="*/ 9396 w 9993"/>
              <a:gd name="connsiteY74" fmla="*/ 6561 h 9737"/>
              <a:gd name="connsiteX75" fmla="*/ 9304 w 9993"/>
              <a:gd name="connsiteY75" fmla="*/ 6331 h 9737"/>
              <a:gd name="connsiteX76" fmla="*/ 9213 w 9993"/>
              <a:gd name="connsiteY76" fmla="*/ 6109 h 9737"/>
              <a:gd name="connsiteX77" fmla="*/ 9121 w 9993"/>
              <a:gd name="connsiteY77" fmla="*/ 5884 h 9737"/>
              <a:gd name="connsiteX78" fmla="*/ 9016 w 9993"/>
              <a:gd name="connsiteY78" fmla="*/ 5666 h 9737"/>
              <a:gd name="connsiteX79" fmla="*/ 8911 w 9993"/>
              <a:gd name="connsiteY79" fmla="*/ 5449 h 9737"/>
              <a:gd name="connsiteX80" fmla="*/ 8800 w 9993"/>
              <a:gd name="connsiteY80" fmla="*/ 5233 h 9737"/>
              <a:gd name="connsiteX81" fmla="*/ 8682 w 9993"/>
              <a:gd name="connsiteY81" fmla="*/ 5021 h 9737"/>
              <a:gd name="connsiteX82" fmla="*/ 8557 w 9993"/>
              <a:gd name="connsiteY82" fmla="*/ 4818 h 9737"/>
              <a:gd name="connsiteX83" fmla="*/ 8432 w 9993"/>
              <a:gd name="connsiteY83" fmla="*/ 4612 h 9737"/>
              <a:gd name="connsiteX84" fmla="*/ 8300 w 9993"/>
              <a:gd name="connsiteY84" fmla="*/ 4408 h 9737"/>
              <a:gd name="connsiteX85" fmla="*/ 8162 w 9993"/>
              <a:gd name="connsiteY85" fmla="*/ 4212 h 9737"/>
              <a:gd name="connsiteX86" fmla="*/ 8018 w 9993"/>
              <a:gd name="connsiteY86" fmla="*/ 4019 h 9737"/>
              <a:gd name="connsiteX87" fmla="*/ 7873 w 9993"/>
              <a:gd name="connsiteY87" fmla="*/ 3829 h 9737"/>
              <a:gd name="connsiteX88" fmla="*/ 7723 w 9993"/>
              <a:gd name="connsiteY88" fmla="*/ 3636 h 9737"/>
              <a:gd name="connsiteX89" fmla="*/ 7573 w 9993"/>
              <a:gd name="connsiteY89" fmla="*/ 3461 h 9737"/>
              <a:gd name="connsiteX90" fmla="*/ 7407 w 9993"/>
              <a:gd name="connsiteY90" fmla="*/ 3283 h 9737"/>
              <a:gd name="connsiteX91" fmla="*/ 7250 w 9993"/>
              <a:gd name="connsiteY91" fmla="*/ 3104 h 9737"/>
              <a:gd name="connsiteX92" fmla="*/ 7080 w 9993"/>
              <a:gd name="connsiteY92" fmla="*/ 2927 h 9737"/>
              <a:gd name="connsiteX93" fmla="*/ 6910 w 9993"/>
              <a:gd name="connsiteY93" fmla="*/ 2762 h 9737"/>
              <a:gd name="connsiteX94" fmla="*/ 6740 w 9993"/>
              <a:gd name="connsiteY94" fmla="*/ 2598 h 9737"/>
              <a:gd name="connsiteX95" fmla="*/ 6556 w 9993"/>
              <a:gd name="connsiteY95" fmla="*/ 2442 h 9737"/>
              <a:gd name="connsiteX96" fmla="*/ 6372 w 9993"/>
              <a:gd name="connsiteY96" fmla="*/ 2289 h 9737"/>
              <a:gd name="connsiteX97" fmla="*/ 6188 w 9993"/>
              <a:gd name="connsiteY97" fmla="*/ 2139 h 9737"/>
              <a:gd name="connsiteX98" fmla="*/ 5998 w 9993"/>
              <a:gd name="connsiteY98" fmla="*/ 1990 h 9737"/>
              <a:gd name="connsiteX99" fmla="*/ 5801 w 9993"/>
              <a:gd name="connsiteY99" fmla="*/ 1848 h 9737"/>
              <a:gd name="connsiteX100" fmla="*/ 5605 w 9993"/>
              <a:gd name="connsiteY100" fmla="*/ 1709 h 9737"/>
              <a:gd name="connsiteX101" fmla="*/ 5407 w 9993"/>
              <a:gd name="connsiteY101" fmla="*/ 1579 h 9737"/>
              <a:gd name="connsiteX102" fmla="*/ 5204 w 9993"/>
              <a:gd name="connsiteY102" fmla="*/ 1452 h 9737"/>
              <a:gd name="connsiteX103" fmla="*/ 5001 w 9993"/>
              <a:gd name="connsiteY103" fmla="*/ 1327 h 9737"/>
              <a:gd name="connsiteX104" fmla="*/ 4783 w 9993"/>
              <a:gd name="connsiteY104" fmla="*/ 1209 h 9737"/>
              <a:gd name="connsiteX105" fmla="*/ 4574 w 9993"/>
              <a:gd name="connsiteY105" fmla="*/ 1097 h 9737"/>
              <a:gd name="connsiteX106" fmla="*/ 4356 w 9993"/>
              <a:gd name="connsiteY106" fmla="*/ 993 h 9737"/>
              <a:gd name="connsiteX107" fmla="*/ 4134 w 9993"/>
              <a:gd name="connsiteY107" fmla="*/ 886 h 9737"/>
              <a:gd name="connsiteX108" fmla="*/ 3917 w 9993"/>
              <a:gd name="connsiteY108" fmla="*/ 788 h 9737"/>
              <a:gd name="connsiteX109" fmla="*/ 3695 w 9993"/>
              <a:gd name="connsiteY109" fmla="*/ 702 h 9737"/>
              <a:gd name="connsiteX110" fmla="*/ 3464 w 9993"/>
              <a:gd name="connsiteY110" fmla="*/ 609 h 9737"/>
              <a:gd name="connsiteX111" fmla="*/ 3234 w 9993"/>
              <a:gd name="connsiteY111" fmla="*/ 532 h 9737"/>
              <a:gd name="connsiteX112" fmla="*/ 2999 w 9993"/>
              <a:gd name="connsiteY112" fmla="*/ 451 h 9737"/>
              <a:gd name="connsiteX113" fmla="*/ 2769 w 9993"/>
              <a:gd name="connsiteY113" fmla="*/ 385 h 9737"/>
              <a:gd name="connsiteX114" fmla="*/ 2528 w 9993"/>
              <a:gd name="connsiteY114" fmla="*/ 320 h 9737"/>
              <a:gd name="connsiteX115" fmla="*/ 2284 w 9993"/>
              <a:gd name="connsiteY115" fmla="*/ 260 h 9737"/>
              <a:gd name="connsiteX116" fmla="*/ 2047 w 9993"/>
              <a:gd name="connsiteY116" fmla="*/ 207 h 9737"/>
              <a:gd name="connsiteX117" fmla="*/ 1806 w 9993"/>
              <a:gd name="connsiteY117" fmla="*/ 161 h 9737"/>
              <a:gd name="connsiteX118" fmla="*/ 1555 w 9993"/>
              <a:gd name="connsiteY118" fmla="*/ 115 h 9737"/>
              <a:gd name="connsiteX119" fmla="*/ 1305 w 9993"/>
              <a:gd name="connsiteY119" fmla="*/ 83 h 9737"/>
              <a:gd name="connsiteX120" fmla="*/ 1057 w 9993"/>
              <a:gd name="connsiteY120" fmla="*/ 56 h 9737"/>
              <a:gd name="connsiteX121" fmla="*/ 807 w 9993"/>
              <a:gd name="connsiteY121" fmla="*/ 40 h 9737"/>
              <a:gd name="connsiteX122" fmla="*/ 551 w 9993"/>
              <a:gd name="connsiteY122" fmla="*/ 15 h 9737"/>
              <a:gd name="connsiteX123" fmla="*/ 295 w 9993"/>
              <a:gd name="connsiteY123" fmla="*/ 8 h 9737"/>
              <a:gd name="connsiteX124" fmla="*/ 39 w 9993"/>
              <a:gd name="connsiteY124" fmla="*/ 3 h 9737"/>
              <a:gd name="connsiteX125" fmla="*/ 0 w 9993"/>
              <a:gd name="connsiteY125" fmla="*/ 0 h 9737"/>
              <a:gd name="connsiteX126" fmla="*/ 1210 w 9993"/>
              <a:gd name="connsiteY126" fmla="*/ 3013 h 9737"/>
              <a:gd name="connsiteX127" fmla="*/ 7 w 9993"/>
              <a:gd name="connsiteY127" fmla="*/ 5878 h 9737"/>
              <a:gd name="connsiteX0" fmla="*/ 7 w 9994"/>
              <a:gd name="connsiteY0" fmla="*/ 6037 h 9975"/>
              <a:gd name="connsiteX1" fmla="*/ 20 w 9994"/>
              <a:gd name="connsiteY1" fmla="*/ 6030 h 9975"/>
              <a:gd name="connsiteX2" fmla="*/ 124 w 9994"/>
              <a:gd name="connsiteY2" fmla="*/ 6030 h 9975"/>
              <a:gd name="connsiteX3" fmla="*/ 230 w 9994"/>
              <a:gd name="connsiteY3" fmla="*/ 6037 h 9975"/>
              <a:gd name="connsiteX4" fmla="*/ 335 w 9994"/>
              <a:gd name="connsiteY4" fmla="*/ 6043 h 9975"/>
              <a:gd name="connsiteX5" fmla="*/ 439 w 9994"/>
              <a:gd name="connsiteY5" fmla="*/ 6049 h 9975"/>
              <a:gd name="connsiteX6" fmla="*/ 545 w 9994"/>
              <a:gd name="connsiteY6" fmla="*/ 6070 h 9975"/>
              <a:gd name="connsiteX7" fmla="*/ 650 w 9994"/>
              <a:gd name="connsiteY7" fmla="*/ 6083 h 9975"/>
              <a:gd name="connsiteX8" fmla="*/ 749 w 9994"/>
              <a:gd name="connsiteY8" fmla="*/ 6097 h 9975"/>
              <a:gd name="connsiteX9" fmla="*/ 847 w 9994"/>
              <a:gd name="connsiteY9" fmla="*/ 6119 h 9975"/>
              <a:gd name="connsiteX10" fmla="*/ 953 w 9994"/>
              <a:gd name="connsiteY10" fmla="*/ 6137 h 9975"/>
              <a:gd name="connsiteX11" fmla="*/ 1051 w 9994"/>
              <a:gd name="connsiteY11" fmla="*/ 6163 h 9975"/>
              <a:gd name="connsiteX12" fmla="*/ 1149 w 9994"/>
              <a:gd name="connsiteY12" fmla="*/ 6193 h 9975"/>
              <a:gd name="connsiteX13" fmla="*/ 1247 w 9994"/>
              <a:gd name="connsiteY13" fmla="*/ 6220 h 9975"/>
              <a:gd name="connsiteX14" fmla="*/ 1340 w 9994"/>
              <a:gd name="connsiteY14" fmla="*/ 6254 h 9975"/>
              <a:gd name="connsiteX15" fmla="*/ 1438 w 9994"/>
              <a:gd name="connsiteY15" fmla="*/ 6286 h 9975"/>
              <a:gd name="connsiteX16" fmla="*/ 1530 w 9994"/>
              <a:gd name="connsiteY16" fmla="*/ 6325 h 9975"/>
              <a:gd name="connsiteX17" fmla="*/ 1622 w 9994"/>
              <a:gd name="connsiteY17" fmla="*/ 6365 h 9975"/>
              <a:gd name="connsiteX18" fmla="*/ 1714 w 9994"/>
              <a:gd name="connsiteY18" fmla="*/ 6409 h 9975"/>
              <a:gd name="connsiteX19" fmla="*/ 1807 w 9994"/>
              <a:gd name="connsiteY19" fmla="*/ 6449 h 9975"/>
              <a:gd name="connsiteX20" fmla="*/ 1898 w 9994"/>
              <a:gd name="connsiteY20" fmla="*/ 6496 h 9975"/>
              <a:gd name="connsiteX21" fmla="*/ 1990 w 9994"/>
              <a:gd name="connsiteY21" fmla="*/ 6541 h 9975"/>
              <a:gd name="connsiteX22" fmla="*/ 2075 w 9994"/>
              <a:gd name="connsiteY22" fmla="*/ 6598 h 9975"/>
              <a:gd name="connsiteX23" fmla="*/ 2162 w 9994"/>
              <a:gd name="connsiteY23" fmla="*/ 6644 h 9975"/>
              <a:gd name="connsiteX24" fmla="*/ 2247 w 9994"/>
              <a:gd name="connsiteY24" fmla="*/ 6697 h 9975"/>
              <a:gd name="connsiteX25" fmla="*/ 2325 w 9994"/>
              <a:gd name="connsiteY25" fmla="*/ 6753 h 9975"/>
              <a:gd name="connsiteX26" fmla="*/ 2410 w 9994"/>
              <a:gd name="connsiteY26" fmla="*/ 6814 h 9975"/>
              <a:gd name="connsiteX27" fmla="*/ 2488 w 9994"/>
              <a:gd name="connsiteY27" fmla="*/ 6874 h 9975"/>
              <a:gd name="connsiteX28" fmla="*/ 2569 w 9994"/>
              <a:gd name="connsiteY28" fmla="*/ 6934 h 9975"/>
              <a:gd name="connsiteX29" fmla="*/ 2647 w 9994"/>
              <a:gd name="connsiteY29" fmla="*/ 6994 h 9975"/>
              <a:gd name="connsiteX30" fmla="*/ 2726 w 9994"/>
              <a:gd name="connsiteY30" fmla="*/ 7063 h 9975"/>
              <a:gd name="connsiteX31" fmla="*/ 2798 w 9994"/>
              <a:gd name="connsiteY31" fmla="*/ 7133 h 9975"/>
              <a:gd name="connsiteX32" fmla="*/ 2869 w 9994"/>
              <a:gd name="connsiteY32" fmla="*/ 7200 h 9975"/>
              <a:gd name="connsiteX33" fmla="*/ 2942 w 9994"/>
              <a:gd name="connsiteY33" fmla="*/ 7274 h 9975"/>
              <a:gd name="connsiteX34" fmla="*/ 3008 w 9994"/>
              <a:gd name="connsiteY34" fmla="*/ 7346 h 9975"/>
              <a:gd name="connsiteX35" fmla="*/ 3080 w 9994"/>
              <a:gd name="connsiteY35" fmla="*/ 7422 h 9975"/>
              <a:gd name="connsiteX36" fmla="*/ 3145 w 9994"/>
              <a:gd name="connsiteY36" fmla="*/ 7495 h 9975"/>
              <a:gd name="connsiteX37" fmla="*/ 3204 w 9994"/>
              <a:gd name="connsiteY37" fmla="*/ 7578 h 9975"/>
              <a:gd name="connsiteX38" fmla="*/ 3270 w 9994"/>
              <a:gd name="connsiteY38" fmla="*/ 7652 h 9975"/>
              <a:gd name="connsiteX39" fmla="*/ 3329 w 9994"/>
              <a:gd name="connsiteY39" fmla="*/ 7733 h 9975"/>
              <a:gd name="connsiteX40" fmla="*/ 3388 w 9994"/>
              <a:gd name="connsiteY40" fmla="*/ 7813 h 9975"/>
              <a:gd name="connsiteX41" fmla="*/ 3447 w 9994"/>
              <a:gd name="connsiteY41" fmla="*/ 7897 h 9975"/>
              <a:gd name="connsiteX42" fmla="*/ 3499 w 9994"/>
              <a:gd name="connsiteY42" fmla="*/ 7983 h 9975"/>
              <a:gd name="connsiteX43" fmla="*/ 3552 w 9994"/>
              <a:gd name="connsiteY43" fmla="*/ 8070 h 9975"/>
              <a:gd name="connsiteX44" fmla="*/ 3605 w 9994"/>
              <a:gd name="connsiteY44" fmla="*/ 8161 h 9975"/>
              <a:gd name="connsiteX45" fmla="*/ 3659 w 9994"/>
              <a:gd name="connsiteY45" fmla="*/ 8246 h 9975"/>
              <a:gd name="connsiteX46" fmla="*/ 3698 w 9994"/>
              <a:gd name="connsiteY46" fmla="*/ 8342 h 9975"/>
              <a:gd name="connsiteX47" fmla="*/ 3750 w 9994"/>
              <a:gd name="connsiteY47" fmla="*/ 8438 h 9975"/>
              <a:gd name="connsiteX48" fmla="*/ 3789 w 9994"/>
              <a:gd name="connsiteY48" fmla="*/ 8523 h 9975"/>
              <a:gd name="connsiteX49" fmla="*/ 3829 w 9994"/>
              <a:gd name="connsiteY49" fmla="*/ 8620 h 9975"/>
              <a:gd name="connsiteX50" fmla="*/ 3868 w 9994"/>
              <a:gd name="connsiteY50" fmla="*/ 8715 h 9975"/>
              <a:gd name="connsiteX51" fmla="*/ 3901 w 9994"/>
              <a:gd name="connsiteY51" fmla="*/ 8810 h 9975"/>
              <a:gd name="connsiteX52" fmla="*/ 3933 w 9994"/>
              <a:gd name="connsiteY52" fmla="*/ 8910 h 9975"/>
              <a:gd name="connsiteX53" fmla="*/ 3966 w 9994"/>
              <a:gd name="connsiteY53" fmla="*/ 9011 h 9975"/>
              <a:gd name="connsiteX54" fmla="*/ 3999 w 9994"/>
              <a:gd name="connsiteY54" fmla="*/ 9108 h 9975"/>
              <a:gd name="connsiteX55" fmla="*/ 4025 w 9994"/>
              <a:gd name="connsiteY55" fmla="*/ 9208 h 9975"/>
              <a:gd name="connsiteX56" fmla="*/ 4045 w 9994"/>
              <a:gd name="connsiteY56" fmla="*/ 9309 h 9975"/>
              <a:gd name="connsiteX57" fmla="*/ 4072 w 9994"/>
              <a:gd name="connsiteY57" fmla="*/ 9418 h 9975"/>
              <a:gd name="connsiteX58" fmla="*/ 4091 w 9994"/>
              <a:gd name="connsiteY58" fmla="*/ 9519 h 9975"/>
              <a:gd name="connsiteX59" fmla="*/ 4111 w 9994"/>
              <a:gd name="connsiteY59" fmla="*/ 9622 h 9975"/>
              <a:gd name="connsiteX60" fmla="*/ 7218 w 9994"/>
              <a:gd name="connsiteY60" fmla="*/ 9975 h 9975"/>
              <a:gd name="connsiteX61" fmla="*/ 9994 w 9994"/>
              <a:gd name="connsiteY61" fmla="*/ 9741 h 9975"/>
              <a:gd name="connsiteX62" fmla="*/ 9974 w 9994"/>
              <a:gd name="connsiteY62" fmla="*/ 9479 h 9975"/>
              <a:gd name="connsiteX63" fmla="*/ 9955 w 9994"/>
              <a:gd name="connsiteY63" fmla="*/ 9223 h 9975"/>
              <a:gd name="connsiteX64" fmla="*/ 9922 w 9994"/>
              <a:gd name="connsiteY64" fmla="*/ 8957 h 9975"/>
              <a:gd name="connsiteX65" fmla="*/ 9889 w 9994"/>
              <a:gd name="connsiteY65" fmla="*/ 8709 h 9975"/>
              <a:gd name="connsiteX66" fmla="*/ 9850 w 9994"/>
              <a:gd name="connsiteY66" fmla="*/ 8450 h 9975"/>
              <a:gd name="connsiteX67" fmla="*/ 9803 w 9994"/>
              <a:gd name="connsiteY67" fmla="*/ 8199 h 9975"/>
              <a:gd name="connsiteX68" fmla="*/ 9751 w 9994"/>
              <a:gd name="connsiteY68" fmla="*/ 7950 h 9975"/>
              <a:gd name="connsiteX69" fmla="*/ 9692 w 9994"/>
              <a:gd name="connsiteY69" fmla="*/ 7707 h 9975"/>
              <a:gd name="connsiteX70" fmla="*/ 9627 w 9994"/>
              <a:gd name="connsiteY70" fmla="*/ 7455 h 9975"/>
              <a:gd name="connsiteX71" fmla="*/ 9562 w 9994"/>
              <a:gd name="connsiteY71" fmla="*/ 7213 h 9975"/>
              <a:gd name="connsiteX72" fmla="*/ 9482 w 9994"/>
              <a:gd name="connsiteY72" fmla="*/ 6975 h 9975"/>
              <a:gd name="connsiteX73" fmla="*/ 9403 w 9994"/>
              <a:gd name="connsiteY73" fmla="*/ 6738 h 9975"/>
              <a:gd name="connsiteX74" fmla="*/ 9311 w 9994"/>
              <a:gd name="connsiteY74" fmla="*/ 6502 h 9975"/>
              <a:gd name="connsiteX75" fmla="*/ 9219 w 9994"/>
              <a:gd name="connsiteY75" fmla="*/ 6274 h 9975"/>
              <a:gd name="connsiteX76" fmla="*/ 9127 w 9994"/>
              <a:gd name="connsiteY76" fmla="*/ 6043 h 9975"/>
              <a:gd name="connsiteX77" fmla="*/ 9022 w 9994"/>
              <a:gd name="connsiteY77" fmla="*/ 5819 h 9975"/>
              <a:gd name="connsiteX78" fmla="*/ 8917 w 9994"/>
              <a:gd name="connsiteY78" fmla="*/ 5596 h 9975"/>
              <a:gd name="connsiteX79" fmla="*/ 8806 w 9994"/>
              <a:gd name="connsiteY79" fmla="*/ 5374 h 9975"/>
              <a:gd name="connsiteX80" fmla="*/ 8688 w 9994"/>
              <a:gd name="connsiteY80" fmla="*/ 5157 h 9975"/>
              <a:gd name="connsiteX81" fmla="*/ 8563 w 9994"/>
              <a:gd name="connsiteY81" fmla="*/ 4948 h 9975"/>
              <a:gd name="connsiteX82" fmla="*/ 8438 w 9994"/>
              <a:gd name="connsiteY82" fmla="*/ 4737 h 9975"/>
              <a:gd name="connsiteX83" fmla="*/ 8306 w 9994"/>
              <a:gd name="connsiteY83" fmla="*/ 4527 h 9975"/>
              <a:gd name="connsiteX84" fmla="*/ 8168 w 9994"/>
              <a:gd name="connsiteY84" fmla="*/ 4326 h 9975"/>
              <a:gd name="connsiteX85" fmla="*/ 8024 w 9994"/>
              <a:gd name="connsiteY85" fmla="*/ 4128 h 9975"/>
              <a:gd name="connsiteX86" fmla="*/ 7879 w 9994"/>
              <a:gd name="connsiteY86" fmla="*/ 3932 h 9975"/>
              <a:gd name="connsiteX87" fmla="*/ 7728 w 9994"/>
              <a:gd name="connsiteY87" fmla="*/ 3734 h 9975"/>
              <a:gd name="connsiteX88" fmla="*/ 7578 w 9994"/>
              <a:gd name="connsiteY88" fmla="*/ 3554 h 9975"/>
              <a:gd name="connsiteX89" fmla="*/ 7412 w 9994"/>
              <a:gd name="connsiteY89" fmla="*/ 3372 h 9975"/>
              <a:gd name="connsiteX90" fmla="*/ 7255 w 9994"/>
              <a:gd name="connsiteY90" fmla="*/ 3188 h 9975"/>
              <a:gd name="connsiteX91" fmla="*/ 7085 w 9994"/>
              <a:gd name="connsiteY91" fmla="*/ 3006 h 9975"/>
              <a:gd name="connsiteX92" fmla="*/ 6915 w 9994"/>
              <a:gd name="connsiteY92" fmla="*/ 2837 h 9975"/>
              <a:gd name="connsiteX93" fmla="*/ 6745 w 9994"/>
              <a:gd name="connsiteY93" fmla="*/ 2668 h 9975"/>
              <a:gd name="connsiteX94" fmla="*/ 6561 w 9994"/>
              <a:gd name="connsiteY94" fmla="*/ 2508 h 9975"/>
              <a:gd name="connsiteX95" fmla="*/ 6376 w 9994"/>
              <a:gd name="connsiteY95" fmla="*/ 2351 h 9975"/>
              <a:gd name="connsiteX96" fmla="*/ 6192 w 9994"/>
              <a:gd name="connsiteY96" fmla="*/ 2197 h 9975"/>
              <a:gd name="connsiteX97" fmla="*/ 6002 w 9994"/>
              <a:gd name="connsiteY97" fmla="*/ 2044 h 9975"/>
              <a:gd name="connsiteX98" fmla="*/ 5805 w 9994"/>
              <a:gd name="connsiteY98" fmla="*/ 1898 h 9975"/>
              <a:gd name="connsiteX99" fmla="*/ 5609 w 9994"/>
              <a:gd name="connsiteY99" fmla="*/ 1755 h 9975"/>
              <a:gd name="connsiteX100" fmla="*/ 5411 w 9994"/>
              <a:gd name="connsiteY100" fmla="*/ 1622 h 9975"/>
              <a:gd name="connsiteX101" fmla="*/ 5208 w 9994"/>
              <a:gd name="connsiteY101" fmla="*/ 1491 h 9975"/>
              <a:gd name="connsiteX102" fmla="*/ 5005 w 9994"/>
              <a:gd name="connsiteY102" fmla="*/ 1363 h 9975"/>
              <a:gd name="connsiteX103" fmla="*/ 4786 w 9994"/>
              <a:gd name="connsiteY103" fmla="*/ 1242 h 9975"/>
              <a:gd name="connsiteX104" fmla="*/ 4577 w 9994"/>
              <a:gd name="connsiteY104" fmla="*/ 1127 h 9975"/>
              <a:gd name="connsiteX105" fmla="*/ 4359 w 9994"/>
              <a:gd name="connsiteY105" fmla="*/ 1020 h 9975"/>
              <a:gd name="connsiteX106" fmla="*/ 4137 w 9994"/>
              <a:gd name="connsiteY106" fmla="*/ 910 h 9975"/>
              <a:gd name="connsiteX107" fmla="*/ 3920 w 9994"/>
              <a:gd name="connsiteY107" fmla="*/ 809 h 9975"/>
              <a:gd name="connsiteX108" fmla="*/ 3698 w 9994"/>
              <a:gd name="connsiteY108" fmla="*/ 721 h 9975"/>
              <a:gd name="connsiteX109" fmla="*/ 3466 w 9994"/>
              <a:gd name="connsiteY109" fmla="*/ 625 h 9975"/>
              <a:gd name="connsiteX110" fmla="*/ 3236 w 9994"/>
              <a:gd name="connsiteY110" fmla="*/ 546 h 9975"/>
              <a:gd name="connsiteX111" fmla="*/ 3001 w 9994"/>
              <a:gd name="connsiteY111" fmla="*/ 463 h 9975"/>
              <a:gd name="connsiteX112" fmla="*/ 2771 w 9994"/>
              <a:gd name="connsiteY112" fmla="*/ 395 h 9975"/>
              <a:gd name="connsiteX113" fmla="*/ 2530 w 9994"/>
              <a:gd name="connsiteY113" fmla="*/ 329 h 9975"/>
              <a:gd name="connsiteX114" fmla="*/ 2286 w 9994"/>
              <a:gd name="connsiteY114" fmla="*/ 267 h 9975"/>
              <a:gd name="connsiteX115" fmla="*/ 2048 w 9994"/>
              <a:gd name="connsiteY115" fmla="*/ 213 h 9975"/>
              <a:gd name="connsiteX116" fmla="*/ 1807 w 9994"/>
              <a:gd name="connsiteY116" fmla="*/ 165 h 9975"/>
              <a:gd name="connsiteX117" fmla="*/ 1556 w 9994"/>
              <a:gd name="connsiteY117" fmla="*/ 118 h 9975"/>
              <a:gd name="connsiteX118" fmla="*/ 1306 w 9994"/>
              <a:gd name="connsiteY118" fmla="*/ 85 h 9975"/>
              <a:gd name="connsiteX119" fmla="*/ 1058 w 9994"/>
              <a:gd name="connsiteY119" fmla="*/ 58 h 9975"/>
              <a:gd name="connsiteX120" fmla="*/ 808 w 9994"/>
              <a:gd name="connsiteY120" fmla="*/ 41 h 9975"/>
              <a:gd name="connsiteX121" fmla="*/ 551 w 9994"/>
              <a:gd name="connsiteY121" fmla="*/ 15 h 9975"/>
              <a:gd name="connsiteX122" fmla="*/ 295 w 9994"/>
              <a:gd name="connsiteY122" fmla="*/ 8 h 9975"/>
              <a:gd name="connsiteX123" fmla="*/ 39 w 9994"/>
              <a:gd name="connsiteY123" fmla="*/ 3 h 9975"/>
              <a:gd name="connsiteX124" fmla="*/ 0 w 9994"/>
              <a:gd name="connsiteY124" fmla="*/ 0 h 9975"/>
              <a:gd name="connsiteX125" fmla="*/ 1211 w 9994"/>
              <a:gd name="connsiteY125" fmla="*/ 3094 h 9975"/>
              <a:gd name="connsiteX126" fmla="*/ 7 w 9994"/>
              <a:gd name="connsiteY126" fmla="*/ 6037 h 9975"/>
              <a:gd name="connsiteX0" fmla="*/ 7 w 9980"/>
              <a:gd name="connsiteY0" fmla="*/ 6052 h 10000"/>
              <a:gd name="connsiteX1" fmla="*/ 20 w 9980"/>
              <a:gd name="connsiteY1" fmla="*/ 6045 h 10000"/>
              <a:gd name="connsiteX2" fmla="*/ 124 w 9980"/>
              <a:gd name="connsiteY2" fmla="*/ 6045 h 10000"/>
              <a:gd name="connsiteX3" fmla="*/ 230 w 9980"/>
              <a:gd name="connsiteY3" fmla="*/ 6052 h 10000"/>
              <a:gd name="connsiteX4" fmla="*/ 335 w 9980"/>
              <a:gd name="connsiteY4" fmla="*/ 6058 h 10000"/>
              <a:gd name="connsiteX5" fmla="*/ 439 w 9980"/>
              <a:gd name="connsiteY5" fmla="*/ 6064 h 10000"/>
              <a:gd name="connsiteX6" fmla="*/ 545 w 9980"/>
              <a:gd name="connsiteY6" fmla="*/ 6085 h 10000"/>
              <a:gd name="connsiteX7" fmla="*/ 650 w 9980"/>
              <a:gd name="connsiteY7" fmla="*/ 6098 h 10000"/>
              <a:gd name="connsiteX8" fmla="*/ 749 w 9980"/>
              <a:gd name="connsiteY8" fmla="*/ 6112 h 10000"/>
              <a:gd name="connsiteX9" fmla="*/ 848 w 9980"/>
              <a:gd name="connsiteY9" fmla="*/ 6134 h 10000"/>
              <a:gd name="connsiteX10" fmla="*/ 954 w 9980"/>
              <a:gd name="connsiteY10" fmla="*/ 6152 h 10000"/>
              <a:gd name="connsiteX11" fmla="*/ 1052 w 9980"/>
              <a:gd name="connsiteY11" fmla="*/ 6178 h 10000"/>
              <a:gd name="connsiteX12" fmla="*/ 1150 w 9980"/>
              <a:gd name="connsiteY12" fmla="*/ 6209 h 10000"/>
              <a:gd name="connsiteX13" fmla="*/ 1248 w 9980"/>
              <a:gd name="connsiteY13" fmla="*/ 6236 h 10000"/>
              <a:gd name="connsiteX14" fmla="*/ 1341 w 9980"/>
              <a:gd name="connsiteY14" fmla="*/ 6270 h 10000"/>
              <a:gd name="connsiteX15" fmla="*/ 1439 w 9980"/>
              <a:gd name="connsiteY15" fmla="*/ 6302 h 10000"/>
              <a:gd name="connsiteX16" fmla="*/ 1531 w 9980"/>
              <a:gd name="connsiteY16" fmla="*/ 6341 h 10000"/>
              <a:gd name="connsiteX17" fmla="*/ 1623 w 9980"/>
              <a:gd name="connsiteY17" fmla="*/ 6381 h 10000"/>
              <a:gd name="connsiteX18" fmla="*/ 1715 w 9980"/>
              <a:gd name="connsiteY18" fmla="*/ 6425 h 10000"/>
              <a:gd name="connsiteX19" fmla="*/ 1808 w 9980"/>
              <a:gd name="connsiteY19" fmla="*/ 6465 h 10000"/>
              <a:gd name="connsiteX20" fmla="*/ 1899 w 9980"/>
              <a:gd name="connsiteY20" fmla="*/ 6512 h 10000"/>
              <a:gd name="connsiteX21" fmla="*/ 1991 w 9980"/>
              <a:gd name="connsiteY21" fmla="*/ 6557 h 10000"/>
              <a:gd name="connsiteX22" fmla="*/ 2076 w 9980"/>
              <a:gd name="connsiteY22" fmla="*/ 6615 h 10000"/>
              <a:gd name="connsiteX23" fmla="*/ 2163 w 9980"/>
              <a:gd name="connsiteY23" fmla="*/ 6661 h 10000"/>
              <a:gd name="connsiteX24" fmla="*/ 2248 w 9980"/>
              <a:gd name="connsiteY24" fmla="*/ 6714 h 10000"/>
              <a:gd name="connsiteX25" fmla="*/ 2326 w 9980"/>
              <a:gd name="connsiteY25" fmla="*/ 6770 h 10000"/>
              <a:gd name="connsiteX26" fmla="*/ 2411 w 9980"/>
              <a:gd name="connsiteY26" fmla="*/ 6831 h 10000"/>
              <a:gd name="connsiteX27" fmla="*/ 2489 w 9980"/>
              <a:gd name="connsiteY27" fmla="*/ 6891 h 10000"/>
              <a:gd name="connsiteX28" fmla="*/ 2571 w 9980"/>
              <a:gd name="connsiteY28" fmla="*/ 6951 h 10000"/>
              <a:gd name="connsiteX29" fmla="*/ 2649 w 9980"/>
              <a:gd name="connsiteY29" fmla="*/ 7012 h 10000"/>
              <a:gd name="connsiteX30" fmla="*/ 2728 w 9980"/>
              <a:gd name="connsiteY30" fmla="*/ 7081 h 10000"/>
              <a:gd name="connsiteX31" fmla="*/ 2800 w 9980"/>
              <a:gd name="connsiteY31" fmla="*/ 7151 h 10000"/>
              <a:gd name="connsiteX32" fmla="*/ 2871 w 9980"/>
              <a:gd name="connsiteY32" fmla="*/ 7218 h 10000"/>
              <a:gd name="connsiteX33" fmla="*/ 2944 w 9980"/>
              <a:gd name="connsiteY33" fmla="*/ 7292 h 10000"/>
              <a:gd name="connsiteX34" fmla="*/ 3010 w 9980"/>
              <a:gd name="connsiteY34" fmla="*/ 7364 h 10000"/>
              <a:gd name="connsiteX35" fmla="*/ 3082 w 9980"/>
              <a:gd name="connsiteY35" fmla="*/ 7441 h 10000"/>
              <a:gd name="connsiteX36" fmla="*/ 3147 w 9980"/>
              <a:gd name="connsiteY36" fmla="*/ 7514 h 10000"/>
              <a:gd name="connsiteX37" fmla="*/ 3206 w 9980"/>
              <a:gd name="connsiteY37" fmla="*/ 7597 h 10000"/>
              <a:gd name="connsiteX38" fmla="*/ 3272 w 9980"/>
              <a:gd name="connsiteY38" fmla="*/ 7671 h 10000"/>
              <a:gd name="connsiteX39" fmla="*/ 3331 w 9980"/>
              <a:gd name="connsiteY39" fmla="*/ 7752 h 10000"/>
              <a:gd name="connsiteX40" fmla="*/ 3390 w 9980"/>
              <a:gd name="connsiteY40" fmla="*/ 7833 h 10000"/>
              <a:gd name="connsiteX41" fmla="*/ 3449 w 9980"/>
              <a:gd name="connsiteY41" fmla="*/ 7917 h 10000"/>
              <a:gd name="connsiteX42" fmla="*/ 3501 w 9980"/>
              <a:gd name="connsiteY42" fmla="*/ 8003 h 10000"/>
              <a:gd name="connsiteX43" fmla="*/ 3554 w 9980"/>
              <a:gd name="connsiteY43" fmla="*/ 8090 h 10000"/>
              <a:gd name="connsiteX44" fmla="*/ 3607 w 9980"/>
              <a:gd name="connsiteY44" fmla="*/ 8181 h 10000"/>
              <a:gd name="connsiteX45" fmla="*/ 3661 w 9980"/>
              <a:gd name="connsiteY45" fmla="*/ 8267 h 10000"/>
              <a:gd name="connsiteX46" fmla="*/ 3700 w 9980"/>
              <a:gd name="connsiteY46" fmla="*/ 8363 h 10000"/>
              <a:gd name="connsiteX47" fmla="*/ 3752 w 9980"/>
              <a:gd name="connsiteY47" fmla="*/ 8459 h 10000"/>
              <a:gd name="connsiteX48" fmla="*/ 3791 w 9980"/>
              <a:gd name="connsiteY48" fmla="*/ 8544 h 10000"/>
              <a:gd name="connsiteX49" fmla="*/ 3831 w 9980"/>
              <a:gd name="connsiteY49" fmla="*/ 8642 h 10000"/>
              <a:gd name="connsiteX50" fmla="*/ 3870 w 9980"/>
              <a:gd name="connsiteY50" fmla="*/ 8737 h 10000"/>
              <a:gd name="connsiteX51" fmla="*/ 3903 w 9980"/>
              <a:gd name="connsiteY51" fmla="*/ 8832 h 10000"/>
              <a:gd name="connsiteX52" fmla="*/ 3935 w 9980"/>
              <a:gd name="connsiteY52" fmla="*/ 8932 h 10000"/>
              <a:gd name="connsiteX53" fmla="*/ 3968 w 9980"/>
              <a:gd name="connsiteY53" fmla="*/ 9034 h 10000"/>
              <a:gd name="connsiteX54" fmla="*/ 4001 w 9980"/>
              <a:gd name="connsiteY54" fmla="*/ 9131 h 10000"/>
              <a:gd name="connsiteX55" fmla="*/ 4027 w 9980"/>
              <a:gd name="connsiteY55" fmla="*/ 9231 h 10000"/>
              <a:gd name="connsiteX56" fmla="*/ 4047 w 9980"/>
              <a:gd name="connsiteY56" fmla="*/ 9332 h 10000"/>
              <a:gd name="connsiteX57" fmla="*/ 4074 w 9980"/>
              <a:gd name="connsiteY57" fmla="*/ 9442 h 10000"/>
              <a:gd name="connsiteX58" fmla="*/ 4093 w 9980"/>
              <a:gd name="connsiteY58" fmla="*/ 9543 h 10000"/>
              <a:gd name="connsiteX59" fmla="*/ 4113 w 9980"/>
              <a:gd name="connsiteY59" fmla="*/ 9646 h 10000"/>
              <a:gd name="connsiteX60" fmla="*/ 7222 w 9980"/>
              <a:gd name="connsiteY60" fmla="*/ 10000 h 10000"/>
              <a:gd name="connsiteX61" fmla="*/ 9980 w 9980"/>
              <a:gd name="connsiteY61" fmla="*/ 9503 h 10000"/>
              <a:gd name="connsiteX62" fmla="*/ 9961 w 9980"/>
              <a:gd name="connsiteY62" fmla="*/ 9246 h 10000"/>
              <a:gd name="connsiteX63" fmla="*/ 9928 w 9980"/>
              <a:gd name="connsiteY63" fmla="*/ 8979 h 10000"/>
              <a:gd name="connsiteX64" fmla="*/ 9895 w 9980"/>
              <a:gd name="connsiteY64" fmla="*/ 8731 h 10000"/>
              <a:gd name="connsiteX65" fmla="*/ 9856 w 9980"/>
              <a:gd name="connsiteY65" fmla="*/ 8471 h 10000"/>
              <a:gd name="connsiteX66" fmla="*/ 9809 w 9980"/>
              <a:gd name="connsiteY66" fmla="*/ 8220 h 10000"/>
              <a:gd name="connsiteX67" fmla="*/ 9757 w 9980"/>
              <a:gd name="connsiteY67" fmla="*/ 7970 h 10000"/>
              <a:gd name="connsiteX68" fmla="*/ 9698 w 9980"/>
              <a:gd name="connsiteY68" fmla="*/ 7726 h 10000"/>
              <a:gd name="connsiteX69" fmla="*/ 9633 w 9980"/>
              <a:gd name="connsiteY69" fmla="*/ 7474 h 10000"/>
              <a:gd name="connsiteX70" fmla="*/ 9568 w 9980"/>
              <a:gd name="connsiteY70" fmla="*/ 7231 h 10000"/>
              <a:gd name="connsiteX71" fmla="*/ 9488 w 9980"/>
              <a:gd name="connsiteY71" fmla="*/ 6992 h 10000"/>
              <a:gd name="connsiteX72" fmla="*/ 9409 w 9980"/>
              <a:gd name="connsiteY72" fmla="*/ 6755 h 10000"/>
              <a:gd name="connsiteX73" fmla="*/ 9317 w 9980"/>
              <a:gd name="connsiteY73" fmla="*/ 6518 h 10000"/>
              <a:gd name="connsiteX74" fmla="*/ 9225 w 9980"/>
              <a:gd name="connsiteY74" fmla="*/ 6290 h 10000"/>
              <a:gd name="connsiteX75" fmla="*/ 9132 w 9980"/>
              <a:gd name="connsiteY75" fmla="*/ 6058 h 10000"/>
              <a:gd name="connsiteX76" fmla="*/ 9027 w 9980"/>
              <a:gd name="connsiteY76" fmla="*/ 5834 h 10000"/>
              <a:gd name="connsiteX77" fmla="*/ 8922 w 9980"/>
              <a:gd name="connsiteY77" fmla="*/ 5610 h 10000"/>
              <a:gd name="connsiteX78" fmla="*/ 8811 w 9980"/>
              <a:gd name="connsiteY78" fmla="*/ 5387 h 10000"/>
              <a:gd name="connsiteX79" fmla="*/ 8693 w 9980"/>
              <a:gd name="connsiteY79" fmla="*/ 5170 h 10000"/>
              <a:gd name="connsiteX80" fmla="*/ 8568 w 9980"/>
              <a:gd name="connsiteY80" fmla="*/ 4960 h 10000"/>
              <a:gd name="connsiteX81" fmla="*/ 8443 w 9980"/>
              <a:gd name="connsiteY81" fmla="*/ 4749 h 10000"/>
              <a:gd name="connsiteX82" fmla="*/ 8311 w 9980"/>
              <a:gd name="connsiteY82" fmla="*/ 4538 h 10000"/>
              <a:gd name="connsiteX83" fmla="*/ 8173 w 9980"/>
              <a:gd name="connsiteY83" fmla="*/ 4337 h 10000"/>
              <a:gd name="connsiteX84" fmla="*/ 8029 w 9980"/>
              <a:gd name="connsiteY84" fmla="*/ 4138 h 10000"/>
              <a:gd name="connsiteX85" fmla="*/ 7884 w 9980"/>
              <a:gd name="connsiteY85" fmla="*/ 3942 h 10000"/>
              <a:gd name="connsiteX86" fmla="*/ 7733 w 9980"/>
              <a:gd name="connsiteY86" fmla="*/ 3743 h 10000"/>
              <a:gd name="connsiteX87" fmla="*/ 7583 w 9980"/>
              <a:gd name="connsiteY87" fmla="*/ 3563 h 10000"/>
              <a:gd name="connsiteX88" fmla="*/ 7416 w 9980"/>
              <a:gd name="connsiteY88" fmla="*/ 3380 h 10000"/>
              <a:gd name="connsiteX89" fmla="*/ 7259 w 9980"/>
              <a:gd name="connsiteY89" fmla="*/ 3196 h 10000"/>
              <a:gd name="connsiteX90" fmla="*/ 7089 w 9980"/>
              <a:gd name="connsiteY90" fmla="*/ 3014 h 10000"/>
              <a:gd name="connsiteX91" fmla="*/ 6919 w 9980"/>
              <a:gd name="connsiteY91" fmla="*/ 2844 h 10000"/>
              <a:gd name="connsiteX92" fmla="*/ 6749 w 9980"/>
              <a:gd name="connsiteY92" fmla="*/ 2675 h 10000"/>
              <a:gd name="connsiteX93" fmla="*/ 6565 w 9980"/>
              <a:gd name="connsiteY93" fmla="*/ 2514 h 10000"/>
              <a:gd name="connsiteX94" fmla="*/ 6380 w 9980"/>
              <a:gd name="connsiteY94" fmla="*/ 2357 h 10000"/>
              <a:gd name="connsiteX95" fmla="*/ 6196 w 9980"/>
              <a:gd name="connsiteY95" fmla="*/ 2203 h 10000"/>
              <a:gd name="connsiteX96" fmla="*/ 6006 w 9980"/>
              <a:gd name="connsiteY96" fmla="*/ 2049 h 10000"/>
              <a:gd name="connsiteX97" fmla="*/ 5808 w 9980"/>
              <a:gd name="connsiteY97" fmla="*/ 1903 h 10000"/>
              <a:gd name="connsiteX98" fmla="*/ 5612 w 9980"/>
              <a:gd name="connsiteY98" fmla="*/ 1759 h 10000"/>
              <a:gd name="connsiteX99" fmla="*/ 5414 w 9980"/>
              <a:gd name="connsiteY99" fmla="*/ 1626 h 10000"/>
              <a:gd name="connsiteX100" fmla="*/ 5211 w 9980"/>
              <a:gd name="connsiteY100" fmla="*/ 1495 h 10000"/>
              <a:gd name="connsiteX101" fmla="*/ 5008 w 9980"/>
              <a:gd name="connsiteY101" fmla="*/ 1366 h 10000"/>
              <a:gd name="connsiteX102" fmla="*/ 4789 w 9980"/>
              <a:gd name="connsiteY102" fmla="*/ 1245 h 10000"/>
              <a:gd name="connsiteX103" fmla="*/ 4580 w 9980"/>
              <a:gd name="connsiteY103" fmla="*/ 1130 h 10000"/>
              <a:gd name="connsiteX104" fmla="*/ 4362 w 9980"/>
              <a:gd name="connsiteY104" fmla="*/ 1023 h 10000"/>
              <a:gd name="connsiteX105" fmla="*/ 4139 w 9980"/>
              <a:gd name="connsiteY105" fmla="*/ 912 h 10000"/>
              <a:gd name="connsiteX106" fmla="*/ 3922 w 9980"/>
              <a:gd name="connsiteY106" fmla="*/ 811 h 10000"/>
              <a:gd name="connsiteX107" fmla="*/ 3700 w 9980"/>
              <a:gd name="connsiteY107" fmla="*/ 723 h 10000"/>
              <a:gd name="connsiteX108" fmla="*/ 3468 w 9980"/>
              <a:gd name="connsiteY108" fmla="*/ 627 h 10000"/>
              <a:gd name="connsiteX109" fmla="*/ 3238 w 9980"/>
              <a:gd name="connsiteY109" fmla="*/ 547 h 10000"/>
              <a:gd name="connsiteX110" fmla="*/ 3003 w 9980"/>
              <a:gd name="connsiteY110" fmla="*/ 464 h 10000"/>
              <a:gd name="connsiteX111" fmla="*/ 2773 w 9980"/>
              <a:gd name="connsiteY111" fmla="*/ 396 h 10000"/>
              <a:gd name="connsiteX112" fmla="*/ 2532 w 9980"/>
              <a:gd name="connsiteY112" fmla="*/ 330 h 10000"/>
              <a:gd name="connsiteX113" fmla="*/ 2287 w 9980"/>
              <a:gd name="connsiteY113" fmla="*/ 268 h 10000"/>
              <a:gd name="connsiteX114" fmla="*/ 2049 w 9980"/>
              <a:gd name="connsiteY114" fmla="*/ 214 h 10000"/>
              <a:gd name="connsiteX115" fmla="*/ 1808 w 9980"/>
              <a:gd name="connsiteY115" fmla="*/ 165 h 10000"/>
              <a:gd name="connsiteX116" fmla="*/ 1557 w 9980"/>
              <a:gd name="connsiteY116" fmla="*/ 118 h 10000"/>
              <a:gd name="connsiteX117" fmla="*/ 1307 w 9980"/>
              <a:gd name="connsiteY117" fmla="*/ 85 h 10000"/>
              <a:gd name="connsiteX118" fmla="*/ 1059 w 9980"/>
              <a:gd name="connsiteY118" fmla="*/ 58 h 10000"/>
              <a:gd name="connsiteX119" fmla="*/ 808 w 9980"/>
              <a:gd name="connsiteY119" fmla="*/ 41 h 10000"/>
              <a:gd name="connsiteX120" fmla="*/ 551 w 9980"/>
              <a:gd name="connsiteY120" fmla="*/ 15 h 10000"/>
              <a:gd name="connsiteX121" fmla="*/ 295 w 9980"/>
              <a:gd name="connsiteY121" fmla="*/ 8 h 10000"/>
              <a:gd name="connsiteX122" fmla="*/ 39 w 9980"/>
              <a:gd name="connsiteY122" fmla="*/ 3 h 10000"/>
              <a:gd name="connsiteX123" fmla="*/ 0 w 9980"/>
              <a:gd name="connsiteY123" fmla="*/ 0 h 10000"/>
              <a:gd name="connsiteX124" fmla="*/ 1212 w 9980"/>
              <a:gd name="connsiteY124" fmla="*/ 3102 h 10000"/>
              <a:gd name="connsiteX125" fmla="*/ 7 w 9980"/>
              <a:gd name="connsiteY125" fmla="*/ 6052 h 10000"/>
              <a:gd name="connsiteX0" fmla="*/ 7 w 9981"/>
              <a:gd name="connsiteY0" fmla="*/ 6052 h 10000"/>
              <a:gd name="connsiteX1" fmla="*/ 20 w 9981"/>
              <a:gd name="connsiteY1" fmla="*/ 6045 h 10000"/>
              <a:gd name="connsiteX2" fmla="*/ 124 w 9981"/>
              <a:gd name="connsiteY2" fmla="*/ 6045 h 10000"/>
              <a:gd name="connsiteX3" fmla="*/ 230 w 9981"/>
              <a:gd name="connsiteY3" fmla="*/ 6052 h 10000"/>
              <a:gd name="connsiteX4" fmla="*/ 336 w 9981"/>
              <a:gd name="connsiteY4" fmla="*/ 6058 h 10000"/>
              <a:gd name="connsiteX5" fmla="*/ 440 w 9981"/>
              <a:gd name="connsiteY5" fmla="*/ 6064 h 10000"/>
              <a:gd name="connsiteX6" fmla="*/ 546 w 9981"/>
              <a:gd name="connsiteY6" fmla="*/ 6085 h 10000"/>
              <a:gd name="connsiteX7" fmla="*/ 651 w 9981"/>
              <a:gd name="connsiteY7" fmla="*/ 6098 h 10000"/>
              <a:gd name="connsiteX8" fmla="*/ 751 w 9981"/>
              <a:gd name="connsiteY8" fmla="*/ 6112 h 10000"/>
              <a:gd name="connsiteX9" fmla="*/ 850 w 9981"/>
              <a:gd name="connsiteY9" fmla="*/ 6134 h 10000"/>
              <a:gd name="connsiteX10" fmla="*/ 956 w 9981"/>
              <a:gd name="connsiteY10" fmla="*/ 6152 h 10000"/>
              <a:gd name="connsiteX11" fmla="*/ 1054 w 9981"/>
              <a:gd name="connsiteY11" fmla="*/ 6178 h 10000"/>
              <a:gd name="connsiteX12" fmla="*/ 1152 w 9981"/>
              <a:gd name="connsiteY12" fmla="*/ 6209 h 10000"/>
              <a:gd name="connsiteX13" fmla="*/ 1251 w 9981"/>
              <a:gd name="connsiteY13" fmla="*/ 6236 h 10000"/>
              <a:gd name="connsiteX14" fmla="*/ 1344 w 9981"/>
              <a:gd name="connsiteY14" fmla="*/ 6270 h 10000"/>
              <a:gd name="connsiteX15" fmla="*/ 1442 w 9981"/>
              <a:gd name="connsiteY15" fmla="*/ 6302 h 10000"/>
              <a:gd name="connsiteX16" fmla="*/ 1534 w 9981"/>
              <a:gd name="connsiteY16" fmla="*/ 6341 h 10000"/>
              <a:gd name="connsiteX17" fmla="*/ 1626 w 9981"/>
              <a:gd name="connsiteY17" fmla="*/ 6381 h 10000"/>
              <a:gd name="connsiteX18" fmla="*/ 1718 w 9981"/>
              <a:gd name="connsiteY18" fmla="*/ 6425 h 10000"/>
              <a:gd name="connsiteX19" fmla="*/ 1812 w 9981"/>
              <a:gd name="connsiteY19" fmla="*/ 6465 h 10000"/>
              <a:gd name="connsiteX20" fmla="*/ 1903 w 9981"/>
              <a:gd name="connsiteY20" fmla="*/ 6512 h 10000"/>
              <a:gd name="connsiteX21" fmla="*/ 1995 w 9981"/>
              <a:gd name="connsiteY21" fmla="*/ 6557 h 10000"/>
              <a:gd name="connsiteX22" fmla="*/ 2080 w 9981"/>
              <a:gd name="connsiteY22" fmla="*/ 6615 h 10000"/>
              <a:gd name="connsiteX23" fmla="*/ 2167 w 9981"/>
              <a:gd name="connsiteY23" fmla="*/ 6661 h 10000"/>
              <a:gd name="connsiteX24" fmla="*/ 2253 w 9981"/>
              <a:gd name="connsiteY24" fmla="*/ 6714 h 10000"/>
              <a:gd name="connsiteX25" fmla="*/ 2331 w 9981"/>
              <a:gd name="connsiteY25" fmla="*/ 6770 h 10000"/>
              <a:gd name="connsiteX26" fmla="*/ 2416 w 9981"/>
              <a:gd name="connsiteY26" fmla="*/ 6831 h 10000"/>
              <a:gd name="connsiteX27" fmla="*/ 2494 w 9981"/>
              <a:gd name="connsiteY27" fmla="*/ 6891 h 10000"/>
              <a:gd name="connsiteX28" fmla="*/ 2576 w 9981"/>
              <a:gd name="connsiteY28" fmla="*/ 6951 h 10000"/>
              <a:gd name="connsiteX29" fmla="*/ 2654 w 9981"/>
              <a:gd name="connsiteY29" fmla="*/ 7012 h 10000"/>
              <a:gd name="connsiteX30" fmla="*/ 2733 w 9981"/>
              <a:gd name="connsiteY30" fmla="*/ 7081 h 10000"/>
              <a:gd name="connsiteX31" fmla="*/ 2806 w 9981"/>
              <a:gd name="connsiteY31" fmla="*/ 7151 h 10000"/>
              <a:gd name="connsiteX32" fmla="*/ 2877 w 9981"/>
              <a:gd name="connsiteY32" fmla="*/ 7218 h 10000"/>
              <a:gd name="connsiteX33" fmla="*/ 2950 w 9981"/>
              <a:gd name="connsiteY33" fmla="*/ 7292 h 10000"/>
              <a:gd name="connsiteX34" fmla="*/ 3016 w 9981"/>
              <a:gd name="connsiteY34" fmla="*/ 7364 h 10000"/>
              <a:gd name="connsiteX35" fmla="*/ 3088 w 9981"/>
              <a:gd name="connsiteY35" fmla="*/ 7441 h 10000"/>
              <a:gd name="connsiteX36" fmla="*/ 3153 w 9981"/>
              <a:gd name="connsiteY36" fmla="*/ 7514 h 10000"/>
              <a:gd name="connsiteX37" fmla="*/ 3212 w 9981"/>
              <a:gd name="connsiteY37" fmla="*/ 7597 h 10000"/>
              <a:gd name="connsiteX38" fmla="*/ 3279 w 9981"/>
              <a:gd name="connsiteY38" fmla="*/ 7671 h 10000"/>
              <a:gd name="connsiteX39" fmla="*/ 3338 w 9981"/>
              <a:gd name="connsiteY39" fmla="*/ 7752 h 10000"/>
              <a:gd name="connsiteX40" fmla="*/ 3397 w 9981"/>
              <a:gd name="connsiteY40" fmla="*/ 7833 h 10000"/>
              <a:gd name="connsiteX41" fmla="*/ 3456 w 9981"/>
              <a:gd name="connsiteY41" fmla="*/ 7917 h 10000"/>
              <a:gd name="connsiteX42" fmla="*/ 3508 w 9981"/>
              <a:gd name="connsiteY42" fmla="*/ 8003 h 10000"/>
              <a:gd name="connsiteX43" fmla="*/ 3561 w 9981"/>
              <a:gd name="connsiteY43" fmla="*/ 8090 h 10000"/>
              <a:gd name="connsiteX44" fmla="*/ 3614 w 9981"/>
              <a:gd name="connsiteY44" fmla="*/ 8181 h 10000"/>
              <a:gd name="connsiteX45" fmla="*/ 3668 w 9981"/>
              <a:gd name="connsiteY45" fmla="*/ 8267 h 10000"/>
              <a:gd name="connsiteX46" fmla="*/ 3707 w 9981"/>
              <a:gd name="connsiteY46" fmla="*/ 8363 h 10000"/>
              <a:gd name="connsiteX47" fmla="*/ 3760 w 9981"/>
              <a:gd name="connsiteY47" fmla="*/ 8459 h 10000"/>
              <a:gd name="connsiteX48" fmla="*/ 3799 w 9981"/>
              <a:gd name="connsiteY48" fmla="*/ 8544 h 10000"/>
              <a:gd name="connsiteX49" fmla="*/ 3839 w 9981"/>
              <a:gd name="connsiteY49" fmla="*/ 8642 h 10000"/>
              <a:gd name="connsiteX50" fmla="*/ 3878 w 9981"/>
              <a:gd name="connsiteY50" fmla="*/ 8737 h 10000"/>
              <a:gd name="connsiteX51" fmla="*/ 3911 w 9981"/>
              <a:gd name="connsiteY51" fmla="*/ 8832 h 10000"/>
              <a:gd name="connsiteX52" fmla="*/ 3943 w 9981"/>
              <a:gd name="connsiteY52" fmla="*/ 8932 h 10000"/>
              <a:gd name="connsiteX53" fmla="*/ 3976 w 9981"/>
              <a:gd name="connsiteY53" fmla="*/ 9034 h 10000"/>
              <a:gd name="connsiteX54" fmla="*/ 4009 w 9981"/>
              <a:gd name="connsiteY54" fmla="*/ 9131 h 10000"/>
              <a:gd name="connsiteX55" fmla="*/ 4035 w 9981"/>
              <a:gd name="connsiteY55" fmla="*/ 9231 h 10000"/>
              <a:gd name="connsiteX56" fmla="*/ 4055 w 9981"/>
              <a:gd name="connsiteY56" fmla="*/ 9332 h 10000"/>
              <a:gd name="connsiteX57" fmla="*/ 4082 w 9981"/>
              <a:gd name="connsiteY57" fmla="*/ 9442 h 10000"/>
              <a:gd name="connsiteX58" fmla="*/ 4101 w 9981"/>
              <a:gd name="connsiteY58" fmla="*/ 9543 h 10000"/>
              <a:gd name="connsiteX59" fmla="*/ 4121 w 9981"/>
              <a:gd name="connsiteY59" fmla="*/ 9646 h 10000"/>
              <a:gd name="connsiteX60" fmla="*/ 7236 w 9981"/>
              <a:gd name="connsiteY60" fmla="*/ 10000 h 10000"/>
              <a:gd name="connsiteX61" fmla="*/ 9981 w 9981"/>
              <a:gd name="connsiteY61" fmla="*/ 9246 h 10000"/>
              <a:gd name="connsiteX62" fmla="*/ 9948 w 9981"/>
              <a:gd name="connsiteY62" fmla="*/ 8979 h 10000"/>
              <a:gd name="connsiteX63" fmla="*/ 9915 w 9981"/>
              <a:gd name="connsiteY63" fmla="*/ 8731 h 10000"/>
              <a:gd name="connsiteX64" fmla="*/ 9876 w 9981"/>
              <a:gd name="connsiteY64" fmla="*/ 8471 h 10000"/>
              <a:gd name="connsiteX65" fmla="*/ 9829 w 9981"/>
              <a:gd name="connsiteY65" fmla="*/ 8220 h 10000"/>
              <a:gd name="connsiteX66" fmla="*/ 9777 w 9981"/>
              <a:gd name="connsiteY66" fmla="*/ 7970 h 10000"/>
              <a:gd name="connsiteX67" fmla="*/ 9717 w 9981"/>
              <a:gd name="connsiteY67" fmla="*/ 7726 h 10000"/>
              <a:gd name="connsiteX68" fmla="*/ 9652 w 9981"/>
              <a:gd name="connsiteY68" fmla="*/ 7474 h 10000"/>
              <a:gd name="connsiteX69" fmla="*/ 9587 w 9981"/>
              <a:gd name="connsiteY69" fmla="*/ 7231 h 10000"/>
              <a:gd name="connsiteX70" fmla="*/ 9507 w 9981"/>
              <a:gd name="connsiteY70" fmla="*/ 6992 h 10000"/>
              <a:gd name="connsiteX71" fmla="*/ 9428 w 9981"/>
              <a:gd name="connsiteY71" fmla="*/ 6755 h 10000"/>
              <a:gd name="connsiteX72" fmla="*/ 9336 w 9981"/>
              <a:gd name="connsiteY72" fmla="*/ 6518 h 10000"/>
              <a:gd name="connsiteX73" fmla="*/ 9243 w 9981"/>
              <a:gd name="connsiteY73" fmla="*/ 6290 h 10000"/>
              <a:gd name="connsiteX74" fmla="*/ 9150 w 9981"/>
              <a:gd name="connsiteY74" fmla="*/ 6058 h 10000"/>
              <a:gd name="connsiteX75" fmla="*/ 9045 w 9981"/>
              <a:gd name="connsiteY75" fmla="*/ 5834 h 10000"/>
              <a:gd name="connsiteX76" fmla="*/ 8940 w 9981"/>
              <a:gd name="connsiteY76" fmla="*/ 5610 h 10000"/>
              <a:gd name="connsiteX77" fmla="*/ 8829 w 9981"/>
              <a:gd name="connsiteY77" fmla="*/ 5387 h 10000"/>
              <a:gd name="connsiteX78" fmla="*/ 8710 w 9981"/>
              <a:gd name="connsiteY78" fmla="*/ 5170 h 10000"/>
              <a:gd name="connsiteX79" fmla="*/ 8585 w 9981"/>
              <a:gd name="connsiteY79" fmla="*/ 4960 h 10000"/>
              <a:gd name="connsiteX80" fmla="*/ 8460 w 9981"/>
              <a:gd name="connsiteY80" fmla="*/ 4749 h 10000"/>
              <a:gd name="connsiteX81" fmla="*/ 8328 w 9981"/>
              <a:gd name="connsiteY81" fmla="*/ 4538 h 10000"/>
              <a:gd name="connsiteX82" fmla="*/ 8189 w 9981"/>
              <a:gd name="connsiteY82" fmla="*/ 4337 h 10000"/>
              <a:gd name="connsiteX83" fmla="*/ 8045 w 9981"/>
              <a:gd name="connsiteY83" fmla="*/ 4138 h 10000"/>
              <a:gd name="connsiteX84" fmla="*/ 7900 w 9981"/>
              <a:gd name="connsiteY84" fmla="*/ 3942 h 10000"/>
              <a:gd name="connsiteX85" fmla="*/ 7748 w 9981"/>
              <a:gd name="connsiteY85" fmla="*/ 3743 h 10000"/>
              <a:gd name="connsiteX86" fmla="*/ 7598 w 9981"/>
              <a:gd name="connsiteY86" fmla="*/ 3563 h 10000"/>
              <a:gd name="connsiteX87" fmla="*/ 7431 w 9981"/>
              <a:gd name="connsiteY87" fmla="*/ 3380 h 10000"/>
              <a:gd name="connsiteX88" fmla="*/ 7274 w 9981"/>
              <a:gd name="connsiteY88" fmla="*/ 3196 h 10000"/>
              <a:gd name="connsiteX89" fmla="*/ 7103 w 9981"/>
              <a:gd name="connsiteY89" fmla="*/ 3014 h 10000"/>
              <a:gd name="connsiteX90" fmla="*/ 6933 w 9981"/>
              <a:gd name="connsiteY90" fmla="*/ 2844 h 10000"/>
              <a:gd name="connsiteX91" fmla="*/ 6763 w 9981"/>
              <a:gd name="connsiteY91" fmla="*/ 2675 h 10000"/>
              <a:gd name="connsiteX92" fmla="*/ 6578 w 9981"/>
              <a:gd name="connsiteY92" fmla="*/ 2514 h 10000"/>
              <a:gd name="connsiteX93" fmla="*/ 6393 w 9981"/>
              <a:gd name="connsiteY93" fmla="*/ 2357 h 10000"/>
              <a:gd name="connsiteX94" fmla="*/ 6208 w 9981"/>
              <a:gd name="connsiteY94" fmla="*/ 2203 h 10000"/>
              <a:gd name="connsiteX95" fmla="*/ 6018 w 9981"/>
              <a:gd name="connsiteY95" fmla="*/ 2049 h 10000"/>
              <a:gd name="connsiteX96" fmla="*/ 5820 w 9981"/>
              <a:gd name="connsiteY96" fmla="*/ 1903 h 10000"/>
              <a:gd name="connsiteX97" fmla="*/ 5623 w 9981"/>
              <a:gd name="connsiteY97" fmla="*/ 1759 h 10000"/>
              <a:gd name="connsiteX98" fmla="*/ 5425 w 9981"/>
              <a:gd name="connsiteY98" fmla="*/ 1626 h 10000"/>
              <a:gd name="connsiteX99" fmla="*/ 5221 w 9981"/>
              <a:gd name="connsiteY99" fmla="*/ 1495 h 10000"/>
              <a:gd name="connsiteX100" fmla="*/ 5018 w 9981"/>
              <a:gd name="connsiteY100" fmla="*/ 1366 h 10000"/>
              <a:gd name="connsiteX101" fmla="*/ 4799 w 9981"/>
              <a:gd name="connsiteY101" fmla="*/ 1245 h 10000"/>
              <a:gd name="connsiteX102" fmla="*/ 4589 w 9981"/>
              <a:gd name="connsiteY102" fmla="*/ 1130 h 10000"/>
              <a:gd name="connsiteX103" fmla="*/ 4371 w 9981"/>
              <a:gd name="connsiteY103" fmla="*/ 1023 h 10000"/>
              <a:gd name="connsiteX104" fmla="*/ 4147 w 9981"/>
              <a:gd name="connsiteY104" fmla="*/ 912 h 10000"/>
              <a:gd name="connsiteX105" fmla="*/ 3930 w 9981"/>
              <a:gd name="connsiteY105" fmla="*/ 811 h 10000"/>
              <a:gd name="connsiteX106" fmla="*/ 3707 w 9981"/>
              <a:gd name="connsiteY106" fmla="*/ 723 h 10000"/>
              <a:gd name="connsiteX107" fmla="*/ 3475 w 9981"/>
              <a:gd name="connsiteY107" fmla="*/ 627 h 10000"/>
              <a:gd name="connsiteX108" fmla="*/ 3244 w 9981"/>
              <a:gd name="connsiteY108" fmla="*/ 547 h 10000"/>
              <a:gd name="connsiteX109" fmla="*/ 3009 w 9981"/>
              <a:gd name="connsiteY109" fmla="*/ 464 h 10000"/>
              <a:gd name="connsiteX110" fmla="*/ 2779 w 9981"/>
              <a:gd name="connsiteY110" fmla="*/ 396 h 10000"/>
              <a:gd name="connsiteX111" fmla="*/ 2537 w 9981"/>
              <a:gd name="connsiteY111" fmla="*/ 330 h 10000"/>
              <a:gd name="connsiteX112" fmla="*/ 2292 w 9981"/>
              <a:gd name="connsiteY112" fmla="*/ 268 h 10000"/>
              <a:gd name="connsiteX113" fmla="*/ 2053 w 9981"/>
              <a:gd name="connsiteY113" fmla="*/ 214 h 10000"/>
              <a:gd name="connsiteX114" fmla="*/ 1812 w 9981"/>
              <a:gd name="connsiteY114" fmla="*/ 165 h 10000"/>
              <a:gd name="connsiteX115" fmla="*/ 1560 w 9981"/>
              <a:gd name="connsiteY115" fmla="*/ 118 h 10000"/>
              <a:gd name="connsiteX116" fmla="*/ 1310 w 9981"/>
              <a:gd name="connsiteY116" fmla="*/ 85 h 10000"/>
              <a:gd name="connsiteX117" fmla="*/ 1061 w 9981"/>
              <a:gd name="connsiteY117" fmla="*/ 58 h 10000"/>
              <a:gd name="connsiteX118" fmla="*/ 810 w 9981"/>
              <a:gd name="connsiteY118" fmla="*/ 41 h 10000"/>
              <a:gd name="connsiteX119" fmla="*/ 552 w 9981"/>
              <a:gd name="connsiteY119" fmla="*/ 15 h 10000"/>
              <a:gd name="connsiteX120" fmla="*/ 296 w 9981"/>
              <a:gd name="connsiteY120" fmla="*/ 8 h 10000"/>
              <a:gd name="connsiteX121" fmla="*/ 39 w 9981"/>
              <a:gd name="connsiteY121" fmla="*/ 3 h 10000"/>
              <a:gd name="connsiteX122" fmla="*/ 0 w 9981"/>
              <a:gd name="connsiteY122" fmla="*/ 0 h 10000"/>
              <a:gd name="connsiteX123" fmla="*/ 1214 w 9981"/>
              <a:gd name="connsiteY123" fmla="*/ 3102 h 10000"/>
              <a:gd name="connsiteX124" fmla="*/ 7 w 9981"/>
              <a:gd name="connsiteY124" fmla="*/ 6052 h 10000"/>
              <a:gd name="connsiteX0" fmla="*/ 7 w 9967"/>
              <a:gd name="connsiteY0" fmla="*/ 6052 h 10000"/>
              <a:gd name="connsiteX1" fmla="*/ 20 w 9967"/>
              <a:gd name="connsiteY1" fmla="*/ 6045 h 10000"/>
              <a:gd name="connsiteX2" fmla="*/ 124 w 9967"/>
              <a:gd name="connsiteY2" fmla="*/ 6045 h 10000"/>
              <a:gd name="connsiteX3" fmla="*/ 230 w 9967"/>
              <a:gd name="connsiteY3" fmla="*/ 6052 h 10000"/>
              <a:gd name="connsiteX4" fmla="*/ 337 w 9967"/>
              <a:gd name="connsiteY4" fmla="*/ 6058 h 10000"/>
              <a:gd name="connsiteX5" fmla="*/ 441 w 9967"/>
              <a:gd name="connsiteY5" fmla="*/ 6064 h 10000"/>
              <a:gd name="connsiteX6" fmla="*/ 547 w 9967"/>
              <a:gd name="connsiteY6" fmla="*/ 6085 h 10000"/>
              <a:gd name="connsiteX7" fmla="*/ 652 w 9967"/>
              <a:gd name="connsiteY7" fmla="*/ 6098 h 10000"/>
              <a:gd name="connsiteX8" fmla="*/ 752 w 9967"/>
              <a:gd name="connsiteY8" fmla="*/ 6112 h 10000"/>
              <a:gd name="connsiteX9" fmla="*/ 852 w 9967"/>
              <a:gd name="connsiteY9" fmla="*/ 6134 h 10000"/>
              <a:gd name="connsiteX10" fmla="*/ 958 w 9967"/>
              <a:gd name="connsiteY10" fmla="*/ 6152 h 10000"/>
              <a:gd name="connsiteX11" fmla="*/ 1056 w 9967"/>
              <a:gd name="connsiteY11" fmla="*/ 6178 h 10000"/>
              <a:gd name="connsiteX12" fmla="*/ 1154 w 9967"/>
              <a:gd name="connsiteY12" fmla="*/ 6209 h 10000"/>
              <a:gd name="connsiteX13" fmla="*/ 1253 w 9967"/>
              <a:gd name="connsiteY13" fmla="*/ 6236 h 10000"/>
              <a:gd name="connsiteX14" fmla="*/ 1347 w 9967"/>
              <a:gd name="connsiteY14" fmla="*/ 6270 h 10000"/>
              <a:gd name="connsiteX15" fmla="*/ 1445 w 9967"/>
              <a:gd name="connsiteY15" fmla="*/ 6302 h 10000"/>
              <a:gd name="connsiteX16" fmla="*/ 1537 w 9967"/>
              <a:gd name="connsiteY16" fmla="*/ 6341 h 10000"/>
              <a:gd name="connsiteX17" fmla="*/ 1629 w 9967"/>
              <a:gd name="connsiteY17" fmla="*/ 6381 h 10000"/>
              <a:gd name="connsiteX18" fmla="*/ 1721 w 9967"/>
              <a:gd name="connsiteY18" fmla="*/ 6425 h 10000"/>
              <a:gd name="connsiteX19" fmla="*/ 1815 w 9967"/>
              <a:gd name="connsiteY19" fmla="*/ 6465 h 10000"/>
              <a:gd name="connsiteX20" fmla="*/ 1907 w 9967"/>
              <a:gd name="connsiteY20" fmla="*/ 6512 h 10000"/>
              <a:gd name="connsiteX21" fmla="*/ 1999 w 9967"/>
              <a:gd name="connsiteY21" fmla="*/ 6557 h 10000"/>
              <a:gd name="connsiteX22" fmla="*/ 2084 w 9967"/>
              <a:gd name="connsiteY22" fmla="*/ 6615 h 10000"/>
              <a:gd name="connsiteX23" fmla="*/ 2171 w 9967"/>
              <a:gd name="connsiteY23" fmla="*/ 6661 h 10000"/>
              <a:gd name="connsiteX24" fmla="*/ 2257 w 9967"/>
              <a:gd name="connsiteY24" fmla="*/ 6714 h 10000"/>
              <a:gd name="connsiteX25" fmla="*/ 2335 w 9967"/>
              <a:gd name="connsiteY25" fmla="*/ 6770 h 10000"/>
              <a:gd name="connsiteX26" fmla="*/ 2421 w 9967"/>
              <a:gd name="connsiteY26" fmla="*/ 6831 h 10000"/>
              <a:gd name="connsiteX27" fmla="*/ 2499 w 9967"/>
              <a:gd name="connsiteY27" fmla="*/ 6891 h 10000"/>
              <a:gd name="connsiteX28" fmla="*/ 2581 w 9967"/>
              <a:gd name="connsiteY28" fmla="*/ 6951 h 10000"/>
              <a:gd name="connsiteX29" fmla="*/ 2659 w 9967"/>
              <a:gd name="connsiteY29" fmla="*/ 7012 h 10000"/>
              <a:gd name="connsiteX30" fmla="*/ 2738 w 9967"/>
              <a:gd name="connsiteY30" fmla="*/ 7081 h 10000"/>
              <a:gd name="connsiteX31" fmla="*/ 2811 w 9967"/>
              <a:gd name="connsiteY31" fmla="*/ 7151 h 10000"/>
              <a:gd name="connsiteX32" fmla="*/ 2882 w 9967"/>
              <a:gd name="connsiteY32" fmla="*/ 7218 h 10000"/>
              <a:gd name="connsiteX33" fmla="*/ 2956 w 9967"/>
              <a:gd name="connsiteY33" fmla="*/ 7292 h 10000"/>
              <a:gd name="connsiteX34" fmla="*/ 3022 w 9967"/>
              <a:gd name="connsiteY34" fmla="*/ 7364 h 10000"/>
              <a:gd name="connsiteX35" fmla="*/ 3094 w 9967"/>
              <a:gd name="connsiteY35" fmla="*/ 7441 h 10000"/>
              <a:gd name="connsiteX36" fmla="*/ 3159 w 9967"/>
              <a:gd name="connsiteY36" fmla="*/ 7514 h 10000"/>
              <a:gd name="connsiteX37" fmla="*/ 3218 w 9967"/>
              <a:gd name="connsiteY37" fmla="*/ 7597 h 10000"/>
              <a:gd name="connsiteX38" fmla="*/ 3285 w 9967"/>
              <a:gd name="connsiteY38" fmla="*/ 7671 h 10000"/>
              <a:gd name="connsiteX39" fmla="*/ 3344 w 9967"/>
              <a:gd name="connsiteY39" fmla="*/ 7752 h 10000"/>
              <a:gd name="connsiteX40" fmla="*/ 3403 w 9967"/>
              <a:gd name="connsiteY40" fmla="*/ 7833 h 10000"/>
              <a:gd name="connsiteX41" fmla="*/ 3463 w 9967"/>
              <a:gd name="connsiteY41" fmla="*/ 7917 h 10000"/>
              <a:gd name="connsiteX42" fmla="*/ 3515 w 9967"/>
              <a:gd name="connsiteY42" fmla="*/ 8003 h 10000"/>
              <a:gd name="connsiteX43" fmla="*/ 3568 w 9967"/>
              <a:gd name="connsiteY43" fmla="*/ 8090 h 10000"/>
              <a:gd name="connsiteX44" fmla="*/ 3621 w 9967"/>
              <a:gd name="connsiteY44" fmla="*/ 8181 h 10000"/>
              <a:gd name="connsiteX45" fmla="*/ 3675 w 9967"/>
              <a:gd name="connsiteY45" fmla="*/ 8267 h 10000"/>
              <a:gd name="connsiteX46" fmla="*/ 3714 w 9967"/>
              <a:gd name="connsiteY46" fmla="*/ 8363 h 10000"/>
              <a:gd name="connsiteX47" fmla="*/ 3767 w 9967"/>
              <a:gd name="connsiteY47" fmla="*/ 8459 h 10000"/>
              <a:gd name="connsiteX48" fmla="*/ 3806 w 9967"/>
              <a:gd name="connsiteY48" fmla="*/ 8544 h 10000"/>
              <a:gd name="connsiteX49" fmla="*/ 3846 w 9967"/>
              <a:gd name="connsiteY49" fmla="*/ 8642 h 10000"/>
              <a:gd name="connsiteX50" fmla="*/ 3885 w 9967"/>
              <a:gd name="connsiteY50" fmla="*/ 8737 h 10000"/>
              <a:gd name="connsiteX51" fmla="*/ 3918 w 9967"/>
              <a:gd name="connsiteY51" fmla="*/ 8832 h 10000"/>
              <a:gd name="connsiteX52" fmla="*/ 3951 w 9967"/>
              <a:gd name="connsiteY52" fmla="*/ 8932 h 10000"/>
              <a:gd name="connsiteX53" fmla="*/ 3984 w 9967"/>
              <a:gd name="connsiteY53" fmla="*/ 9034 h 10000"/>
              <a:gd name="connsiteX54" fmla="*/ 4017 w 9967"/>
              <a:gd name="connsiteY54" fmla="*/ 9131 h 10000"/>
              <a:gd name="connsiteX55" fmla="*/ 4043 w 9967"/>
              <a:gd name="connsiteY55" fmla="*/ 9231 h 10000"/>
              <a:gd name="connsiteX56" fmla="*/ 4063 w 9967"/>
              <a:gd name="connsiteY56" fmla="*/ 9332 h 10000"/>
              <a:gd name="connsiteX57" fmla="*/ 4090 w 9967"/>
              <a:gd name="connsiteY57" fmla="*/ 9442 h 10000"/>
              <a:gd name="connsiteX58" fmla="*/ 4109 w 9967"/>
              <a:gd name="connsiteY58" fmla="*/ 9543 h 10000"/>
              <a:gd name="connsiteX59" fmla="*/ 4129 w 9967"/>
              <a:gd name="connsiteY59" fmla="*/ 9646 h 10000"/>
              <a:gd name="connsiteX60" fmla="*/ 7250 w 9967"/>
              <a:gd name="connsiteY60" fmla="*/ 10000 h 10000"/>
              <a:gd name="connsiteX61" fmla="*/ 9967 w 9967"/>
              <a:gd name="connsiteY61" fmla="*/ 8979 h 10000"/>
              <a:gd name="connsiteX62" fmla="*/ 9934 w 9967"/>
              <a:gd name="connsiteY62" fmla="*/ 8731 h 10000"/>
              <a:gd name="connsiteX63" fmla="*/ 9895 w 9967"/>
              <a:gd name="connsiteY63" fmla="*/ 8471 h 10000"/>
              <a:gd name="connsiteX64" fmla="*/ 9848 w 9967"/>
              <a:gd name="connsiteY64" fmla="*/ 8220 h 10000"/>
              <a:gd name="connsiteX65" fmla="*/ 9796 w 9967"/>
              <a:gd name="connsiteY65" fmla="*/ 7970 h 10000"/>
              <a:gd name="connsiteX66" fmla="*/ 9735 w 9967"/>
              <a:gd name="connsiteY66" fmla="*/ 7726 h 10000"/>
              <a:gd name="connsiteX67" fmla="*/ 9670 w 9967"/>
              <a:gd name="connsiteY67" fmla="*/ 7474 h 10000"/>
              <a:gd name="connsiteX68" fmla="*/ 9605 w 9967"/>
              <a:gd name="connsiteY68" fmla="*/ 7231 h 10000"/>
              <a:gd name="connsiteX69" fmla="*/ 9525 w 9967"/>
              <a:gd name="connsiteY69" fmla="*/ 6992 h 10000"/>
              <a:gd name="connsiteX70" fmla="*/ 9446 w 9967"/>
              <a:gd name="connsiteY70" fmla="*/ 6755 h 10000"/>
              <a:gd name="connsiteX71" fmla="*/ 9354 w 9967"/>
              <a:gd name="connsiteY71" fmla="*/ 6518 h 10000"/>
              <a:gd name="connsiteX72" fmla="*/ 9261 w 9967"/>
              <a:gd name="connsiteY72" fmla="*/ 6290 h 10000"/>
              <a:gd name="connsiteX73" fmla="*/ 9167 w 9967"/>
              <a:gd name="connsiteY73" fmla="*/ 6058 h 10000"/>
              <a:gd name="connsiteX74" fmla="*/ 9062 w 9967"/>
              <a:gd name="connsiteY74" fmla="*/ 5834 h 10000"/>
              <a:gd name="connsiteX75" fmla="*/ 8957 w 9967"/>
              <a:gd name="connsiteY75" fmla="*/ 5610 h 10000"/>
              <a:gd name="connsiteX76" fmla="*/ 8846 w 9967"/>
              <a:gd name="connsiteY76" fmla="*/ 5387 h 10000"/>
              <a:gd name="connsiteX77" fmla="*/ 8727 w 9967"/>
              <a:gd name="connsiteY77" fmla="*/ 5170 h 10000"/>
              <a:gd name="connsiteX78" fmla="*/ 8601 w 9967"/>
              <a:gd name="connsiteY78" fmla="*/ 4960 h 10000"/>
              <a:gd name="connsiteX79" fmla="*/ 8476 w 9967"/>
              <a:gd name="connsiteY79" fmla="*/ 4749 h 10000"/>
              <a:gd name="connsiteX80" fmla="*/ 8344 w 9967"/>
              <a:gd name="connsiteY80" fmla="*/ 4538 h 10000"/>
              <a:gd name="connsiteX81" fmla="*/ 8205 w 9967"/>
              <a:gd name="connsiteY81" fmla="*/ 4337 h 10000"/>
              <a:gd name="connsiteX82" fmla="*/ 8060 w 9967"/>
              <a:gd name="connsiteY82" fmla="*/ 4138 h 10000"/>
              <a:gd name="connsiteX83" fmla="*/ 7915 w 9967"/>
              <a:gd name="connsiteY83" fmla="*/ 3942 h 10000"/>
              <a:gd name="connsiteX84" fmla="*/ 7763 w 9967"/>
              <a:gd name="connsiteY84" fmla="*/ 3743 h 10000"/>
              <a:gd name="connsiteX85" fmla="*/ 7612 w 9967"/>
              <a:gd name="connsiteY85" fmla="*/ 3563 h 10000"/>
              <a:gd name="connsiteX86" fmla="*/ 7445 w 9967"/>
              <a:gd name="connsiteY86" fmla="*/ 3380 h 10000"/>
              <a:gd name="connsiteX87" fmla="*/ 7288 w 9967"/>
              <a:gd name="connsiteY87" fmla="*/ 3196 h 10000"/>
              <a:gd name="connsiteX88" fmla="*/ 7117 w 9967"/>
              <a:gd name="connsiteY88" fmla="*/ 3014 h 10000"/>
              <a:gd name="connsiteX89" fmla="*/ 6946 w 9967"/>
              <a:gd name="connsiteY89" fmla="*/ 2844 h 10000"/>
              <a:gd name="connsiteX90" fmla="*/ 6776 w 9967"/>
              <a:gd name="connsiteY90" fmla="*/ 2675 h 10000"/>
              <a:gd name="connsiteX91" fmla="*/ 6591 w 9967"/>
              <a:gd name="connsiteY91" fmla="*/ 2514 h 10000"/>
              <a:gd name="connsiteX92" fmla="*/ 6405 w 9967"/>
              <a:gd name="connsiteY92" fmla="*/ 2357 h 10000"/>
              <a:gd name="connsiteX93" fmla="*/ 6220 w 9967"/>
              <a:gd name="connsiteY93" fmla="*/ 2203 h 10000"/>
              <a:gd name="connsiteX94" fmla="*/ 6029 w 9967"/>
              <a:gd name="connsiteY94" fmla="*/ 2049 h 10000"/>
              <a:gd name="connsiteX95" fmla="*/ 5831 w 9967"/>
              <a:gd name="connsiteY95" fmla="*/ 1903 h 10000"/>
              <a:gd name="connsiteX96" fmla="*/ 5634 w 9967"/>
              <a:gd name="connsiteY96" fmla="*/ 1759 h 10000"/>
              <a:gd name="connsiteX97" fmla="*/ 5435 w 9967"/>
              <a:gd name="connsiteY97" fmla="*/ 1626 h 10000"/>
              <a:gd name="connsiteX98" fmla="*/ 5231 w 9967"/>
              <a:gd name="connsiteY98" fmla="*/ 1495 h 10000"/>
              <a:gd name="connsiteX99" fmla="*/ 5028 w 9967"/>
              <a:gd name="connsiteY99" fmla="*/ 1366 h 10000"/>
              <a:gd name="connsiteX100" fmla="*/ 4808 w 9967"/>
              <a:gd name="connsiteY100" fmla="*/ 1245 h 10000"/>
              <a:gd name="connsiteX101" fmla="*/ 4598 w 9967"/>
              <a:gd name="connsiteY101" fmla="*/ 1130 h 10000"/>
              <a:gd name="connsiteX102" fmla="*/ 4379 w 9967"/>
              <a:gd name="connsiteY102" fmla="*/ 1023 h 10000"/>
              <a:gd name="connsiteX103" fmla="*/ 4155 w 9967"/>
              <a:gd name="connsiteY103" fmla="*/ 912 h 10000"/>
              <a:gd name="connsiteX104" fmla="*/ 3937 w 9967"/>
              <a:gd name="connsiteY104" fmla="*/ 811 h 10000"/>
              <a:gd name="connsiteX105" fmla="*/ 3714 w 9967"/>
              <a:gd name="connsiteY105" fmla="*/ 723 h 10000"/>
              <a:gd name="connsiteX106" fmla="*/ 3482 w 9967"/>
              <a:gd name="connsiteY106" fmla="*/ 627 h 10000"/>
              <a:gd name="connsiteX107" fmla="*/ 3250 w 9967"/>
              <a:gd name="connsiteY107" fmla="*/ 547 h 10000"/>
              <a:gd name="connsiteX108" fmla="*/ 3015 w 9967"/>
              <a:gd name="connsiteY108" fmla="*/ 464 h 10000"/>
              <a:gd name="connsiteX109" fmla="*/ 2784 w 9967"/>
              <a:gd name="connsiteY109" fmla="*/ 396 h 10000"/>
              <a:gd name="connsiteX110" fmla="*/ 2542 w 9967"/>
              <a:gd name="connsiteY110" fmla="*/ 330 h 10000"/>
              <a:gd name="connsiteX111" fmla="*/ 2296 w 9967"/>
              <a:gd name="connsiteY111" fmla="*/ 268 h 10000"/>
              <a:gd name="connsiteX112" fmla="*/ 2057 w 9967"/>
              <a:gd name="connsiteY112" fmla="*/ 214 h 10000"/>
              <a:gd name="connsiteX113" fmla="*/ 1815 w 9967"/>
              <a:gd name="connsiteY113" fmla="*/ 165 h 10000"/>
              <a:gd name="connsiteX114" fmla="*/ 1563 w 9967"/>
              <a:gd name="connsiteY114" fmla="*/ 118 h 10000"/>
              <a:gd name="connsiteX115" fmla="*/ 1312 w 9967"/>
              <a:gd name="connsiteY115" fmla="*/ 85 h 10000"/>
              <a:gd name="connsiteX116" fmla="*/ 1063 w 9967"/>
              <a:gd name="connsiteY116" fmla="*/ 58 h 10000"/>
              <a:gd name="connsiteX117" fmla="*/ 812 w 9967"/>
              <a:gd name="connsiteY117" fmla="*/ 41 h 10000"/>
              <a:gd name="connsiteX118" fmla="*/ 553 w 9967"/>
              <a:gd name="connsiteY118" fmla="*/ 15 h 10000"/>
              <a:gd name="connsiteX119" fmla="*/ 297 w 9967"/>
              <a:gd name="connsiteY119" fmla="*/ 8 h 10000"/>
              <a:gd name="connsiteX120" fmla="*/ 39 w 9967"/>
              <a:gd name="connsiteY120" fmla="*/ 3 h 10000"/>
              <a:gd name="connsiteX121" fmla="*/ 0 w 9967"/>
              <a:gd name="connsiteY121" fmla="*/ 0 h 10000"/>
              <a:gd name="connsiteX122" fmla="*/ 1216 w 9967"/>
              <a:gd name="connsiteY122" fmla="*/ 3102 h 10000"/>
              <a:gd name="connsiteX123" fmla="*/ 7 w 9967"/>
              <a:gd name="connsiteY123" fmla="*/ 6052 h 10000"/>
              <a:gd name="connsiteX0" fmla="*/ 7 w 9967"/>
              <a:gd name="connsiteY0" fmla="*/ 6052 h 10000"/>
              <a:gd name="connsiteX1" fmla="*/ 20 w 9967"/>
              <a:gd name="connsiteY1" fmla="*/ 6045 h 10000"/>
              <a:gd name="connsiteX2" fmla="*/ 124 w 9967"/>
              <a:gd name="connsiteY2" fmla="*/ 6045 h 10000"/>
              <a:gd name="connsiteX3" fmla="*/ 231 w 9967"/>
              <a:gd name="connsiteY3" fmla="*/ 6052 h 10000"/>
              <a:gd name="connsiteX4" fmla="*/ 338 w 9967"/>
              <a:gd name="connsiteY4" fmla="*/ 6058 h 10000"/>
              <a:gd name="connsiteX5" fmla="*/ 442 w 9967"/>
              <a:gd name="connsiteY5" fmla="*/ 6064 h 10000"/>
              <a:gd name="connsiteX6" fmla="*/ 549 w 9967"/>
              <a:gd name="connsiteY6" fmla="*/ 6085 h 10000"/>
              <a:gd name="connsiteX7" fmla="*/ 654 w 9967"/>
              <a:gd name="connsiteY7" fmla="*/ 6098 h 10000"/>
              <a:gd name="connsiteX8" fmla="*/ 754 w 9967"/>
              <a:gd name="connsiteY8" fmla="*/ 6112 h 10000"/>
              <a:gd name="connsiteX9" fmla="*/ 855 w 9967"/>
              <a:gd name="connsiteY9" fmla="*/ 6134 h 10000"/>
              <a:gd name="connsiteX10" fmla="*/ 961 w 9967"/>
              <a:gd name="connsiteY10" fmla="*/ 6152 h 10000"/>
              <a:gd name="connsiteX11" fmla="*/ 1059 w 9967"/>
              <a:gd name="connsiteY11" fmla="*/ 6178 h 10000"/>
              <a:gd name="connsiteX12" fmla="*/ 1158 w 9967"/>
              <a:gd name="connsiteY12" fmla="*/ 6209 h 10000"/>
              <a:gd name="connsiteX13" fmla="*/ 1257 w 9967"/>
              <a:gd name="connsiteY13" fmla="*/ 6236 h 10000"/>
              <a:gd name="connsiteX14" fmla="*/ 1351 w 9967"/>
              <a:gd name="connsiteY14" fmla="*/ 6270 h 10000"/>
              <a:gd name="connsiteX15" fmla="*/ 1450 w 9967"/>
              <a:gd name="connsiteY15" fmla="*/ 6302 h 10000"/>
              <a:gd name="connsiteX16" fmla="*/ 1542 w 9967"/>
              <a:gd name="connsiteY16" fmla="*/ 6341 h 10000"/>
              <a:gd name="connsiteX17" fmla="*/ 1634 w 9967"/>
              <a:gd name="connsiteY17" fmla="*/ 6381 h 10000"/>
              <a:gd name="connsiteX18" fmla="*/ 1727 w 9967"/>
              <a:gd name="connsiteY18" fmla="*/ 6425 h 10000"/>
              <a:gd name="connsiteX19" fmla="*/ 1821 w 9967"/>
              <a:gd name="connsiteY19" fmla="*/ 6465 h 10000"/>
              <a:gd name="connsiteX20" fmla="*/ 1913 w 9967"/>
              <a:gd name="connsiteY20" fmla="*/ 6512 h 10000"/>
              <a:gd name="connsiteX21" fmla="*/ 2006 w 9967"/>
              <a:gd name="connsiteY21" fmla="*/ 6557 h 10000"/>
              <a:gd name="connsiteX22" fmla="*/ 2091 w 9967"/>
              <a:gd name="connsiteY22" fmla="*/ 6615 h 10000"/>
              <a:gd name="connsiteX23" fmla="*/ 2178 w 9967"/>
              <a:gd name="connsiteY23" fmla="*/ 6661 h 10000"/>
              <a:gd name="connsiteX24" fmla="*/ 2264 w 9967"/>
              <a:gd name="connsiteY24" fmla="*/ 6714 h 10000"/>
              <a:gd name="connsiteX25" fmla="*/ 2343 w 9967"/>
              <a:gd name="connsiteY25" fmla="*/ 6770 h 10000"/>
              <a:gd name="connsiteX26" fmla="*/ 2429 w 9967"/>
              <a:gd name="connsiteY26" fmla="*/ 6831 h 10000"/>
              <a:gd name="connsiteX27" fmla="*/ 2507 w 9967"/>
              <a:gd name="connsiteY27" fmla="*/ 6891 h 10000"/>
              <a:gd name="connsiteX28" fmla="*/ 2590 w 9967"/>
              <a:gd name="connsiteY28" fmla="*/ 6951 h 10000"/>
              <a:gd name="connsiteX29" fmla="*/ 2668 w 9967"/>
              <a:gd name="connsiteY29" fmla="*/ 7012 h 10000"/>
              <a:gd name="connsiteX30" fmla="*/ 2747 w 9967"/>
              <a:gd name="connsiteY30" fmla="*/ 7081 h 10000"/>
              <a:gd name="connsiteX31" fmla="*/ 2820 w 9967"/>
              <a:gd name="connsiteY31" fmla="*/ 7151 h 10000"/>
              <a:gd name="connsiteX32" fmla="*/ 2892 w 9967"/>
              <a:gd name="connsiteY32" fmla="*/ 7218 h 10000"/>
              <a:gd name="connsiteX33" fmla="*/ 2966 w 9967"/>
              <a:gd name="connsiteY33" fmla="*/ 7292 h 10000"/>
              <a:gd name="connsiteX34" fmla="*/ 3032 w 9967"/>
              <a:gd name="connsiteY34" fmla="*/ 7364 h 10000"/>
              <a:gd name="connsiteX35" fmla="*/ 3104 w 9967"/>
              <a:gd name="connsiteY35" fmla="*/ 7441 h 10000"/>
              <a:gd name="connsiteX36" fmla="*/ 3169 w 9967"/>
              <a:gd name="connsiteY36" fmla="*/ 7514 h 10000"/>
              <a:gd name="connsiteX37" fmla="*/ 3229 w 9967"/>
              <a:gd name="connsiteY37" fmla="*/ 7597 h 10000"/>
              <a:gd name="connsiteX38" fmla="*/ 3296 w 9967"/>
              <a:gd name="connsiteY38" fmla="*/ 7671 h 10000"/>
              <a:gd name="connsiteX39" fmla="*/ 3355 w 9967"/>
              <a:gd name="connsiteY39" fmla="*/ 7752 h 10000"/>
              <a:gd name="connsiteX40" fmla="*/ 3414 w 9967"/>
              <a:gd name="connsiteY40" fmla="*/ 7833 h 10000"/>
              <a:gd name="connsiteX41" fmla="*/ 3474 w 9967"/>
              <a:gd name="connsiteY41" fmla="*/ 7917 h 10000"/>
              <a:gd name="connsiteX42" fmla="*/ 3527 w 9967"/>
              <a:gd name="connsiteY42" fmla="*/ 8003 h 10000"/>
              <a:gd name="connsiteX43" fmla="*/ 3580 w 9967"/>
              <a:gd name="connsiteY43" fmla="*/ 8090 h 10000"/>
              <a:gd name="connsiteX44" fmla="*/ 3633 w 9967"/>
              <a:gd name="connsiteY44" fmla="*/ 8181 h 10000"/>
              <a:gd name="connsiteX45" fmla="*/ 3687 w 9967"/>
              <a:gd name="connsiteY45" fmla="*/ 8267 h 10000"/>
              <a:gd name="connsiteX46" fmla="*/ 3726 w 9967"/>
              <a:gd name="connsiteY46" fmla="*/ 8363 h 10000"/>
              <a:gd name="connsiteX47" fmla="*/ 3779 w 9967"/>
              <a:gd name="connsiteY47" fmla="*/ 8459 h 10000"/>
              <a:gd name="connsiteX48" fmla="*/ 3819 w 9967"/>
              <a:gd name="connsiteY48" fmla="*/ 8544 h 10000"/>
              <a:gd name="connsiteX49" fmla="*/ 3859 w 9967"/>
              <a:gd name="connsiteY49" fmla="*/ 8642 h 10000"/>
              <a:gd name="connsiteX50" fmla="*/ 3898 w 9967"/>
              <a:gd name="connsiteY50" fmla="*/ 8737 h 10000"/>
              <a:gd name="connsiteX51" fmla="*/ 3931 w 9967"/>
              <a:gd name="connsiteY51" fmla="*/ 8832 h 10000"/>
              <a:gd name="connsiteX52" fmla="*/ 3964 w 9967"/>
              <a:gd name="connsiteY52" fmla="*/ 8932 h 10000"/>
              <a:gd name="connsiteX53" fmla="*/ 3997 w 9967"/>
              <a:gd name="connsiteY53" fmla="*/ 9034 h 10000"/>
              <a:gd name="connsiteX54" fmla="*/ 4030 w 9967"/>
              <a:gd name="connsiteY54" fmla="*/ 9131 h 10000"/>
              <a:gd name="connsiteX55" fmla="*/ 4056 w 9967"/>
              <a:gd name="connsiteY55" fmla="*/ 9231 h 10000"/>
              <a:gd name="connsiteX56" fmla="*/ 4076 w 9967"/>
              <a:gd name="connsiteY56" fmla="*/ 9332 h 10000"/>
              <a:gd name="connsiteX57" fmla="*/ 4104 w 9967"/>
              <a:gd name="connsiteY57" fmla="*/ 9442 h 10000"/>
              <a:gd name="connsiteX58" fmla="*/ 4123 w 9967"/>
              <a:gd name="connsiteY58" fmla="*/ 9543 h 10000"/>
              <a:gd name="connsiteX59" fmla="*/ 4143 w 9967"/>
              <a:gd name="connsiteY59" fmla="*/ 9646 h 10000"/>
              <a:gd name="connsiteX60" fmla="*/ 7274 w 9967"/>
              <a:gd name="connsiteY60" fmla="*/ 10000 h 10000"/>
              <a:gd name="connsiteX61" fmla="*/ 9967 w 9967"/>
              <a:gd name="connsiteY61" fmla="*/ 8731 h 10000"/>
              <a:gd name="connsiteX62" fmla="*/ 9928 w 9967"/>
              <a:gd name="connsiteY62" fmla="*/ 8471 h 10000"/>
              <a:gd name="connsiteX63" fmla="*/ 9881 w 9967"/>
              <a:gd name="connsiteY63" fmla="*/ 8220 h 10000"/>
              <a:gd name="connsiteX64" fmla="*/ 9828 w 9967"/>
              <a:gd name="connsiteY64" fmla="*/ 7970 h 10000"/>
              <a:gd name="connsiteX65" fmla="*/ 9767 w 9967"/>
              <a:gd name="connsiteY65" fmla="*/ 7726 h 10000"/>
              <a:gd name="connsiteX66" fmla="*/ 9702 w 9967"/>
              <a:gd name="connsiteY66" fmla="*/ 7474 h 10000"/>
              <a:gd name="connsiteX67" fmla="*/ 9637 w 9967"/>
              <a:gd name="connsiteY67" fmla="*/ 7231 h 10000"/>
              <a:gd name="connsiteX68" fmla="*/ 9557 w 9967"/>
              <a:gd name="connsiteY68" fmla="*/ 6992 h 10000"/>
              <a:gd name="connsiteX69" fmla="*/ 9477 w 9967"/>
              <a:gd name="connsiteY69" fmla="*/ 6755 h 10000"/>
              <a:gd name="connsiteX70" fmla="*/ 9385 w 9967"/>
              <a:gd name="connsiteY70" fmla="*/ 6518 h 10000"/>
              <a:gd name="connsiteX71" fmla="*/ 9292 w 9967"/>
              <a:gd name="connsiteY71" fmla="*/ 6290 h 10000"/>
              <a:gd name="connsiteX72" fmla="*/ 9197 w 9967"/>
              <a:gd name="connsiteY72" fmla="*/ 6058 h 10000"/>
              <a:gd name="connsiteX73" fmla="*/ 9092 w 9967"/>
              <a:gd name="connsiteY73" fmla="*/ 5834 h 10000"/>
              <a:gd name="connsiteX74" fmla="*/ 8987 w 9967"/>
              <a:gd name="connsiteY74" fmla="*/ 5610 h 10000"/>
              <a:gd name="connsiteX75" fmla="*/ 8875 w 9967"/>
              <a:gd name="connsiteY75" fmla="*/ 5387 h 10000"/>
              <a:gd name="connsiteX76" fmla="*/ 8756 w 9967"/>
              <a:gd name="connsiteY76" fmla="*/ 5170 h 10000"/>
              <a:gd name="connsiteX77" fmla="*/ 8629 w 9967"/>
              <a:gd name="connsiteY77" fmla="*/ 4960 h 10000"/>
              <a:gd name="connsiteX78" fmla="*/ 8504 w 9967"/>
              <a:gd name="connsiteY78" fmla="*/ 4749 h 10000"/>
              <a:gd name="connsiteX79" fmla="*/ 8372 w 9967"/>
              <a:gd name="connsiteY79" fmla="*/ 4538 h 10000"/>
              <a:gd name="connsiteX80" fmla="*/ 8232 w 9967"/>
              <a:gd name="connsiteY80" fmla="*/ 4337 h 10000"/>
              <a:gd name="connsiteX81" fmla="*/ 8087 w 9967"/>
              <a:gd name="connsiteY81" fmla="*/ 4138 h 10000"/>
              <a:gd name="connsiteX82" fmla="*/ 7941 w 9967"/>
              <a:gd name="connsiteY82" fmla="*/ 3942 h 10000"/>
              <a:gd name="connsiteX83" fmla="*/ 7789 w 9967"/>
              <a:gd name="connsiteY83" fmla="*/ 3743 h 10000"/>
              <a:gd name="connsiteX84" fmla="*/ 7637 w 9967"/>
              <a:gd name="connsiteY84" fmla="*/ 3563 h 10000"/>
              <a:gd name="connsiteX85" fmla="*/ 7470 w 9967"/>
              <a:gd name="connsiteY85" fmla="*/ 3380 h 10000"/>
              <a:gd name="connsiteX86" fmla="*/ 7312 w 9967"/>
              <a:gd name="connsiteY86" fmla="*/ 3196 h 10000"/>
              <a:gd name="connsiteX87" fmla="*/ 7141 w 9967"/>
              <a:gd name="connsiteY87" fmla="*/ 3014 h 10000"/>
              <a:gd name="connsiteX88" fmla="*/ 6969 w 9967"/>
              <a:gd name="connsiteY88" fmla="*/ 2844 h 10000"/>
              <a:gd name="connsiteX89" fmla="*/ 6798 w 9967"/>
              <a:gd name="connsiteY89" fmla="*/ 2675 h 10000"/>
              <a:gd name="connsiteX90" fmla="*/ 6613 w 9967"/>
              <a:gd name="connsiteY90" fmla="*/ 2514 h 10000"/>
              <a:gd name="connsiteX91" fmla="*/ 6426 w 9967"/>
              <a:gd name="connsiteY91" fmla="*/ 2357 h 10000"/>
              <a:gd name="connsiteX92" fmla="*/ 6241 w 9967"/>
              <a:gd name="connsiteY92" fmla="*/ 2203 h 10000"/>
              <a:gd name="connsiteX93" fmla="*/ 6049 w 9967"/>
              <a:gd name="connsiteY93" fmla="*/ 2049 h 10000"/>
              <a:gd name="connsiteX94" fmla="*/ 5850 w 9967"/>
              <a:gd name="connsiteY94" fmla="*/ 1903 h 10000"/>
              <a:gd name="connsiteX95" fmla="*/ 5653 w 9967"/>
              <a:gd name="connsiteY95" fmla="*/ 1759 h 10000"/>
              <a:gd name="connsiteX96" fmla="*/ 5453 w 9967"/>
              <a:gd name="connsiteY96" fmla="*/ 1626 h 10000"/>
              <a:gd name="connsiteX97" fmla="*/ 5248 w 9967"/>
              <a:gd name="connsiteY97" fmla="*/ 1495 h 10000"/>
              <a:gd name="connsiteX98" fmla="*/ 5045 w 9967"/>
              <a:gd name="connsiteY98" fmla="*/ 1366 h 10000"/>
              <a:gd name="connsiteX99" fmla="*/ 4824 w 9967"/>
              <a:gd name="connsiteY99" fmla="*/ 1245 h 10000"/>
              <a:gd name="connsiteX100" fmla="*/ 4613 w 9967"/>
              <a:gd name="connsiteY100" fmla="*/ 1130 h 10000"/>
              <a:gd name="connsiteX101" fmla="*/ 4393 w 9967"/>
              <a:gd name="connsiteY101" fmla="*/ 1023 h 10000"/>
              <a:gd name="connsiteX102" fmla="*/ 4169 w 9967"/>
              <a:gd name="connsiteY102" fmla="*/ 912 h 10000"/>
              <a:gd name="connsiteX103" fmla="*/ 3950 w 9967"/>
              <a:gd name="connsiteY103" fmla="*/ 811 h 10000"/>
              <a:gd name="connsiteX104" fmla="*/ 3726 w 9967"/>
              <a:gd name="connsiteY104" fmla="*/ 723 h 10000"/>
              <a:gd name="connsiteX105" fmla="*/ 3494 w 9967"/>
              <a:gd name="connsiteY105" fmla="*/ 627 h 10000"/>
              <a:gd name="connsiteX106" fmla="*/ 3261 w 9967"/>
              <a:gd name="connsiteY106" fmla="*/ 547 h 10000"/>
              <a:gd name="connsiteX107" fmla="*/ 3025 w 9967"/>
              <a:gd name="connsiteY107" fmla="*/ 464 h 10000"/>
              <a:gd name="connsiteX108" fmla="*/ 2793 w 9967"/>
              <a:gd name="connsiteY108" fmla="*/ 396 h 10000"/>
              <a:gd name="connsiteX109" fmla="*/ 2550 w 9967"/>
              <a:gd name="connsiteY109" fmla="*/ 330 h 10000"/>
              <a:gd name="connsiteX110" fmla="*/ 2304 w 9967"/>
              <a:gd name="connsiteY110" fmla="*/ 268 h 10000"/>
              <a:gd name="connsiteX111" fmla="*/ 2064 w 9967"/>
              <a:gd name="connsiteY111" fmla="*/ 214 h 10000"/>
              <a:gd name="connsiteX112" fmla="*/ 1821 w 9967"/>
              <a:gd name="connsiteY112" fmla="*/ 165 h 10000"/>
              <a:gd name="connsiteX113" fmla="*/ 1568 w 9967"/>
              <a:gd name="connsiteY113" fmla="*/ 118 h 10000"/>
              <a:gd name="connsiteX114" fmla="*/ 1316 w 9967"/>
              <a:gd name="connsiteY114" fmla="*/ 85 h 10000"/>
              <a:gd name="connsiteX115" fmla="*/ 1067 w 9967"/>
              <a:gd name="connsiteY115" fmla="*/ 58 h 10000"/>
              <a:gd name="connsiteX116" fmla="*/ 815 w 9967"/>
              <a:gd name="connsiteY116" fmla="*/ 41 h 10000"/>
              <a:gd name="connsiteX117" fmla="*/ 555 w 9967"/>
              <a:gd name="connsiteY117" fmla="*/ 15 h 10000"/>
              <a:gd name="connsiteX118" fmla="*/ 298 w 9967"/>
              <a:gd name="connsiteY118" fmla="*/ 8 h 10000"/>
              <a:gd name="connsiteX119" fmla="*/ 39 w 9967"/>
              <a:gd name="connsiteY119" fmla="*/ 3 h 10000"/>
              <a:gd name="connsiteX120" fmla="*/ 0 w 9967"/>
              <a:gd name="connsiteY120" fmla="*/ 0 h 10000"/>
              <a:gd name="connsiteX121" fmla="*/ 1220 w 9967"/>
              <a:gd name="connsiteY121" fmla="*/ 3102 h 10000"/>
              <a:gd name="connsiteX122" fmla="*/ 7 w 9967"/>
              <a:gd name="connsiteY122" fmla="*/ 6052 h 10000"/>
              <a:gd name="connsiteX0" fmla="*/ 7 w 9961"/>
              <a:gd name="connsiteY0" fmla="*/ 6052 h 10000"/>
              <a:gd name="connsiteX1" fmla="*/ 20 w 9961"/>
              <a:gd name="connsiteY1" fmla="*/ 6045 h 10000"/>
              <a:gd name="connsiteX2" fmla="*/ 124 w 9961"/>
              <a:gd name="connsiteY2" fmla="*/ 6045 h 10000"/>
              <a:gd name="connsiteX3" fmla="*/ 232 w 9961"/>
              <a:gd name="connsiteY3" fmla="*/ 6052 h 10000"/>
              <a:gd name="connsiteX4" fmla="*/ 339 w 9961"/>
              <a:gd name="connsiteY4" fmla="*/ 6058 h 10000"/>
              <a:gd name="connsiteX5" fmla="*/ 443 w 9961"/>
              <a:gd name="connsiteY5" fmla="*/ 6064 h 10000"/>
              <a:gd name="connsiteX6" fmla="*/ 551 w 9961"/>
              <a:gd name="connsiteY6" fmla="*/ 6085 h 10000"/>
              <a:gd name="connsiteX7" fmla="*/ 656 w 9961"/>
              <a:gd name="connsiteY7" fmla="*/ 6098 h 10000"/>
              <a:gd name="connsiteX8" fmla="*/ 756 w 9961"/>
              <a:gd name="connsiteY8" fmla="*/ 6112 h 10000"/>
              <a:gd name="connsiteX9" fmla="*/ 858 w 9961"/>
              <a:gd name="connsiteY9" fmla="*/ 6134 h 10000"/>
              <a:gd name="connsiteX10" fmla="*/ 964 w 9961"/>
              <a:gd name="connsiteY10" fmla="*/ 6152 h 10000"/>
              <a:gd name="connsiteX11" fmla="*/ 1063 w 9961"/>
              <a:gd name="connsiteY11" fmla="*/ 6178 h 10000"/>
              <a:gd name="connsiteX12" fmla="*/ 1162 w 9961"/>
              <a:gd name="connsiteY12" fmla="*/ 6209 h 10000"/>
              <a:gd name="connsiteX13" fmla="*/ 1261 w 9961"/>
              <a:gd name="connsiteY13" fmla="*/ 6236 h 10000"/>
              <a:gd name="connsiteX14" fmla="*/ 1355 w 9961"/>
              <a:gd name="connsiteY14" fmla="*/ 6270 h 10000"/>
              <a:gd name="connsiteX15" fmla="*/ 1455 w 9961"/>
              <a:gd name="connsiteY15" fmla="*/ 6302 h 10000"/>
              <a:gd name="connsiteX16" fmla="*/ 1547 w 9961"/>
              <a:gd name="connsiteY16" fmla="*/ 6341 h 10000"/>
              <a:gd name="connsiteX17" fmla="*/ 1639 w 9961"/>
              <a:gd name="connsiteY17" fmla="*/ 6381 h 10000"/>
              <a:gd name="connsiteX18" fmla="*/ 1733 w 9961"/>
              <a:gd name="connsiteY18" fmla="*/ 6425 h 10000"/>
              <a:gd name="connsiteX19" fmla="*/ 1827 w 9961"/>
              <a:gd name="connsiteY19" fmla="*/ 6465 h 10000"/>
              <a:gd name="connsiteX20" fmla="*/ 1919 w 9961"/>
              <a:gd name="connsiteY20" fmla="*/ 6512 h 10000"/>
              <a:gd name="connsiteX21" fmla="*/ 2013 w 9961"/>
              <a:gd name="connsiteY21" fmla="*/ 6557 h 10000"/>
              <a:gd name="connsiteX22" fmla="*/ 2098 w 9961"/>
              <a:gd name="connsiteY22" fmla="*/ 6615 h 10000"/>
              <a:gd name="connsiteX23" fmla="*/ 2185 w 9961"/>
              <a:gd name="connsiteY23" fmla="*/ 6661 h 10000"/>
              <a:gd name="connsiteX24" fmla="*/ 2271 w 9961"/>
              <a:gd name="connsiteY24" fmla="*/ 6714 h 10000"/>
              <a:gd name="connsiteX25" fmla="*/ 2351 w 9961"/>
              <a:gd name="connsiteY25" fmla="*/ 6770 h 10000"/>
              <a:gd name="connsiteX26" fmla="*/ 2437 w 9961"/>
              <a:gd name="connsiteY26" fmla="*/ 6831 h 10000"/>
              <a:gd name="connsiteX27" fmla="*/ 2515 w 9961"/>
              <a:gd name="connsiteY27" fmla="*/ 6891 h 10000"/>
              <a:gd name="connsiteX28" fmla="*/ 2599 w 9961"/>
              <a:gd name="connsiteY28" fmla="*/ 6951 h 10000"/>
              <a:gd name="connsiteX29" fmla="*/ 2677 w 9961"/>
              <a:gd name="connsiteY29" fmla="*/ 7012 h 10000"/>
              <a:gd name="connsiteX30" fmla="*/ 2756 w 9961"/>
              <a:gd name="connsiteY30" fmla="*/ 7081 h 10000"/>
              <a:gd name="connsiteX31" fmla="*/ 2829 w 9961"/>
              <a:gd name="connsiteY31" fmla="*/ 7151 h 10000"/>
              <a:gd name="connsiteX32" fmla="*/ 2902 w 9961"/>
              <a:gd name="connsiteY32" fmla="*/ 7218 h 10000"/>
              <a:gd name="connsiteX33" fmla="*/ 2976 w 9961"/>
              <a:gd name="connsiteY33" fmla="*/ 7292 h 10000"/>
              <a:gd name="connsiteX34" fmla="*/ 3042 w 9961"/>
              <a:gd name="connsiteY34" fmla="*/ 7364 h 10000"/>
              <a:gd name="connsiteX35" fmla="*/ 3114 w 9961"/>
              <a:gd name="connsiteY35" fmla="*/ 7441 h 10000"/>
              <a:gd name="connsiteX36" fmla="*/ 3179 w 9961"/>
              <a:gd name="connsiteY36" fmla="*/ 7514 h 10000"/>
              <a:gd name="connsiteX37" fmla="*/ 3240 w 9961"/>
              <a:gd name="connsiteY37" fmla="*/ 7597 h 10000"/>
              <a:gd name="connsiteX38" fmla="*/ 3307 w 9961"/>
              <a:gd name="connsiteY38" fmla="*/ 7671 h 10000"/>
              <a:gd name="connsiteX39" fmla="*/ 3366 w 9961"/>
              <a:gd name="connsiteY39" fmla="*/ 7752 h 10000"/>
              <a:gd name="connsiteX40" fmla="*/ 3425 w 9961"/>
              <a:gd name="connsiteY40" fmla="*/ 7833 h 10000"/>
              <a:gd name="connsiteX41" fmla="*/ 3486 w 9961"/>
              <a:gd name="connsiteY41" fmla="*/ 7917 h 10000"/>
              <a:gd name="connsiteX42" fmla="*/ 3539 w 9961"/>
              <a:gd name="connsiteY42" fmla="*/ 8003 h 10000"/>
              <a:gd name="connsiteX43" fmla="*/ 3592 w 9961"/>
              <a:gd name="connsiteY43" fmla="*/ 8090 h 10000"/>
              <a:gd name="connsiteX44" fmla="*/ 3645 w 9961"/>
              <a:gd name="connsiteY44" fmla="*/ 8181 h 10000"/>
              <a:gd name="connsiteX45" fmla="*/ 3699 w 9961"/>
              <a:gd name="connsiteY45" fmla="*/ 8267 h 10000"/>
              <a:gd name="connsiteX46" fmla="*/ 3738 w 9961"/>
              <a:gd name="connsiteY46" fmla="*/ 8363 h 10000"/>
              <a:gd name="connsiteX47" fmla="*/ 3792 w 9961"/>
              <a:gd name="connsiteY47" fmla="*/ 8459 h 10000"/>
              <a:gd name="connsiteX48" fmla="*/ 3832 w 9961"/>
              <a:gd name="connsiteY48" fmla="*/ 8544 h 10000"/>
              <a:gd name="connsiteX49" fmla="*/ 3872 w 9961"/>
              <a:gd name="connsiteY49" fmla="*/ 8642 h 10000"/>
              <a:gd name="connsiteX50" fmla="*/ 3911 w 9961"/>
              <a:gd name="connsiteY50" fmla="*/ 8737 h 10000"/>
              <a:gd name="connsiteX51" fmla="*/ 3944 w 9961"/>
              <a:gd name="connsiteY51" fmla="*/ 8832 h 10000"/>
              <a:gd name="connsiteX52" fmla="*/ 3977 w 9961"/>
              <a:gd name="connsiteY52" fmla="*/ 8932 h 10000"/>
              <a:gd name="connsiteX53" fmla="*/ 4010 w 9961"/>
              <a:gd name="connsiteY53" fmla="*/ 9034 h 10000"/>
              <a:gd name="connsiteX54" fmla="*/ 4043 w 9961"/>
              <a:gd name="connsiteY54" fmla="*/ 9131 h 10000"/>
              <a:gd name="connsiteX55" fmla="*/ 4069 w 9961"/>
              <a:gd name="connsiteY55" fmla="*/ 9231 h 10000"/>
              <a:gd name="connsiteX56" fmla="*/ 4089 w 9961"/>
              <a:gd name="connsiteY56" fmla="*/ 9332 h 10000"/>
              <a:gd name="connsiteX57" fmla="*/ 4118 w 9961"/>
              <a:gd name="connsiteY57" fmla="*/ 9442 h 10000"/>
              <a:gd name="connsiteX58" fmla="*/ 4137 w 9961"/>
              <a:gd name="connsiteY58" fmla="*/ 9543 h 10000"/>
              <a:gd name="connsiteX59" fmla="*/ 4157 w 9961"/>
              <a:gd name="connsiteY59" fmla="*/ 9646 h 10000"/>
              <a:gd name="connsiteX60" fmla="*/ 7298 w 9961"/>
              <a:gd name="connsiteY60" fmla="*/ 10000 h 10000"/>
              <a:gd name="connsiteX61" fmla="*/ 9961 w 9961"/>
              <a:gd name="connsiteY61" fmla="*/ 8471 h 10000"/>
              <a:gd name="connsiteX62" fmla="*/ 9914 w 9961"/>
              <a:gd name="connsiteY62" fmla="*/ 8220 h 10000"/>
              <a:gd name="connsiteX63" fmla="*/ 9861 w 9961"/>
              <a:gd name="connsiteY63" fmla="*/ 7970 h 10000"/>
              <a:gd name="connsiteX64" fmla="*/ 9799 w 9961"/>
              <a:gd name="connsiteY64" fmla="*/ 7726 h 10000"/>
              <a:gd name="connsiteX65" fmla="*/ 9734 w 9961"/>
              <a:gd name="connsiteY65" fmla="*/ 7474 h 10000"/>
              <a:gd name="connsiteX66" fmla="*/ 9669 w 9961"/>
              <a:gd name="connsiteY66" fmla="*/ 7231 h 10000"/>
              <a:gd name="connsiteX67" fmla="*/ 9589 w 9961"/>
              <a:gd name="connsiteY67" fmla="*/ 6992 h 10000"/>
              <a:gd name="connsiteX68" fmla="*/ 9508 w 9961"/>
              <a:gd name="connsiteY68" fmla="*/ 6755 h 10000"/>
              <a:gd name="connsiteX69" fmla="*/ 9416 w 9961"/>
              <a:gd name="connsiteY69" fmla="*/ 6518 h 10000"/>
              <a:gd name="connsiteX70" fmla="*/ 9323 w 9961"/>
              <a:gd name="connsiteY70" fmla="*/ 6290 h 10000"/>
              <a:gd name="connsiteX71" fmla="*/ 9227 w 9961"/>
              <a:gd name="connsiteY71" fmla="*/ 6058 h 10000"/>
              <a:gd name="connsiteX72" fmla="*/ 9122 w 9961"/>
              <a:gd name="connsiteY72" fmla="*/ 5834 h 10000"/>
              <a:gd name="connsiteX73" fmla="*/ 9017 w 9961"/>
              <a:gd name="connsiteY73" fmla="*/ 5610 h 10000"/>
              <a:gd name="connsiteX74" fmla="*/ 8904 w 9961"/>
              <a:gd name="connsiteY74" fmla="*/ 5387 h 10000"/>
              <a:gd name="connsiteX75" fmla="*/ 8785 w 9961"/>
              <a:gd name="connsiteY75" fmla="*/ 5170 h 10000"/>
              <a:gd name="connsiteX76" fmla="*/ 8658 w 9961"/>
              <a:gd name="connsiteY76" fmla="*/ 4960 h 10000"/>
              <a:gd name="connsiteX77" fmla="*/ 8532 w 9961"/>
              <a:gd name="connsiteY77" fmla="*/ 4749 h 10000"/>
              <a:gd name="connsiteX78" fmla="*/ 8400 w 9961"/>
              <a:gd name="connsiteY78" fmla="*/ 4538 h 10000"/>
              <a:gd name="connsiteX79" fmla="*/ 8259 w 9961"/>
              <a:gd name="connsiteY79" fmla="*/ 4337 h 10000"/>
              <a:gd name="connsiteX80" fmla="*/ 8114 w 9961"/>
              <a:gd name="connsiteY80" fmla="*/ 4138 h 10000"/>
              <a:gd name="connsiteX81" fmla="*/ 7967 w 9961"/>
              <a:gd name="connsiteY81" fmla="*/ 3942 h 10000"/>
              <a:gd name="connsiteX82" fmla="*/ 7815 w 9961"/>
              <a:gd name="connsiteY82" fmla="*/ 3743 h 10000"/>
              <a:gd name="connsiteX83" fmla="*/ 7662 w 9961"/>
              <a:gd name="connsiteY83" fmla="*/ 3563 h 10000"/>
              <a:gd name="connsiteX84" fmla="*/ 7495 w 9961"/>
              <a:gd name="connsiteY84" fmla="*/ 3380 h 10000"/>
              <a:gd name="connsiteX85" fmla="*/ 7336 w 9961"/>
              <a:gd name="connsiteY85" fmla="*/ 3196 h 10000"/>
              <a:gd name="connsiteX86" fmla="*/ 7165 w 9961"/>
              <a:gd name="connsiteY86" fmla="*/ 3014 h 10000"/>
              <a:gd name="connsiteX87" fmla="*/ 6992 w 9961"/>
              <a:gd name="connsiteY87" fmla="*/ 2844 h 10000"/>
              <a:gd name="connsiteX88" fmla="*/ 6821 w 9961"/>
              <a:gd name="connsiteY88" fmla="*/ 2675 h 10000"/>
              <a:gd name="connsiteX89" fmla="*/ 6635 w 9961"/>
              <a:gd name="connsiteY89" fmla="*/ 2514 h 10000"/>
              <a:gd name="connsiteX90" fmla="*/ 6447 w 9961"/>
              <a:gd name="connsiteY90" fmla="*/ 2357 h 10000"/>
              <a:gd name="connsiteX91" fmla="*/ 6262 w 9961"/>
              <a:gd name="connsiteY91" fmla="*/ 2203 h 10000"/>
              <a:gd name="connsiteX92" fmla="*/ 6069 w 9961"/>
              <a:gd name="connsiteY92" fmla="*/ 2049 h 10000"/>
              <a:gd name="connsiteX93" fmla="*/ 5869 w 9961"/>
              <a:gd name="connsiteY93" fmla="*/ 1903 h 10000"/>
              <a:gd name="connsiteX94" fmla="*/ 5672 w 9961"/>
              <a:gd name="connsiteY94" fmla="*/ 1759 h 10000"/>
              <a:gd name="connsiteX95" fmla="*/ 5471 w 9961"/>
              <a:gd name="connsiteY95" fmla="*/ 1626 h 10000"/>
              <a:gd name="connsiteX96" fmla="*/ 5265 w 9961"/>
              <a:gd name="connsiteY96" fmla="*/ 1495 h 10000"/>
              <a:gd name="connsiteX97" fmla="*/ 5062 w 9961"/>
              <a:gd name="connsiteY97" fmla="*/ 1366 h 10000"/>
              <a:gd name="connsiteX98" fmla="*/ 4840 w 9961"/>
              <a:gd name="connsiteY98" fmla="*/ 1245 h 10000"/>
              <a:gd name="connsiteX99" fmla="*/ 4628 w 9961"/>
              <a:gd name="connsiteY99" fmla="*/ 1130 h 10000"/>
              <a:gd name="connsiteX100" fmla="*/ 4408 w 9961"/>
              <a:gd name="connsiteY100" fmla="*/ 1023 h 10000"/>
              <a:gd name="connsiteX101" fmla="*/ 4183 w 9961"/>
              <a:gd name="connsiteY101" fmla="*/ 912 h 10000"/>
              <a:gd name="connsiteX102" fmla="*/ 3963 w 9961"/>
              <a:gd name="connsiteY102" fmla="*/ 811 h 10000"/>
              <a:gd name="connsiteX103" fmla="*/ 3738 w 9961"/>
              <a:gd name="connsiteY103" fmla="*/ 723 h 10000"/>
              <a:gd name="connsiteX104" fmla="*/ 3506 w 9961"/>
              <a:gd name="connsiteY104" fmla="*/ 627 h 10000"/>
              <a:gd name="connsiteX105" fmla="*/ 3272 w 9961"/>
              <a:gd name="connsiteY105" fmla="*/ 547 h 10000"/>
              <a:gd name="connsiteX106" fmla="*/ 3035 w 9961"/>
              <a:gd name="connsiteY106" fmla="*/ 464 h 10000"/>
              <a:gd name="connsiteX107" fmla="*/ 2802 w 9961"/>
              <a:gd name="connsiteY107" fmla="*/ 396 h 10000"/>
              <a:gd name="connsiteX108" fmla="*/ 2558 w 9961"/>
              <a:gd name="connsiteY108" fmla="*/ 330 h 10000"/>
              <a:gd name="connsiteX109" fmla="*/ 2312 w 9961"/>
              <a:gd name="connsiteY109" fmla="*/ 268 h 10000"/>
              <a:gd name="connsiteX110" fmla="*/ 2071 w 9961"/>
              <a:gd name="connsiteY110" fmla="*/ 214 h 10000"/>
              <a:gd name="connsiteX111" fmla="*/ 1827 w 9961"/>
              <a:gd name="connsiteY111" fmla="*/ 165 h 10000"/>
              <a:gd name="connsiteX112" fmla="*/ 1573 w 9961"/>
              <a:gd name="connsiteY112" fmla="*/ 118 h 10000"/>
              <a:gd name="connsiteX113" fmla="*/ 1320 w 9961"/>
              <a:gd name="connsiteY113" fmla="*/ 85 h 10000"/>
              <a:gd name="connsiteX114" fmla="*/ 1071 w 9961"/>
              <a:gd name="connsiteY114" fmla="*/ 58 h 10000"/>
              <a:gd name="connsiteX115" fmla="*/ 818 w 9961"/>
              <a:gd name="connsiteY115" fmla="*/ 41 h 10000"/>
              <a:gd name="connsiteX116" fmla="*/ 557 w 9961"/>
              <a:gd name="connsiteY116" fmla="*/ 15 h 10000"/>
              <a:gd name="connsiteX117" fmla="*/ 299 w 9961"/>
              <a:gd name="connsiteY117" fmla="*/ 8 h 10000"/>
              <a:gd name="connsiteX118" fmla="*/ 39 w 9961"/>
              <a:gd name="connsiteY118" fmla="*/ 3 h 10000"/>
              <a:gd name="connsiteX119" fmla="*/ 0 w 9961"/>
              <a:gd name="connsiteY119" fmla="*/ 0 h 10000"/>
              <a:gd name="connsiteX120" fmla="*/ 1224 w 9961"/>
              <a:gd name="connsiteY120" fmla="*/ 3102 h 10000"/>
              <a:gd name="connsiteX121" fmla="*/ 7 w 9961"/>
              <a:gd name="connsiteY121" fmla="*/ 6052 h 10000"/>
              <a:gd name="connsiteX0" fmla="*/ 7 w 9953"/>
              <a:gd name="connsiteY0" fmla="*/ 6052 h 10000"/>
              <a:gd name="connsiteX1" fmla="*/ 20 w 9953"/>
              <a:gd name="connsiteY1" fmla="*/ 6045 h 10000"/>
              <a:gd name="connsiteX2" fmla="*/ 124 w 9953"/>
              <a:gd name="connsiteY2" fmla="*/ 6045 h 10000"/>
              <a:gd name="connsiteX3" fmla="*/ 233 w 9953"/>
              <a:gd name="connsiteY3" fmla="*/ 6052 h 10000"/>
              <a:gd name="connsiteX4" fmla="*/ 340 w 9953"/>
              <a:gd name="connsiteY4" fmla="*/ 6058 h 10000"/>
              <a:gd name="connsiteX5" fmla="*/ 445 w 9953"/>
              <a:gd name="connsiteY5" fmla="*/ 6064 h 10000"/>
              <a:gd name="connsiteX6" fmla="*/ 553 w 9953"/>
              <a:gd name="connsiteY6" fmla="*/ 6085 h 10000"/>
              <a:gd name="connsiteX7" fmla="*/ 659 w 9953"/>
              <a:gd name="connsiteY7" fmla="*/ 6098 h 10000"/>
              <a:gd name="connsiteX8" fmla="*/ 759 w 9953"/>
              <a:gd name="connsiteY8" fmla="*/ 6112 h 10000"/>
              <a:gd name="connsiteX9" fmla="*/ 861 w 9953"/>
              <a:gd name="connsiteY9" fmla="*/ 6134 h 10000"/>
              <a:gd name="connsiteX10" fmla="*/ 968 w 9953"/>
              <a:gd name="connsiteY10" fmla="*/ 6152 h 10000"/>
              <a:gd name="connsiteX11" fmla="*/ 1067 w 9953"/>
              <a:gd name="connsiteY11" fmla="*/ 6178 h 10000"/>
              <a:gd name="connsiteX12" fmla="*/ 1167 w 9953"/>
              <a:gd name="connsiteY12" fmla="*/ 6209 h 10000"/>
              <a:gd name="connsiteX13" fmla="*/ 1266 w 9953"/>
              <a:gd name="connsiteY13" fmla="*/ 6236 h 10000"/>
              <a:gd name="connsiteX14" fmla="*/ 1360 w 9953"/>
              <a:gd name="connsiteY14" fmla="*/ 6270 h 10000"/>
              <a:gd name="connsiteX15" fmla="*/ 1461 w 9953"/>
              <a:gd name="connsiteY15" fmla="*/ 6302 h 10000"/>
              <a:gd name="connsiteX16" fmla="*/ 1553 w 9953"/>
              <a:gd name="connsiteY16" fmla="*/ 6341 h 10000"/>
              <a:gd name="connsiteX17" fmla="*/ 1645 w 9953"/>
              <a:gd name="connsiteY17" fmla="*/ 6381 h 10000"/>
              <a:gd name="connsiteX18" fmla="*/ 1740 w 9953"/>
              <a:gd name="connsiteY18" fmla="*/ 6425 h 10000"/>
              <a:gd name="connsiteX19" fmla="*/ 1834 w 9953"/>
              <a:gd name="connsiteY19" fmla="*/ 6465 h 10000"/>
              <a:gd name="connsiteX20" fmla="*/ 1927 w 9953"/>
              <a:gd name="connsiteY20" fmla="*/ 6512 h 10000"/>
              <a:gd name="connsiteX21" fmla="*/ 2021 w 9953"/>
              <a:gd name="connsiteY21" fmla="*/ 6557 h 10000"/>
              <a:gd name="connsiteX22" fmla="*/ 2106 w 9953"/>
              <a:gd name="connsiteY22" fmla="*/ 6615 h 10000"/>
              <a:gd name="connsiteX23" fmla="*/ 2194 w 9953"/>
              <a:gd name="connsiteY23" fmla="*/ 6661 h 10000"/>
              <a:gd name="connsiteX24" fmla="*/ 2280 w 9953"/>
              <a:gd name="connsiteY24" fmla="*/ 6714 h 10000"/>
              <a:gd name="connsiteX25" fmla="*/ 2360 w 9953"/>
              <a:gd name="connsiteY25" fmla="*/ 6770 h 10000"/>
              <a:gd name="connsiteX26" fmla="*/ 2447 w 9953"/>
              <a:gd name="connsiteY26" fmla="*/ 6831 h 10000"/>
              <a:gd name="connsiteX27" fmla="*/ 2525 w 9953"/>
              <a:gd name="connsiteY27" fmla="*/ 6891 h 10000"/>
              <a:gd name="connsiteX28" fmla="*/ 2609 w 9953"/>
              <a:gd name="connsiteY28" fmla="*/ 6951 h 10000"/>
              <a:gd name="connsiteX29" fmla="*/ 2687 w 9953"/>
              <a:gd name="connsiteY29" fmla="*/ 7012 h 10000"/>
              <a:gd name="connsiteX30" fmla="*/ 2767 w 9953"/>
              <a:gd name="connsiteY30" fmla="*/ 7081 h 10000"/>
              <a:gd name="connsiteX31" fmla="*/ 2840 w 9953"/>
              <a:gd name="connsiteY31" fmla="*/ 7151 h 10000"/>
              <a:gd name="connsiteX32" fmla="*/ 2913 w 9953"/>
              <a:gd name="connsiteY32" fmla="*/ 7218 h 10000"/>
              <a:gd name="connsiteX33" fmla="*/ 2988 w 9953"/>
              <a:gd name="connsiteY33" fmla="*/ 7292 h 10000"/>
              <a:gd name="connsiteX34" fmla="*/ 3054 w 9953"/>
              <a:gd name="connsiteY34" fmla="*/ 7364 h 10000"/>
              <a:gd name="connsiteX35" fmla="*/ 3126 w 9953"/>
              <a:gd name="connsiteY35" fmla="*/ 7441 h 10000"/>
              <a:gd name="connsiteX36" fmla="*/ 3191 w 9953"/>
              <a:gd name="connsiteY36" fmla="*/ 7514 h 10000"/>
              <a:gd name="connsiteX37" fmla="*/ 3253 w 9953"/>
              <a:gd name="connsiteY37" fmla="*/ 7597 h 10000"/>
              <a:gd name="connsiteX38" fmla="*/ 3320 w 9953"/>
              <a:gd name="connsiteY38" fmla="*/ 7671 h 10000"/>
              <a:gd name="connsiteX39" fmla="*/ 3379 w 9953"/>
              <a:gd name="connsiteY39" fmla="*/ 7752 h 10000"/>
              <a:gd name="connsiteX40" fmla="*/ 3438 w 9953"/>
              <a:gd name="connsiteY40" fmla="*/ 7833 h 10000"/>
              <a:gd name="connsiteX41" fmla="*/ 3500 w 9953"/>
              <a:gd name="connsiteY41" fmla="*/ 7917 h 10000"/>
              <a:gd name="connsiteX42" fmla="*/ 3553 w 9953"/>
              <a:gd name="connsiteY42" fmla="*/ 8003 h 10000"/>
              <a:gd name="connsiteX43" fmla="*/ 3606 w 9953"/>
              <a:gd name="connsiteY43" fmla="*/ 8090 h 10000"/>
              <a:gd name="connsiteX44" fmla="*/ 3659 w 9953"/>
              <a:gd name="connsiteY44" fmla="*/ 8181 h 10000"/>
              <a:gd name="connsiteX45" fmla="*/ 3713 w 9953"/>
              <a:gd name="connsiteY45" fmla="*/ 8267 h 10000"/>
              <a:gd name="connsiteX46" fmla="*/ 3753 w 9953"/>
              <a:gd name="connsiteY46" fmla="*/ 8363 h 10000"/>
              <a:gd name="connsiteX47" fmla="*/ 3807 w 9953"/>
              <a:gd name="connsiteY47" fmla="*/ 8459 h 10000"/>
              <a:gd name="connsiteX48" fmla="*/ 3847 w 9953"/>
              <a:gd name="connsiteY48" fmla="*/ 8544 h 10000"/>
              <a:gd name="connsiteX49" fmla="*/ 3887 w 9953"/>
              <a:gd name="connsiteY49" fmla="*/ 8642 h 10000"/>
              <a:gd name="connsiteX50" fmla="*/ 3926 w 9953"/>
              <a:gd name="connsiteY50" fmla="*/ 8737 h 10000"/>
              <a:gd name="connsiteX51" fmla="*/ 3959 w 9953"/>
              <a:gd name="connsiteY51" fmla="*/ 8832 h 10000"/>
              <a:gd name="connsiteX52" fmla="*/ 3993 w 9953"/>
              <a:gd name="connsiteY52" fmla="*/ 8932 h 10000"/>
              <a:gd name="connsiteX53" fmla="*/ 4026 w 9953"/>
              <a:gd name="connsiteY53" fmla="*/ 9034 h 10000"/>
              <a:gd name="connsiteX54" fmla="*/ 4059 w 9953"/>
              <a:gd name="connsiteY54" fmla="*/ 9131 h 10000"/>
              <a:gd name="connsiteX55" fmla="*/ 4085 w 9953"/>
              <a:gd name="connsiteY55" fmla="*/ 9231 h 10000"/>
              <a:gd name="connsiteX56" fmla="*/ 4105 w 9953"/>
              <a:gd name="connsiteY56" fmla="*/ 9332 h 10000"/>
              <a:gd name="connsiteX57" fmla="*/ 4134 w 9953"/>
              <a:gd name="connsiteY57" fmla="*/ 9442 h 10000"/>
              <a:gd name="connsiteX58" fmla="*/ 4153 w 9953"/>
              <a:gd name="connsiteY58" fmla="*/ 9543 h 10000"/>
              <a:gd name="connsiteX59" fmla="*/ 4173 w 9953"/>
              <a:gd name="connsiteY59" fmla="*/ 9646 h 10000"/>
              <a:gd name="connsiteX60" fmla="*/ 7327 w 9953"/>
              <a:gd name="connsiteY60" fmla="*/ 10000 h 10000"/>
              <a:gd name="connsiteX61" fmla="*/ 9953 w 9953"/>
              <a:gd name="connsiteY61" fmla="*/ 8220 h 10000"/>
              <a:gd name="connsiteX62" fmla="*/ 9900 w 9953"/>
              <a:gd name="connsiteY62" fmla="*/ 7970 h 10000"/>
              <a:gd name="connsiteX63" fmla="*/ 9837 w 9953"/>
              <a:gd name="connsiteY63" fmla="*/ 7726 h 10000"/>
              <a:gd name="connsiteX64" fmla="*/ 9772 w 9953"/>
              <a:gd name="connsiteY64" fmla="*/ 7474 h 10000"/>
              <a:gd name="connsiteX65" fmla="*/ 9707 w 9953"/>
              <a:gd name="connsiteY65" fmla="*/ 7231 h 10000"/>
              <a:gd name="connsiteX66" fmla="*/ 9627 w 9953"/>
              <a:gd name="connsiteY66" fmla="*/ 6992 h 10000"/>
              <a:gd name="connsiteX67" fmla="*/ 9545 w 9953"/>
              <a:gd name="connsiteY67" fmla="*/ 6755 h 10000"/>
              <a:gd name="connsiteX68" fmla="*/ 9453 w 9953"/>
              <a:gd name="connsiteY68" fmla="*/ 6518 h 10000"/>
              <a:gd name="connsiteX69" fmla="*/ 9360 w 9953"/>
              <a:gd name="connsiteY69" fmla="*/ 6290 h 10000"/>
              <a:gd name="connsiteX70" fmla="*/ 9263 w 9953"/>
              <a:gd name="connsiteY70" fmla="*/ 6058 h 10000"/>
              <a:gd name="connsiteX71" fmla="*/ 9158 w 9953"/>
              <a:gd name="connsiteY71" fmla="*/ 5834 h 10000"/>
              <a:gd name="connsiteX72" fmla="*/ 9052 w 9953"/>
              <a:gd name="connsiteY72" fmla="*/ 5610 h 10000"/>
              <a:gd name="connsiteX73" fmla="*/ 8939 w 9953"/>
              <a:gd name="connsiteY73" fmla="*/ 5387 h 10000"/>
              <a:gd name="connsiteX74" fmla="*/ 8819 w 9953"/>
              <a:gd name="connsiteY74" fmla="*/ 5170 h 10000"/>
              <a:gd name="connsiteX75" fmla="*/ 8692 w 9953"/>
              <a:gd name="connsiteY75" fmla="*/ 4960 h 10000"/>
              <a:gd name="connsiteX76" fmla="*/ 8565 w 9953"/>
              <a:gd name="connsiteY76" fmla="*/ 4749 h 10000"/>
              <a:gd name="connsiteX77" fmla="*/ 8433 w 9953"/>
              <a:gd name="connsiteY77" fmla="*/ 4538 h 10000"/>
              <a:gd name="connsiteX78" fmla="*/ 8291 w 9953"/>
              <a:gd name="connsiteY78" fmla="*/ 4337 h 10000"/>
              <a:gd name="connsiteX79" fmla="*/ 8146 w 9953"/>
              <a:gd name="connsiteY79" fmla="*/ 4138 h 10000"/>
              <a:gd name="connsiteX80" fmla="*/ 7998 w 9953"/>
              <a:gd name="connsiteY80" fmla="*/ 3942 h 10000"/>
              <a:gd name="connsiteX81" fmla="*/ 7846 w 9953"/>
              <a:gd name="connsiteY81" fmla="*/ 3743 h 10000"/>
              <a:gd name="connsiteX82" fmla="*/ 7692 w 9953"/>
              <a:gd name="connsiteY82" fmla="*/ 3563 h 10000"/>
              <a:gd name="connsiteX83" fmla="*/ 7524 w 9953"/>
              <a:gd name="connsiteY83" fmla="*/ 3380 h 10000"/>
              <a:gd name="connsiteX84" fmla="*/ 7365 w 9953"/>
              <a:gd name="connsiteY84" fmla="*/ 3196 h 10000"/>
              <a:gd name="connsiteX85" fmla="*/ 7193 w 9953"/>
              <a:gd name="connsiteY85" fmla="*/ 3014 h 10000"/>
              <a:gd name="connsiteX86" fmla="*/ 7019 w 9953"/>
              <a:gd name="connsiteY86" fmla="*/ 2844 h 10000"/>
              <a:gd name="connsiteX87" fmla="*/ 6848 w 9953"/>
              <a:gd name="connsiteY87" fmla="*/ 2675 h 10000"/>
              <a:gd name="connsiteX88" fmla="*/ 6661 w 9953"/>
              <a:gd name="connsiteY88" fmla="*/ 2514 h 10000"/>
              <a:gd name="connsiteX89" fmla="*/ 6472 w 9953"/>
              <a:gd name="connsiteY89" fmla="*/ 2357 h 10000"/>
              <a:gd name="connsiteX90" fmla="*/ 6287 w 9953"/>
              <a:gd name="connsiteY90" fmla="*/ 2203 h 10000"/>
              <a:gd name="connsiteX91" fmla="*/ 6093 w 9953"/>
              <a:gd name="connsiteY91" fmla="*/ 2049 h 10000"/>
              <a:gd name="connsiteX92" fmla="*/ 5892 w 9953"/>
              <a:gd name="connsiteY92" fmla="*/ 1903 h 10000"/>
              <a:gd name="connsiteX93" fmla="*/ 5694 w 9953"/>
              <a:gd name="connsiteY93" fmla="*/ 1759 h 10000"/>
              <a:gd name="connsiteX94" fmla="*/ 5492 w 9953"/>
              <a:gd name="connsiteY94" fmla="*/ 1626 h 10000"/>
              <a:gd name="connsiteX95" fmla="*/ 5286 w 9953"/>
              <a:gd name="connsiteY95" fmla="*/ 1495 h 10000"/>
              <a:gd name="connsiteX96" fmla="*/ 5082 w 9953"/>
              <a:gd name="connsiteY96" fmla="*/ 1366 h 10000"/>
              <a:gd name="connsiteX97" fmla="*/ 4859 w 9953"/>
              <a:gd name="connsiteY97" fmla="*/ 1245 h 10000"/>
              <a:gd name="connsiteX98" fmla="*/ 4646 w 9953"/>
              <a:gd name="connsiteY98" fmla="*/ 1130 h 10000"/>
              <a:gd name="connsiteX99" fmla="*/ 4425 w 9953"/>
              <a:gd name="connsiteY99" fmla="*/ 1023 h 10000"/>
              <a:gd name="connsiteX100" fmla="*/ 4199 w 9953"/>
              <a:gd name="connsiteY100" fmla="*/ 912 h 10000"/>
              <a:gd name="connsiteX101" fmla="*/ 3979 w 9953"/>
              <a:gd name="connsiteY101" fmla="*/ 811 h 10000"/>
              <a:gd name="connsiteX102" fmla="*/ 3753 w 9953"/>
              <a:gd name="connsiteY102" fmla="*/ 723 h 10000"/>
              <a:gd name="connsiteX103" fmla="*/ 3520 w 9953"/>
              <a:gd name="connsiteY103" fmla="*/ 627 h 10000"/>
              <a:gd name="connsiteX104" fmla="*/ 3285 w 9953"/>
              <a:gd name="connsiteY104" fmla="*/ 547 h 10000"/>
              <a:gd name="connsiteX105" fmla="*/ 3047 w 9953"/>
              <a:gd name="connsiteY105" fmla="*/ 464 h 10000"/>
              <a:gd name="connsiteX106" fmla="*/ 2813 w 9953"/>
              <a:gd name="connsiteY106" fmla="*/ 396 h 10000"/>
              <a:gd name="connsiteX107" fmla="*/ 2568 w 9953"/>
              <a:gd name="connsiteY107" fmla="*/ 330 h 10000"/>
              <a:gd name="connsiteX108" fmla="*/ 2321 w 9953"/>
              <a:gd name="connsiteY108" fmla="*/ 268 h 10000"/>
              <a:gd name="connsiteX109" fmla="*/ 2079 w 9953"/>
              <a:gd name="connsiteY109" fmla="*/ 214 h 10000"/>
              <a:gd name="connsiteX110" fmla="*/ 1834 w 9953"/>
              <a:gd name="connsiteY110" fmla="*/ 165 h 10000"/>
              <a:gd name="connsiteX111" fmla="*/ 1579 w 9953"/>
              <a:gd name="connsiteY111" fmla="*/ 118 h 10000"/>
              <a:gd name="connsiteX112" fmla="*/ 1325 w 9953"/>
              <a:gd name="connsiteY112" fmla="*/ 85 h 10000"/>
              <a:gd name="connsiteX113" fmla="*/ 1075 w 9953"/>
              <a:gd name="connsiteY113" fmla="*/ 58 h 10000"/>
              <a:gd name="connsiteX114" fmla="*/ 821 w 9953"/>
              <a:gd name="connsiteY114" fmla="*/ 41 h 10000"/>
              <a:gd name="connsiteX115" fmla="*/ 559 w 9953"/>
              <a:gd name="connsiteY115" fmla="*/ 15 h 10000"/>
              <a:gd name="connsiteX116" fmla="*/ 300 w 9953"/>
              <a:gd name="connsiteY116" fmla="*/ 8 h 10000"/>
              <a:gd name="connsiteX117" fmla="*/ 39 w 9953"/>
              <a:gd name="connsiteY117" fmla="*/ 3 h 10000"/>
              <a:gd name="connsiteX118" fmla="*/ 0 w 9953"/>
              <a:gd name="connsiteY118" fmla="*/ 0 h 10000"/>
              <a:gd name="connsiteX119" fmla="*/ 1229 w 9953"/>
              <a:gd name="connsiteY119" fmla="*/ 3102 h 10000"/>
              <a:gd name="connsiteX120" fmla="*/ 7 w 9953"/>
              <a:gd name="connsiteY120" fmla="*/ 6052 h 10000"/>
              <a:gd name="connsiteX0" fmla="*/ 7 w 9947"/>
              <a:gd name="connsiteY0" fmla="*/ 6052 h 10000"/>
              <a:gd name="connsiteX1" fmla="*/ 20 w 9947"/>
              <a:gd name="connsiteY1" fmla="*/ 6045 h 10000"/>
              <a:gd name="connsiteX2" fmla="*/ 125 w 9947"/>
              <a:gd name="connsiteY2" fmla="*/ 6045 h 10000"/>
              <a:gd name="connsiteX3" fmla="*/ 234 w 9947"/>
              <a:gd name="connsiteY3" fmla="*/ 6052 h 10000"/>
              <a:gd name="connsiteX4" fmla="*/ 342 w 9947"/>
              <a:gd name="connsiteY4" fmla="*/ 6058 h 10000"/>
              <a:gd name="connsiteX5" fmla="*/ 447 w 9947"/>
              <a:gd name="connsiteY5" fmla="*/ 6064 h 10000"/>
              <a:gd name="connsiteX6" fmla="*/ 556 w 9947"/>
              <a:gd name="connsiteY6" fmla="*/ 6085 h 10000"/>
              <a:gd name="connsiteX7" fmla="*/ 662 w 9947"/>
              <a:gd name="connsiteY7" fmla="*/ 6098 h 10000"/>
              <a:gd name="connsiteX8" fmla="*/ 763 w 9947"/>
              <a:gd name="connsiteY8" fmla="*/ 6112 h 10000"/>
              <a:gd name="connsiteX9" fmla="*/ 865 w 9947"/>
              <a:gd name="connsiteY9" fmla="*/ 6134 h 10000"/>
              <a:gd name="connsiteX10" fmla="*/ 973 w 9947"/>
              <a:gd name="connsiteY10" fmla="*/ 6152 h 10000"/>
              <a:gd name="connsiteX11" fmla="*/ 1072 w 9947"/>
              <a:gd name="connsiteY11" fmla="*/ 6178 h 10000"/>
              <a:gd name="connsiteX12" fmla="*/ 1173 w 9947"/>
              <a:gd name="connsiteY12" fmla="*/ 6209 h 10000"/>
              <a:gd name="connsiteX13" fmla="*/ 1272 w 9947"/>
              <a:gd name="connsiteY13" fmla="*/ 6236 h 10000"/>
              <a:gd name="connsiteX14" fmla="*/ 1366 w 9947"/>
              <a:gd name="connsiteY14" fmla="*/ 6270 h 10000"/>
              <a:gd name="connsiteX15" fmla="*/ 1468 w 9947"/>
              <a:gd name="connsiteY15" fmla="*/ 6302 h 10000"/>
              <a:gd name="connsiteX16" fmla="*/ 1560 w 9947"/>
              <a:gd name="connsiteY16" fmla="*/ 6341 h 10000"/>
              <a:gd name="connsiteX17" fmla="*/ 1653 w 9947"/>
              <a:gd name="connsiteY17" fmla="*/ 6381 h 10000"/>
              <a:gd name="connsiteX18" fmla="*/ 1748 w 9947"/>
              <a:gd name="connsiteY18" fmla="*/ 6425 h 10000"/>
              <a:gd name="connsiteX19" fmla="*/ 1843 w 9947"/>
              <a:gd name="connsiteY19" fmla="*/ 6465 h 10000"/>
              <a:gd name="connsiteX20" fmla="*/ 1936 w 9947"/>
              <a:gd name="connsiteY20" fmla="*/ 6512 h 10000"/>
              <a:gd name="connsiteX21" fmla="*/ 2031 w 9947"/>
              <a:gd name="connsiteY21" fmla="*/ 6557 h 10000"/>
              <a:gd name="connsiteX22" fmla="*/ 2116 w 9947"/>
              <a:gd name="connsiteY22" fmla="*/ 6615 h 10000"/>
              <a:gd name="connsiteX23" fmla="*/ 2204 w 9947"/>
              <a:gd name="connsiteY23" fmla="*/ 6661 h 10000"/>
              <a:gd name="connsiteX24" fmla="*/ 2291 w 9947"/>
              <a:gd name="connsiteY24" fmla="*/ 6714 h 10000"/>
              <a:gd name="connsiteX25" fmla="*/ 2371 w 9947"/>
              <a:gd name="connsiteY25" fmla="*/ 6770 h 10000"/>
              <a:gd name="connsiteX26" fmla="*/ 2459 w 9947"/>
              <a:gd name="connsiteY26" fmla="*/ 6831 h 10000"/>
              <a:gd name="connsiteX27" fmla="*/ 2537 w 9947"/>
              <a:gd name="connsiteY27" fmla="*/ 6891 h 10000"/>
              <a:gd name="connsiteX28" fmla="*/ 2621 w 9947"/>
              <a:gd name="connsiteY28" fmla="*/ 6951 h 10000"/>
              <a:gd name="connsiteX29" fmla="*/ 2700 w 9947"/>
              <a:gd name="connsiteY29" fmla="*/ 7012 h 10000"/>
              <a:gd name="connsiteX30" fmla="*/ 2780 w 9947"/>
              <a:gd name="connsiteY30" fmla="*/ 7081 h 10000"/>
              <a:gd name="connsiteX31" fmla="*/ 2853 w 9947"/>
              <a:gd name="connsiteY31" fmla="*/ 7151 h 10000"/>
              <a:gd name="connsiteX32" fmla="*/ 2927 w 9947"/>
              <a:gd name="connsiteY32" fmla="*/ 7218 h 10000"/>
              <a:gd name="connsiteX33" fmla="*/ 3002 w 9947"/>
              <a:gd name="connsiteY33" fmla="*/ 7292 h 10000"/>
              <a:gd name="connsiteX34" fmla="*/ 3068 w 9947"/>
              <a:gd name="connsiteY34" fmla="*/ 7364 h 10000"/>
              <a:gd name="connsiteX35" fmla="*/ 3141 w 9947"/>
              <a:gd name="connsiteY35" fmla="*/ 7441 h 10000"/>
              <a:gd name="connsiteX36" fmla="*/ 3206 w 9947"/>
              <a:gd name="connsiteY36" fmla="*/ 7514 h 10000"/>
              <a:gd name="connsiteX37" fmla="*/ 3268 w 9947"/>
              <a:gd name="connsiteY37" fmla="*/ 7597 h 10000"/>
              <a:gd name="connsiteX38" fmla="*/ 3336 w 9947"/>
              <a:gd name="connsiteY38" fmla="*/ 7671 h 10000"/>
              <a:gd name="connsiteX39" fmla="*/ 3395 w 9947"/>
              <a:gd name="connsiteY39" fmla="*/ 7752 h 10000"/>
              <a:gd name="connsiteX40" fmla="*/ 3454 w 9947"/>
              <a:gd name="connsiteY40" fmla="*/ 7833 h 10000"/>
              <a:gd name="connsiteX41" fmla="*/ 3517 w 9947"/>
              <a:gd name="connsiteY41" fmla="*/ 7917 h 10000"/>
              <a:gd name="connsiteX42" fmla="*/ 3570 w 9947"/>
              <a:gd name="connsiteY42" fmla="*/ 8003 h 10000"/>
              <a:gd name="connsiteX43" fmla="*/ 3623 w 9947"/>
              <a:gd name="connsiteY43" fmla="*/ 8090 h 10000"/>
              <a:gd name="connsiteX44" fmla="*/ 3676 w 9947"/>
              <a:gd name="connsiteY44" fmla="*/ 8181 h 10000"/>
              <a:gd name="connsiteX45" fmla="*/ 3731 w 9947"/>
              <a:gd name="connsiteY45" fmla="*/ 8267 h 10000"/>
              <a:gd name="connsiteX46" fmla="*/ 3771 w 9947"/>
              <a:gd name="connsiteY46" fmla="*/ 8363 h 10000"/>
              <a:gd name="connsiteX47" fmla="*/ 3825 w 9947"/>
              <a:gd name="connsiteY47" fmla="*/ 8459 h 10000"/>
              <a:gd name="connsiteX48" fmla="*/ 3865 w 9947"/>
              <a:gd name="connsiteY48" fmla="*/ 8544 h 10000"/>
              <a:gd name="connsiteX49" fmla="*/ 3905 w 9947"/>
              <a:gd name="connsiteY49" fmla="*/ 8642 h 10000"/>
              <a:gd name="connsiteX50" fmla="*/ 3945 w 9947"/>
              <a:gd name="connsiteY50" fmla="*/ 8737 h 10000"/>
              <a:gd name="connsiteX51" fmla="*/ 3978 w 9947"/>
              <a:gd name="connsiteY51" fmla="*/ 8832 h 10000"/>
              <a:gd name="connsiteX52" fmla="*/ 4012 w 9947"/>
              <a:gd name="connsiteY52" fmla="*/ 8932 h 10000"/>
              <a:gd name="connsiteX53" fmla="*/ 4045 w 9947"/>
              <a:gd name="connsiteY53" fmla="*/ 9034 h 10000"/>
              <a:gd name="connsiteX54" fmla="*/ 4078 w 9947"/>
              <a:gd name="connsiteY54" fmla="*/ 9131 h 10000"/>
              <a:gd name="connsiteX55" fmla="*/ 4104 w 9947"/>
              <a:gd name="connsiteY55" fmla="*/ 9231 h 10000"/>
              <a:gd name="connsiteX56" fmla="*/ 4124 w 9947"/>
              <a:gd name="connsiteY56" fmla="*/ 9332 h 10000"/>
              <a:gd name="connsiteX57" fmla="*/ 4154 w 9947"/>
              <a:gd name="connsiteY57" fmla="*/ 9442 h 10000"/>
              <a:gd name="connsiteX58" fmla="*/ 4173 w 9947"/>
              <a:gd name="connsiteY58" fmla="*/ 9543 h 10000"/>
              <a:gd name="connsiteX59" fmla="*/ 4193 w 9947"/>
              <a:gd name="connsiteY59" fmla="*/ 9646 h 10000"/>
              <a:gd name="connsiteX60" fmla="*/ 7362 w 9947"/>
              <a:gd name="connsiteY60" fmla="*/ 10000 h 10000"/>
              <a:gd name="connsiteX61" fmla="*/ 9947 w 9947"/>
              <a:gd name="connsiteY61" fmla="*/ 7970 h 10000"/>
              <a:gd name="connsiteX62" fmla="*/ 9883 w 9947"/>
              <a:gd name="connsiteY62" fmla="*/ 7726 h 10000"/>
              <a:gd name="connsiteX63" fmla="*/ 9818 w 9947"/>
              <a:gd name="connsiteY63" fmla="*/ 7474 h 10000"/>
              <a:gd name="connsiteX64" fmla="*/ 9753 w 9947"/>
              <a:gd name="connsiteY64" fmla="*/ 7231 h 10000"/>
              <a:gd name="connsiteX65" fmla="*/ 9672 w 9947"/>
              <a:gd name="connsiteY65" fmla="*/ 6992 h 10000"/>
              <a:gd name="connsiteX66" fmla="*/ 9590 w 9947"/>
              <a:gd name="connsiteY66" fmla="*/ 6755 h 10000"/>
              <a:gd name="connsiteX67" fmla="*/ 9498 w 9947"/>
              <a:gd name="connsiteY67" fmla="*/ 6518 h 10000"/>
              <a:gd name="connsiteX68" fmla="*/ 9404 w 9947"/>
              <a:gd name="connsiteY68" fmla="*/ 6290 h 10000"/>
              <a:gd name="connsiteX69" fmla="*/ 9307 w 9947"/>
              <a:gd name="connsiteY69" fmla="*/ 6058 h 10000"/>
              <a:gd name="connsiteX70" fmla="*/ 9201 w 9947"/>
              <a:gd name="connsiteY70" fmla="*/ 5834 h 10000"/>
              <a:gd name="connsiteX71" fmla="*/ 9095 w 9947"/>
              <a:gd name="connsiteY71" fmla="*/ 5610 h 10000"/>
              <a:gd name="connsiteX72" fmla="*/ 8981 w 9947"/>
              <a:gd name="connsiteY72" fmla="*/ 5387 h 10000"/>
              <a:gd name="connsiteX73" fmla="*/ 8861 w 9947"/>
              <a:gd name="connsiteY73" fmla="*/ 5170 h 10000"/>
              <a:gd name="connsiteX74" fmla="*/ 8733 w 9947"/>
              <a:gd name="connsiteY74" fmla="*/ 4960 h 10000"/>
              <a:gd name="connsiteX75" fmla="*/ 8605 w 9947"/>
              <a:gd name="connsiteY75" fmla="*/ 4749 h 10000"/>
              <a:gd name="connsiteX76" fmla="*/ 8473 w 9947"/>
              <a:gd name="connsiteY76" fmla="*/ 4538 h 10000"/>
              <a:gd name="connsiteX77" fmla="*/ 8330 w 9947"/>
              <a:gd name="connsiteY77" fmla="*/ 4337 h 10000"/>
              <a:gd name="connsiteX78" fmla="*/ 8184 w 9947"/>
              <a:gd name="connsiteY78" fmla="*/ 4138 h 10000"/>
              <a:gd name="connsiteX79" fmla="*/ 8036 w 9947"/>
              <a:gd name="connsiteY79" fmla="*/ 3942 h 10000"/>
              <a:gd name="connsiteX80" fmla="*/ 7883 w 9947"/>
              <a:gd name="connsiteY80" fmla="*/ 3743 h 10000"/>
              <a:gd name="connsiteX81" fmla="*/ 7728 w 9947"/>
              <a:gd name="connsiteY81" fmla="*/ 3563 h 10000"/>
              <a:gd name="connsiteX82" fmla="*/ 7560 w 9947"/>
              <a:gd name="connsiteY82" fmla="*/ 3380 h 10000"/>
              <a:gd name="connsiteX83" fmla="*/ 7400 w 9947"/>
              <a:gd name="connsiteY83" fmla="*/ 3196 h 10000"/>
              <a:gd name="connsiteX84" fmla="*/ 7227 w 9947"/>
              <a:gd name="connsiteY84" fmla="*/ 3014 h 10000"/>
              <a:gd name="connsiteX85" fmla="*/ 7052 w 9947"/>
              <a:gd name="connsiteY85" fmla="*/ 2844 h 10000"/>
              <a:gd name="connsiteX86" fmla="*/ 6880 w 9947"/>
              <a:gd name="connsiteY86" fmla="*/ 2675 h 10000"/>
              <a:gd name="connsiteX87" fmla="*/ 6692 w 9947"/>
              <a:gd name="connsiteY87" fmla="*/ 2514 h 10000"/>
              <a:gd name="connsiteX88" fmla="*/ 6503 w 9947"/>
              <a:gd name="connsiteY88" fmla="*/ 2357 h 10000"/>
              <a:gd name="connsiteX89" fmla="*/ 6317 w 9947"/>
              <a:gd name="connsiteY89" fmla="*/ 2203 h 10000"/>
              <a:gd name="connsiteX90" fmla="*/ 6122 w 9947"/>
              <a:gd name="connsiteY90" fmla="*/ 2049 h 10000"/>
              <a:gd name="connsiteX91" fmla="*/ 5920 w 9947"/>
              <a:gd name="connsiteY91" fmla="*/ 1903 h 10000"/>
              <a:gd name="connsiteX92" fmla="*/ 5721 w 9947"/>
              <a:gd name="connsiteY92" fmla="*/ 1759 h 10000"/>
              <a:gd name="connsiteX93" fmla="*/ 5518 w 9947"/>
              <a:gd name="connsiteY93" fmla="*/ 1626 h 10000"/>
              <a:gd name="connsiteX94" fmla="*/ 5311 w 9947"/>
              <a:gd name="connsiteY94" fmla="*/ 1495 h 10000"/>
              <a:gd name="connsiteX95" fmla="*/ 5106 w 9947"/>
              <a:gd name="connsiteY95" fmla="*/ 1366 h 10000"/>
              <a:gd name="connsiteX96" fmla="*/ 4882 w 9947"/>
              <a:gd name="connsiteY96" fmla="*/ 1245 h 10000"/>
              <a:gd name="connsiteX97" fmla="*/ 4668 w 9947"/>
              <a:gd name="connsiteY97" fmla="*/ 1130 h 10000"/>
              <a:gd name="connsiteX98" fmla="*/ 4446 w 9947"/>
              <a:gd name="connsiteY98" fmla="*/ 1023 h 10000"/>
              <a:gd name="connsiteX99" fmla="*/ 4219 w 9947"/>
              <a:gd name="connsiteY99" fmla="*/ 912 h 10000"/>
              <a:gd name="connsiteX100" fmla="*/ 3998 w 9947"/>
              <a:gd name="connsiteY100" fmla="*/ 811 h 10000"/>
              <a:gd name="connsiteX101" fmla="*/ 3771 w 9947"/>
              <a:gd name="connsiteY101" fmla="*/ 723 h 10000"/>
              <a:gd name="connsiteX102" fmla="*/ 3537 w 9947"/>
              <a:gd name="connsiteY102" fmla="*/ 627 h 10000"/>
              <a:gd name="connsiteX103" fmla="*/ 3301 w 9947"/>
              <a:gd name="connsiteY103" fmla="*/ 547 h 10000"/>
              <a:gd name="connsiteX104" fmla="*/ 3061 w 9947"/>
              <a:gd name="connsiteY104" fmla="*/ 464 h 10000"/>
              <a:gd name="connsiteX105" fmla="*/ 2826 w 9947"/>
              <a:gd name="connsiteY105" fmla="*/ 396 h 10000"/>
              <a:gd name="connsiteX106" fmla="*/ 2580 w 9947"/>
              <a:gd name="connsiteY106" fmla="*/ 330 h 10000"/>
              <a:gd name="connsiteX107" fmla="*/ 2332 w 9947"/>
              <a:gd name="connsiteY107" fmla="*/ 268 h 10000"/>
              <a:gd name="connsiteX108" fmla="*/ 2089 w 9947"/>
              <a:gd name="connsiteY108" fmla="*/ 214 h 10000"/>
              <a:gd name="connsiteX109" fmla="*/ 1843 w 9947"/>
              <a:gd name="connsiteY109" fmla="*/ 165 h 10000"/>
              <a:gd name="connsiteX110" fmla="*/ 1586 w 9947"/>
              <a:gd name="connsiteY110" fmla="*/ 118 h 10000"/>
              <a:gd name="connsiteX111" fmla="*/ 1331 w 9947"/>
              <a:gd name="connsiteY111" fmla="*/ 85 h 10000"/>
              <a:gd name="connsiteX112" fmla="*/ 1080 w 9947"/>
              <a:gd name="connsiteY112" fmla="*/ 58 h 10000"/>
              <a:gd name="connsiteX113" fmla="*/ 825 w 9947"/>
              <a:gd name="connsiteY113" fmla="*/ 41 h 10000"/>
              <a:gd name="connsiteX114" fmla="*/ 562 w 9947"/>
              <a:gd name="connsiteY114" fmla="*/ 15 h 10000"/>
              <a:gd name="connsiteX115" fmla="*/ 301 w 9947"/>
              <a:gd name="connsiteY115" fmla="*/ 8 h 10000"/>
              <a:gd name="connsiteX116" fmla="*/ 39 w 9947"/>
              <a:gd name="connsiteY116" fmla="*/ 3 h 10000"/>
              <a:gd name="connsiteX117" fmla="*/ 0 w 9947"/>
              <a:gd name="connsiteY117" fmla="*/ 0 h 10000"/>
              <a:gd name="connsiteX118" fmla="*/ 1235 w 9947"/>
              <a:gd name="connsiteY118" fmla="*/ 3102 h 10000"/>
              <a:gd name="connsiteX119" fmla="*/ 7 w 9947"/>
              <a:gd name="connsiteY119" fmla="*/ 605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947" h="10000">
                <a:moveTo>
                  <a:pt x="7" y="6052"/>
                </a:moveTo>
                <a:cubicBezTo>
                  <a:pt x="15" y="6049"/>
                  <a:pt x="12" y="6047"/>
                  <a:pt x="20" y="6045"/>
                </a:cubicBezTo>
                <a:lnTo>
                  <a:pt x="125" y="6045"/>
                </a:lnTo>
                <a:lnTo>
                  <a:pt x="234" y="6052"/>
                </a:lnTo>
                <a:lnTo>
                  <a:pt x="342" y="6058"/>
                </a:lnTo>
                <a:lnTo>
                  <a:pt x="447" y="6064"/>
                </a:lnTo>
                <a:cubicBezTo>
                  <a:pt x="484" y="6073"/>
                  <a:pt x="520" y="6078"/>
                  <a:pt x="556" y="6085"/>
                </a:cubicBezTo>
                <a:lnTo>
                  <a:pt x="662" y="6098"/>
                </a:lnTo>
                <a:cubicBezTo>
                  <a:pt x="695" y="6103"/>
                  <a:pt x="728" y="6108"/>
                  <a:pt x="763" y="6112"/>
                </a:cubicBezTo>
                <a:cubicBezTo>
                  <a:pt x="798" y="6119"/>
                  <a:pt x="831" y="6127"/>
                  <a:pt x="865" y="6134"/>
                </a:cubicBezTo>
                <a:cubicBezTo>
                  <a:pt x="900" y="6141"/>
                  <a:pt x="937" y="6146"/>
                  <a:pt x="973" y="6152"/>
                </a:cubicBezTo>
                <a:cubicBezTo>
                  <a:pt x="1006" y="6161"/>
                  <a:pt x="1038" y="6171"/>
                  <a:pt x="1072" y="6178"/>
                </a:cubicBezTo>
                <a:cubicBezTo>
                  <a:pt x="1106" y="6188"/>
                  <a:pt x="1138" y="6199"/>
                  <a:pt x="1173" y="6209"/>
                </a:cubicBezTo>
                <a:cubicBezTo>
                  <a:pt x="1206" y="6217"/>
                  <a:pt x="1238" y="6226"/>
                  <a:pt x="1272" y="6236"/>
                </a:cubicBezTo>
                <a:cubicBezTo>
                  <a:pt x="1303" y="6246"/>
                  <a:pt x="1334" y="6259"/>
                  <a:pt x="1366" y="6270"/>
                </a:cubicBezTo>
                <a:cubicBezTo>
                  <a:pt x="1402" y="6280"/>
                  <a:pt x="1435" y="6292"/>
                  <a:pt x="1468" y="6302"/>
                </a:cubicBezTo>
                <a:cubicBezTo>
                  <a:pt x="1499" y="6317"/>
                  <a:pt x="1529" y="6330"/>
                  <a:pt x="1560" y="6341"/>
                </a:cubicBezTo>
                <a:cubicBezTo>
                  <a:pt x="1591" y="6355"/>
                  <a:pt x="1622" y="6370"/>
                  <a:pt x="1653" y="6381"/>
                </a:cubicBezTo>
                <a:cubicBezTo>
                  <a:pt x="1686" y="6395"/>
                  <a:pt x="1717" y="6411"/>
                  <a:pt x="1748" y="6425"/>
                </a:cubicBezTo>
                <a:cubicBezTo>
                  <a:pt x="1779" y="6436"/>
                  <a:pt x="1812" y="6450"/>
                  <a:pt x="1843" y="6465"/>
                </a:cubicBezTo>
                <a:cubicBezTo>
                  <a:pt x="1874" y="6481"/>
                  <a:pt x="1905" y="6494"/>
                  <a:pt x="1936" y="6512"/>
                </a:cubicBezTo>
                <a:cubicBezTo>
                  <a:pt x="1967" y="6527"/>
                  <a:pt x="1999" y="6544"/>
                  <a:pt x="2031" y="6557"/>
                </a:cubicBezTo>
                <a:cubicBezTo>
                  <a:pt x="2059" y="6577"/>
                  <a:pt x="2088" y="6593"/>
                  <a:pt x="2116" y="6615"/>
                </a:cubicBezTo>
                <a:cubicBezTo>
                  <a:pt x="2145" y="6630"/>
                  <a:pt x="2174" y="6646"/>
                  <a:pt x="2204" y="6661"/>
                </a:cubicBezTo>
                <a:cubicBezTo>
                  <a:pt x="2232" y="6679"/>
                  <a:pt x="2262" y="6697"/>
                  <a:pt x="2291" y="6714"/>
                </a:cubicBezTo>
                <a:cubicBezTo>
                  <a:pt x="2319" y="6732"/>
                  <a:pt x="2345" y="6752"/>
                  <a:pt x="2371" y="6770"/>
                </a:cubicBezTo>
                <a:cubicBezTo>
                  <a:pt x="2400" y="6790"/>
                  <a:pt x="2428" y="6811"/>
                  <a:pt x="2459" y="6831"/>
                </a:cubicBezTo>
                <a:cubicBezTo>
                  <a:pt x="2485" y="6850"/>
                  <a:pt x="2511" y="6871"/>
                  <a:pt x="2537" y="6891"/>
                </a:cubicBezTo>
                <a:cubicBezTo>
                  <a:pt x="2565" y="6910"/>
                  <a:pt x="2592" y="6932"/>
                  <a:pt x="2621" y="6951"/>
                </a:cubicBezTo>
                <a:cubicBezTo>
                  <a:pt x="2647" y="6973"/>
                  <a:pt x="2674" y="6992"/>
                  <a:pt x="2700" y="7012"/>
                </a:cubicBezTo>
                <a:cubicBezTo>
                  <a:pt x="2727" y="7038"/>
                  <a:pt x="2754" y="7058"/>
                  <a:pt x="2780" y="7081"/>
                </a:cubicBezTo>
                <a:cubicBezTo>
                  <a:pt x="2805" y="7105"/>
                  <a:pt x="2829" y="7125"/>
                  <a:pt x="2853" y="7151"/>
                </a:cubicBezTo>
                <a:cubicBezTo>
                  <a:pt x="2878" y="7171"/>
                  <a:pt x="2901" y="7194"/>
                  <a:pt x="2927" y="7218"/>
                </a:cubicBezTo>
                <a:cubicBezTo>
                  <a:pt x="2953" y="7243"/>
                  <a:pt x="2978" y="7266"/>
                  <a:pt x="3002" y="7292"/>
                </a:cubicBezTo>
                <a:cubicBezTo>
                  <a:pt x="3024" y="7316"/>
                  <a:pt x="3046" y="7343"/>
                  <a:pt x="3068" y="7364"/>
                </a:cubicBezTo>
                <a:cubicBezTo>
                  <a:pt x="3093" y="7391"/>
                  <a:pt x="3117" y="7416"/>
                  <a:pt x="3141" y="7441"/>
                </a:cubicBezTo>
                <a:cubicBezTo>
                  <a:pt x="3163" y="7466"/>
                  <a:pt x="3184" y="7492"/>
                  <a:pt x="3206" y="7514"/>
                </a:cubicBezTo>
                <a:cubicBezTo>
                  <a:pt x="3227" y="7542"/>
                  <a:pt x="3248" y="7569"/>
                  <a:pt x="3268" y="7597"/>
                </a:cubicBezTo>
                <a:cubicBezTo>
                  <a:pt x="3290" y="7621"/>
                  <a:pt x="3314" y="7646"/>
                  <a:pt x="3336" y="7671"/>
                </a:cubicBezTo>
                <a:cubicBezTo>
                  <a:pt x="3356" y="7699"/>
                  <a:pt x="3375" y="7726"/>
                  <a:pt x="3395" y="7752"/>
                </a:cubicBezTo>
                <a:cubicBezTo>
                  <a:pt x="3415" y="7778"/>
                  <a:pt x="3434" y="7808"/>
                  <a:pt x="3454" y="7833"/>
                </a:cubicBezTo>
                <a:cubicBezTo>
                  <a:pt x="3475" y="7861"/>
                  <a:pt x="3495" y="7889"/>
                  <a:pt x="3517" y="7917"/>
                </a:cubicBezTo>
                <a:cubicBezTo>
                  <a:pt x="3535" y="7945"/>
                  <a:pt x="3553" y="7974"/>
                  <a:pt x="3570" y="8003"/>
                </a:cubicBezTo>
                <a:cubicBezTo>
                  <a:pt x="3588" y="8033"/>
                  <a:pt x="3606" y="8061"/>
                  <a:pt x="3623" y="8090"/>
                </a:cubicBezTo>
                <a:cubicBezTo>
                  <a:pt x="3640" y="8120"/>
                  <a:pt x="3659" y="8150"/>
                  <a:pt x="3676" y="8181"/>
                </a:cubicBezTo>
                <a:cubicBezTo>
                  <a:pt x="3694" y="8209"/>
                  <a:pt x="3711" y="8239"/>
                  <a:pt x="3731" y="8267"/>
                </a:cubicBezTo>
                <a:cubicBezTo>
                  <a:pt x="3745" y="8301"/>
                  <a:pt x="3758" y="8330"/>
                  <a:pt x="3771" y="8363"/>
                </a:cubicBezTo>
                <a:cubicBezTo>
                  <a:pt x="3788" y="8395"/>
                  <a:pt x="3806" y="8426"/>
                  <a:pt x="3825" y="8459"/>
                </a:cubicBezTo>
                <a:cubicBezTo>
                  <a:pt x="3839" y="8486"/>
                  <a:pt x="3852" y="8517"/>
                  <a:pt x="3865" y="8544"/>
                </a:cubicBezTo>
                <a:cubicBezTo>
                  <a:pt x="3878" y="8577"/>
                  <a:pt x="3892" y="8609"/>
                  <a:pt x="3905" y="8642"/>
                </a:cubicBezTo>
                <a:lnTo>
                  <a:pt x="3945" y="8737"/>
                </a:lnTo>
                <a:cubicBezTo>
                  <a:pt x="3956" y="8767"/>
                  <a:pt x="3967" y="8800"/>
                  <a:pt x="3978" y="8832"/>
                </a:cubicBezTo>
                <a:cubicBezTo>
                  <a:pt x="3989" y="8866"/>
                  <a:pt x="4000" y="8899"/>
                  <a:pt x="4012" y="8932"/>
                </a:cubicBezTo>
                <a:cubicBezTo>
                  <a:pt x="4023" y="8968"/>
                  <a:pt x="4034" y="8999"/>
                  <a:pt x="4045" y="9034"/>
                </a:cubicBezTo>
                <a:cubicBezTo>
                  <a:pt x="4056" y="9068"/>
                  <a:pt x="4067" y="9097"/>
                  <a:pt x="4078" y="9131"/>
                </a:cubicBezTo>
                <a:cubicBezTo>
                  <a:pt x="4087" y="9162"/>
                  <a:pt x="4095" y="9196"/>
                  <a:pt x="4104" y="9231"/>
                </a:cubicBezTo>
                <a:cubicBezTo>
                  <a:pt x="4110" y="9265"/>
                  <a:pt x="4118" y="9297"/>
                  <a:pt x="4124" y="9332"/>
                </a:cubicBezTo>
                <a:cubicBezTo>
                  <a:pt x="4134" y="9370"/>
                  <a:pt x="4144" y="9406"/>
                  <a:pt x="4154" y="9442"/>
                </a:cubicBezTo>
                <a:cubicBezTo>
                  <a:pt x="4160" y="9478"/>
                  <a:pt x="4167" y="9509"/>
                  <a:pt x="4173" y="9543"/>
                </a:cubicBezTo>
                <a:cubicBezTo>
                  <a:pt x="4180" y="9578"/>
                  <a:pt x="4186" y="9609"/>
                  <a:pt x="4193" y="9646"/>
                </a:cubicBezTo>
                <a:lnTo>
                  <a:pt x="7362" y="10000"/>
                </a:lnTo>
                <a:lnTo>
                  <a:pt x="9947" y="7970"/>
                </a:lnTo>
                <a:cubicBezTo>
                  <a:pt x="9926" y="7889"/>
                  <a:pt x="9905" y="7808"/>
                  <a:pt x="9883" y="7726"/>
                </a:cubicBezTo>
                <a:cubicBezTo>
                  <a:pt x="9861" y="7642"/>
                  <a:pt x="9840" y="7558"/>
                  <a:pt x="9818" y="7474"/>
                </a:cubicBezTo>
                <a:cubicBezTo>
                  <a:pt x="9796" y="7393"/>
                  <a:pt x="9775" y="7310"/>
                  <a:pt x="9753" y="7231"/>
                </a:cubicBezTo>
                <a:cubicBezTo>
                  <a:pt x="9727" y="7154"/>
                  <a:pt x="9700" y="7070"/>
                  <a:pt x="9672" y="6992"/>
                </a:cubicBezTo>
                <a:cubicBezTo>
                  <a:pt x="9645" y="6913"/>
                  <a:pt x="9617" y="6834"/>
                  <a:pt x="9590" y="6755"/>
                </a:cubicBezTo>
                <a:cubicBezTo>
                  <a:pt x="9559" y="6677"/>
                  <a:pt x="9529" y="6598"/>
                  <a:pt x="9498" y="6518"/>
                </a:cubicBezTo>
                <a:cubicBezTo>
                  <a:pt x="9466" y="6440"/>
                  <a:pt x="9435" y="6366"/>
                  <a:pt x="9404" y="6290"/>
                </a:cubicBezTo>
                <a:cubicBezTo>
                  <a:pt x="9372" y="6214"/>
                  <a:pt x="9339" y="6137"/>
                  <a:pt x="9307" y="6058"/>
                </a:cubicBezTo>
                <a:cubicBezTo>
                  <a:pt x="9272" y="5984"/>
                  <a:pt x="9237" y="5908"/>
                  <a:pt x="9201" y="5834"/>
                </a:cubicBezTo>
                <a:cubicBezTo>
                  <a:pt x="9166" y="5759"/>
                  <a:pt x="9130" y="5685"/>
                  <a:pt x="9095" y="5610"/>
                </a:cubicBezTo>
                <a:lnTo>
                  <a:pt x="8981" y="5387"/>
                </a:lnTo>
                <a:cubicBezTo>
                  <a:pt x="8942" y="5314"/>
                  <a:pt x="8901" y="5243"/>
                  <a:pt x="8861" y="5170"/>
                </a:cubicBezTo>
                <a:cubicBezTo>
                  <a:pt x="8818" y="5099"/>
                  <a:pt x="8776" y="5029"/>
                  <a:pt x="8733" y="4960"/>
                </a:cubicBezTo>
                <a:cubicBezTo>
                  <a:pt x="8690" y="4891"/>
                  <a:pt x="8649" y="4819"/>
                  <a:pt x="8605" y="4749"/>
                </a:cubicBezTo>
                <a:lnTo>
                  <a:pt x="8473" y="4538"/>
                </a:lnTo>
                <a:cubicBezTo>
                  <a:pt x="8426" y="4471"/>
                  <a:pt x="8377" y="4404"/>
                  <a:pt x="8330" y="4337"/>
                </a:cubicBezTo>
                <a:cubicBezTo>
                  <a:pt x="8281" y="4271"/>
                  <a:pt x="8233" y="4204"/>
                  <a:pt x="8184" y="4138"/>
                </a:cubicBezTo>
                <a:lnTo>
                  <a:pt x="8036" y="3942"/>
                </a:lnTo>
                <a:lnTo>
                  <a:pt x="7883" y="3743"/>
                </a:lnTo>
                <a:lnTo>
                  <a:pt x="7728" y="3563"/>
                </a:lnTo>
                <a:cubicBezTo>
                  <a:pt x="7673" y="3502"/>
                  <a:pt x="7616" y="3442"/>
                  <a:pt x="7560" y="3380"/>
                </a:cubicBezTo>
                <a:lnTo>
                  <a:pt x="7400" y="3196"/>
                </a:lnTo>
                <a:cubicBezTo>
                  <a:pt x="7343" y="3135"/>
                  <a:pt x="7284" y="3075"/>
                  <a:pt x="7227" y="3014"/>
                </a:cubicBezTo>
                <a:cubicBezTo>
                  <a:pt x="7167" y="2958"/>
                  <a:pt x="7110" y="2900"/>
                  <a:pt x="7052" y="2844"/>
                </a:cubicBezTo>
                <a:cubicBezTo>
                  <a:pt x="6995" y="2788"/>
                  <a:pt x="6939" y="2731"/>
                  <a:pt x="6880" y="2675"/>
                </a:cubicBezTo>
                <a:cubicBezTo>
                  <a:pt x="6818" y="2621"/>
                  <a:pt x="6755" y="2568"/>
                  <a:pt x="6692" y="2514"/>
                </a:cubicBezTo>
                <a:lnTo>
                  <a:pt x="6503" y="2357"/>
                </a:lnTo>
                <a:lnTo>
                  <a:pt x="6317" y="2203"/>
                </a:lnTo>
                <a:lnTo>
                  <a:pt x="6122" y="2049"/>
                </a:lnTo>
                <a:lnTo>
                  <a:pt x="5920" y="1903"/>
                </a:lnTo>
                <a:lnTo>
                  <a:pt x="5721" y="1759"/>
                </a:lnTo>
                <a:lnTo>
                  <a:pt x="5518" y="1626"/>
                </a:lnTo>
                <a:lnTo>
                  <a:pt x="5311" y="1495"/>
                </a:lnTo>
                <a:lnTo>
                  <a:pt x="5106" y="1366"/>
                </a:lnTo>
                <a:lnTo>
                  <a:pt x="4882" y="1245"/>
                </a:lnTo>
                <a:lnTo>
                  <a:pt x="4668" y="1130"/>
                </a:lnTo>
                <a:lnTo>
                  <a:pt x="4446" y="1023"/>
                </a:lnTo>
                <a:lnTo>
                  <a:pt x="4219" y="912"/>
                </a:lnTo>
                <a:lnTo>
                  <a:pt x="3998" y="811"/>
                </a:lnTo>
                <a:lnTo>
                  <a:pt x="3771" y="723"/>
                </a:lnTo>
                <a:lnTo>
                  <a:pt x="3537" y="627"/>
                </a:lnTo>
                <a:lnTo>
                  <a:pt x="3301" y="547"/>
                </a:lnTo>
                <a:lnTo>
                  <a:pt x="3061" y="464"/>
                </a:lnTo>
                <a:lnTo>
                  <a:pt x="2826" y="396"/>
                </a:lnTo>
                <a:lnTo>
                  <a:pt x="2580" y="330"/>
                </a:lnTo>
                <a:lnTo>
                  <a:pt x="2332" y="268"/>
                </a:lnTo>
                <a:lnTo>
                  <a:pt x="2089" y="214"/>
                </a:lnTo>
                <a:lnTo>
                  <a:pt x="1843" y="165"/>
                </a:lnTo>
                <a:lnTo>
                  <a:pt x="1586" y="118"/>
                </a:lnTo>
                <a:lnTo>
                  <a:pt x="1331" y="85"/>
                </a:lnTo>
                <a:lnTo>
                  <a:pt x="1080" y="58"/>
                </a:lnTo>
                <a:lnTo>
                  <a:pt x="825" y="41"/>
                </a:lnTo>
                <a:lnTo>
                  <a:pt x="562" y="15"/>
                </a:lnTo>
                <a:lnTo>
                  <a:pt x="301" y="8"/>
                </a:lnTo>
                <a:lnTo>
                  <a:pt x="39" y="3"/>
                </a:lnTo>
                <a:cubicBezTo>
                  <a:pt x="13" y="5"/>
                  <a:pt x="26" y="-2"/>
                  <a:pt x="0" y="0"/>
                </a:cubicBezTo>
                <a:lnTo>
                  <a:pt x="1235" y="3102"/>
                </a:lnTo>
                <a:lnTo>
                  <a:pt x="7" y="6052"/>
                </a:lnTo>
                <a:close/>
              </a:path>
            </a:pathLst>
          </a:custGeom>
          <a:solidFill>
            <a:schemeClr val="accent2"/>
          </a:solidFill>
          <a:ln w="952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sng" strike="noStrike" kern="1200" cap="none" spc="0" normalizeH="0" baseline="0" noProof="0">
              <a:ln>
                <a:noFill/>
              </a:ln>
              <a:solidFill>
                <a:srgbClr val="000000"/>
              </a:solidFill>
              <a:effectLst/>
              <a:uLnTx/>
              <a:uFillTx/>
              <a:latin typeface="Arial"/>
              <a:ea typeface="ＭＳ Ｐゴシック"/>
              <a:cs typeface="+mn-cs"/>
            </a:endParaRPr>
          </a:p>
        </p:txBody>
      </p:sp>
      <p:sp>
        <p:nvSpPr>
          <p:cNvPr id="81" name="Rectangle 286">
            <a:extLst>
              <a:ext uri="{FF2B5EF4-FFF2-40B4-BE49-F238E27FC236}">
                <a16:creationId xmlns:a16="http://schemas.microsoft.com/office/drawing/2014/main" id="{ADE5CF29-69ED-4048-A920-B54A20E8D123}"/>
              </a:ext>
            </a:extLst>
          </p:cNvPr>
          <p:cNvSpPr txBox="1">
            <a:spLocks noChangeArrowheads="1"/>
          </p:cNvSpPr>
          <p:nvPr>
            <p:custDataLst>
              <p:tags r:id="rId6"/>
            </p:custDataLst>
          </p:nvPr>
        </p:nvSpPr>
        <p:spPr bwMode="auto">
          <a:xfrm>
            <a:off x="6468287" y="2401660"/>
            <a:ext cx="1122176" cy="553998"/>
          </a:xfrm>
          <a:prstGeom prst="rect">
            <a:avLst/>
          </a:prstGeom>
          <a:solidFill>
            <a:schemeClr val="accent2"/>
          </a:solidFill>
          <a:ln>
            <a:noFill/>
          </a:ln>
          <a:effectLst/>
        </p:spPr>
        <p:txBody>
          <a:bodyPr vert="horz" wrap="square" lIns="0" tIns="0" rIns="73462"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Voorbereid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van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e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oed</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2" name="Freeform 6">
            <a:extLst>
              <a:ext uri="{FF2B5EF4-FFF2-40B4-BE49-F238E27FC236}">
                <a16:creationId xmlns:a16="http://schemas.microsoft.com/office/drawing/2014/main" id="{39F271C6-317D-4512-92B4-D55F7BA672BF}"/>
              </a:ext>
            </a:extLst>
          </p:cNvPr>
          <p:cNvSpPr>
            <a:spLocks/>
          </p:cNvSpPr>
          <p:nvPr>
            <p:custDataLst>
              <p:tags r:id="rId7"/>
            </p:custDataLst>
          </p:nvPr>
        </p:nvSpPr>
        <p:spPr bwMode="auto">
          <a:xfrm>
            <a:off x="6367058" y="3259550"/>
            <a:ext cx="1727942" cy="2404995"/>
          </a:xfrm>
          <a:custGeom>
            <a:avLst/>
            <a:gdLst>
              <a:gd name="T0" fmla="*/ 2147483647 w 5608"/>
              <a:gd name="T1" fmla="*/ 2147483647 h 4036"/>
              <a:gd name="T2" fmla="*/ 2147483647 w 5608"/>
              <a:gd name="T3" fmla="*/ 2147483647 h 4036"/>
              <a:gd name="T4" fmla="*/ 2147483647 w 5608"/>
              <a:gd name="T5" fmla="*/ 2147483647 h 4036"/>
              <a:gd name="T6" fmla="*/ 2147483647 w 5608"/>
              <a:gd name="T7" fmla="*/ 2147483647 h 4036"/>
              <a:gd name="T8" fmla="*/ 2147483647 w 5608"/>
              <a:gd name="T9" fmla="*/ 2147483647 h 4036"/>
              <a:gd name="T10" fmla="*/ 2147483647 w 5608"/>
              <a:gd name="T11" fmla="*/ 2147483647 h 4036"/>
              <a:gd name="T12" fmla="*/ 2147483647 w 5608"/>
              <a:gd name="T13" fmla="*/ 2147483647 h 4036"/>
              <a:gd name="T14" fmla="*/ 2147483647 w 5608"/>
              <a:gd name="T15" fmla="*/ 2147483647 h 4036"/>
              <a:gd name="T16" fmla="*/ 2147483647 w 5608"/>
              <a:gd name="T17" fmla="*/ 2147483647 h 4036"/>
              <a:gd name="T18" fmla="*/ 2147483647 w 5608"/>
              <a:gd name="T19" fmla="*/ 2147483647 h 4036"/>
              <a:gd name="T20" fmla="*/ 2147483647 w 5608"/>
              <a:gd name="T21" fmla="*/ 2147483647 h 4036"/>
              <a:gd name="T22" fmla="*/ 2147483647 w 5608"/>
              <a:gd name="T23" fmla="*/ 2147483647 h 4036"/>
              <a:gd name="T24" fmla="*/ 2147483647 w 5608"/>
              <a:gd name="T25" fmla="*/ 2147483647 h 4036"/>
              <a:gd name="T26" fmla="*/ 2147483647 w 5608"/>
              <a:gd name="T27" fmla="*/ 2147483647 h 4036"/>
              <a:gd name="T28" fmla="*/ 2147483647 w 5608"/>
              <a:gd name="T29" fmla="*/ 2147483647 h 4036"/>
              <a:gd name="T30" fmla="*/ 2147483647 w 5608"/>
              <a:gd name="T31" fmla="*/ 2147483647 h 4036"/>
              <a:gd name="T32" fmla="*/ 2147483647 w 5608"/>
              <a:gd name="T33" fmla="*/ 2147483647 h 4036"/>
              <a:gd name="T34" fmla="*/ 2147483647 w 5608"/>
              <a:gd name="T35" fmla="*/ 2147483647 h 4036"/>
              <a:gd name="T36" fmla="*/ 2147483647 w 5608"/>
              <a:gd name="T37" fmla="*/ 2147483647 h 4036"/>
              <a:gd name="T38" fmla="*/ 2147483647 w 5608"/>
              <a:gd name="T39" fmla="*/ 2147483647 h 4036"/>
              <a:gd name="T40" fmla="*/ 2147483647 w 5608"/>
              <a:gd name="T41" fmla="*/ 2147483647 h 4036"/>
              <a:gd name="T42" fmla="*/ 2147483647 w 5608"/>
              <a:gd name="T43" fmla="*/ 2147483647 h 4036"/>
              <a:gd name="T44" fmla="*/ 2147483647 w 5608"/>
              <a:gd name="T45" fmla="*/ 2147483647 h 4036"/>
              <a:gd name="T46" fmla="*/ 2147483647 w 5608"/>
              <a:gd name="T47" fmla="*/ 2147483647 h 4036"/>
              <a:gd name="T48" fmla="*/ 2147483647 w 5608"/>
              <a:gd name="T49" fmla="*/ 2147483647 h 4036"/>
              <a:gd name="T50" fmla="*/ 2147483647 w 5608"/>
              <a:gd name="T51" fmla="*/ 2147483647 h 4036"/>
              <a:gd name="T52" fmla="*/ 2147483647 w 5608"/>
              <a:gd name="T53" fmla="*/ 2147483647 h 4036"/>
              <a:gd name="T54" fmla="*/ 2147483647 w 5608"/>
              <a:gd name="T55" fmla="*/ 2147483647 h 4036"/>
              <a:gd name="T56" fmla="*/ 2147483647 w 5608"/>
              <a:gd name="T57" fmla="*/ 2147483647 h 4036"/>
              <a:gd name="T58" fmla="*/ 2147483647 w 5608"/>
              <a:gd name="T59" fmla="*/ 2147483647 h 4036"/>
              <a:gd name="T60" fmla="*/ 2147483647 w 5608"/>
              <a:gd name="T61" fmla="*/ 2147483647 h 4036"/>
              <a:gd name="T62" fmla="*/ 2147483647 w 5608"/>
              <a:gd name="T63" fmla="*/ 2147483647 h 4036"/>
              <a:gd name="T64" fmla="*/ 2147483647 w 5608"/>
              <a:gd name="T65" fmla="*/ 2147483647 h 4036"/>
              <a:gd name="T66" fmla="*/ 2147483647 w 5608"/>
              <a:gd name="T67" fmla="*/ 2147483647 h 4036"/>
              <a:gd name="T68" fmla="*/ 2147483647 w 5608"/>
              <a:gd name="T69" fmla="*/ 2147483647 h 4036"/>
              <a:gd name="T70" fmla="*/ 2147483647 w 5608"/>
              <a:gd name="T71" fmla="*/ 2147483647 h 4036"/>
              <a:gd name="T72" fmla="*/ 2147483647 w 5608"/>
              <a:gd name="T73" fmla="*/ 2147483647 h 4036"/>
              <a:gd name="T74" fmla="*/ 2147483647 w 5608"/>
              <a:gd name="T75" fmla="*/ 2147483647 h 4036"/>
              <a:gd name="T76" fmla="*/ 2147483647 w 5608"/>
              <a:gd name="T77" fmla="*/ 2147483647 h 4036"/>
              <a:gd name="T78" fmla="*/ 2147483647 w 5608"/>
              <a:gd name="T79" fmla="*/ 2147483647 h 4036"/>
              <a:gd name="T80" fmla="*/ 2147483647 w 5608"/>
              <a:gd name="T81" fmla="*/ 2147483647 h 4036"/>
              <a:gd name="T82" fmla="*/ 2147483647 w 5608"/>
              <a:gd name="T83" fmla="*/ 2147483647 h 4036"/>
              <a:gd name="T84" fmla="*/ 2147483647 w 5608"/>
              <a:gd name="T85" fmla="*/ 2147483647 h 4036"/>
              <a:gd name="T86" fmla="*/ 2147483647 w 5608"/>
              <a:gd name="T87" fmla="*/ 2147483647 h 4036"/>
              <a:gd name="T88" fmla="*/ 2147483647 w 5608"/>
              <a:gd name="T89" fmla="*/ 2147483647 h 4036"/>
              <a:gd name="T90" fmla="*/ 2147483647 w 5608"/>
              <a:gd name="T91" fmla="*/ 2147483647 h 4036"/>
              <a:gd name="T92" fmla="*/ 2147483647 w 5608"/>
              <a:gd name="T93" fmla="*/ 2147483647 h 4036"/>
              <a:gd name="T94" fmla="*/ 2147483647 w 5608"/>
              <a:gd name="T95" fmla="*/ 2147483647 h 4036"/>
              <a:gd name="T96" fmla="*/ 2147483647 w 5608"/>
              <a:gd name="T97" fmla="*/ 2147483647 h 4036"/>
              <a:gd name="T98" fmla="*/ 2147483647 w 5608"/>
              <a:gd name="T99" fmla="*/ 2147483647 h 4036"/>
              <a:gd name="T100" fmla="*/ 2147483647 w 5608"/>
              <a:gd name="T101" fmla="*/ 2147483647 h 4036"/>
              <a:gd name="T102" fmla="*/ 2147483647 w 5608"/>
              <a:gd name="T103" fmla="*/ 2147483647 h 4036"/>
              <a:gd name="T104" fmla="*/ 2147483647 w 5608"/>
              <a:gd name="T105" fmla="*/ 2147483647 h 40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08"/>
              <a:gd name="T160" fmla="*/ 0 h 4036"/>
              <a:gd name="T161" fmla="*/ 5608 w 5608"/>
              <a:gd name="T162" fmla="*/ 4036 h 4036"/>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1765 w 10000"/>
              <a:gd name="connsiteY72" fmla="*/ 3662 h 10000"/>
              <a:gd name="connsiteX73" fmla="*/ 0 w 10000"/>
              <a:gd name="connsiteY73" fmla="*/ 6085 h 10000"/>
              <a:gd name="connsiteX74" fmla="*/ 209 w 10000"/>
              <a:gd name="connsiteY74" fmla="*/ 9512 h 10000"/>
              <a:gd name="connsiteX75" fmla="*/ 344 w 10000"/>
              <a:gd name="connsiteY75" fmla="*/ 9569 h 10000"/>
              <a:gd name="connsiteX76" fmla="*/ 481 w 10000"/>
              <a:gd name="connsiteY76" fmla="*/ 9623 h 10000"/>
              <a:gd name="connsiteX77" fmla="*/ 621 w 10000"/>
              <a:gd name="connsiteY77" fmla="*/ 9673 h 10000"/>
              <a:gd name="connsiteX78" fmla="*/ 758 w 10000"/>
              <a:gd name="connsiteY78" fmla="*/ 9720 h 10000"/>
              <a:gd name="connsiteX79" fmla="*/ 899 w 10000"/>
              <a:gd name="connsiteY79" fmla="*/ 9765 h 10000"/>
              <a:gd name="connsiteX80" fmla="*/ 1040 w 10000"/>
              <a:gd name="connsiteY80" fmla="*/ 9804 h 10000"/>
              <a:gd name="connsiteX81" fmla="*/ 1182 w 10000"/>
              <a:gd name="connsiteY81" fmla="*/ 9839 h 10000"/>
              <a:gd name="connsiteX82" fmla="*/ 1325 w 10000"/>
              <a:gd name="connsiteY82" fmla="*/ 9874 h 10000"/>
              <a:gd name="connsiteX83" fmla="*/ 1471 w 10000"/>
              <a:gd name="connsiteY83" fmla="*/ 9903 h 10000"/>
              <a:gd name="connsiteX84" fmla="*/ 1614 w 10000"/>
              <a:gd name="connsiteY84" fmla="*/ 9926 h 10000"/>
              <a:gd name="connsiteX85" fmla="*/ 1760 w 10000"/>
              <a:gd name="connsiteY85" fmla="*/ 9948 h 10000"/>
              <a:gd name="connsiteX86" fmla="*/ 1906 w 10000"/>
              <a:gd name="connsiteY86" fmla="*/ 9965 h 10000"/>
              <a:gd name="connsiteX87" fmla="*/ 2052 w 10000"/>
              <a:gd name="connsiteY87" fmla="*/ 9980 h 10000"/>
              <a:gd name="connsiteX88" fmla="*/ 2202 w 10000"/>
              <a:gd name="connsiteY88" fmla="*/ 9990 h 10000"/>
              <a:gd name="connsiteX89" fmla="*/ 2350 w 10000"/>
              <a:gd name="connsiteY89" fmla="*/ 9995 h 10000"/>
              <a:gd name="connsiteX90" fmla="*/ 2498 w 10000"/>
              <a:gd name="connsiteY90" fmla="*/ 10000 h 10000"/>
              <a:gd name="connsiteX91" fmla="*/ 2677 w 10000"/>
              <a:gd name="connsiteY91" fmla="*/ 9995 h 10000"/>
              <a:gd name="connsiteX92" fmla="*/ 2850 w 10000"/>
              <a:gd name="connsiteY92" fmla="*/ 9988 h 10000"/>
              <a:gd name="connsiteX93" fmla="*/ 3024 w 10000"/>
              <a:gd name="connsiteY93" fmla="*/ 9975 h 10000"/>
              <a:gd name="connsiteX94" fmla="*/ 3195 w 10000"/>
              <a:gd name="connsiteY94" fmla="*/ 9953 h 10000"/>
              <a:gd name="connsiteX95" fmla="*/ 3368 w 10000"/>
              <a:gd name="connsiteY95" fmla="*/ 9931 h 10000"/>
              <a:gd name="connsiteX96" fmla="*/ 3538 w 10000"/>
              <a:gd name="connsiteY96" fmla="*/ 9898 h 10000"/>
              <a:gd name="connsiteX97" fmla="*/ 3709 w 10000"/>
              <a:gd name="connsiteY97" fmla="*/ 9866 h 10000"/>
              <a:gd name="connsiteX98" fmla="*/ 3877 w 10000"/>
              <a:gd name="connsiteY98" fmla="*/ 9824 h 10000"/>
              <a:gd name="connsiteX99" fmla="*/ 4042 w 10000"/>
              <a:gd name="connsiteY99" fmla="*/ 9779 h 10000"/>
              <a:gd name="connsiteX100" fmla="*/ 4210 w 10000"/>
              <a:gd name="connsiteY100" fmla="*/ 9730 h 10000"/>
              <a:gd name="connsiteX101" fmla="*/ 4372 w 10000"/>
              <a:gd name="connsiteY101" fmla="*/ 9673 h 10000"/>
              <a:gd name="connsiteX102" fmla="*/ 4536 w 10000"/>
              <a:gd name="connsiteY102" fmla="*/ 9616 h 10000"/>
              <a:gd name="connsiteX103" fmla="*/ 4697 w 10000"/>
              <a:gd name="connsiteY103" fmla="*/ 9552 h 10000"/>
              <a:gd name="connsiteX104" fmla="*/ 4857 w 10000"/>
              <a:gd name="connsiteY104" fmla="*/ 9482 h 10000"/>
              <a:gd name="connsiteX105" fmla="*/ 5014 w 10000"/>
              <a:gd name="connsiteY105" fmla="*/ 9405 h 10000"/>
              <a:gd name="connsiteX106" fmla="*/ 5171 w 10000"/>
              <a:gd name="connsiteY106" fmla="*/ 9329 h 10000"/>
              <a:gd name="connsiteX107" fmla="*/ 5326 w 10000"/>
              <a:gd name="connsiteY107" fmla="*/ 9244 h 10000"/>
              <a:gd name="connsiteX108" fmla="*/ 5480 w 10000"/>
              <a:gd name="connsiteY108" fmla="*/ 9158 h 10000"/>
              <a:gd name="connsiteX109" fmla="*/ 5631 w 10000"/>
              <a:gd name="connsiteY109" fmla="*/ 9063 h 10000"/>
              <a:gd name="connsiteX110" fmla="*/ 5781 w 10000"/>
              <a:gd name="connsiteY110" fmla="*/ 8967 h 10000"/>
              <a:gd name="connsiteX111" fmla="*/ 5931 w 10000"/>
              <a:gd name="connsiteY111" fmla="*/ 8865 h 10000"/>
              <a:gd name="connsiteX112" fmla="*/ 6075 w 10000"/>
              <a:gd name="connsiteY112" fmla="*/ 8759 h 10000"/>
              <a:gd name="connsiteX113" fmla="*/ 6221 w 10000"/>
              <a:gd name="connsiteY113" fmla="*/ 8652 h 10000"/>
              <a:gd name="connsiteX114" fmla="*/ 6364 w 10000"/>
              <a:gd name="connsiteY114" fmla="*/ 8536 h 10000"/>
              <a:gd name="connsiteX115" fmla="*/ 6505 w 10000"/>
              <a:gd name="connsiteY115" fmla="*/ 8417 h 10000"/>
              <a:gd name="connsiteX116" fmla="*/ 6642 w 10000"/>
              <a:gd name="connsiteY116" fmla="*/ 8295 h 10000"/>
              <a:gd name="connsiteX117" fmla="*/ 6780 w 10000"/>
              <a:gd name="connsiteY117" fmla="*/ 8169 h 10000"/>
              <a:gd name="connsiteX118" fmla="*/ 6913 w 10000"/>
              <a:gd name="connsiteY118" fmla="*/ 8040 h 10000"/>
              <a:gd name="connsiteX119" fmla="*/ 7045 w 10000"/>
              <a:gd name="connsiteY119" fmla="*/ 7904 h 10000"/>
              <a:gd name="connsiteX120" fmla="*/ 7175 w 10000"/>
              <a:gd name="connsiteY120" fmla="*/ 7768 h 10000"/>
              <a:gd name="connsiteX121" fmla="*/ 7304 w 10000"/>
              <a:gd name="connsiteY121" fmla="*/ 7624 h 10000"/>
              <a:gd name="connsiteX122" fmla="*/ 7429 w 10000"/>
              <a:gd name="connsiteY122" fmla="*/ 7480 h 10000"/>
              <a:gd name="connsiteX123" fmla="*/ 7552 w 10000"/>
              <a:gd name="connsiteY123" fmla="*/ 7329 h 10000"/>
              <a:gd name="connsiteX124" fmla="*/ 7673 w 10000"/>
              <a:gd name="connsiteY124" fmla="*/ 7178 h 10000"/>
              <a:gd name="connsiteX125" fmla="*/ 7792 w 10000"/>
              <a:gd name="connsiteY125" fmla="*/ 7024 h 10000"/>
              <a:gd name="connsiteX126" fmla="*/ 7907 w 10000"/>
              <a:gd name="connsiteY126" fmla="*/ 6861 h 10000"/>
              <a:gd name="connsiteX127" fmla="*/ 8022 w 10000"/>
              <a:gd name="connsiteY127" fmla="*/ 6697 h 10000"/>
              <a:gd name="connsiteX128" fmla="*/ 8133 w 10000"/>
              <a:gd name="connsiteY128" fmla="*/ 6534 h 10000"/>
              <a:gd name="connsiteX129" fmla="*/ 8240 w 10000"/>
              <a:gd name="connsiteY129" fmla="*/ 6365 h 10000"/>
              <a:gd name="connsiteX130" fmla="*/ 8347 w 10000"/>
              <a:gd name="connsiteY130" fmla="*/ 6189 h 10000"/>
              <a:gd name="connsiteX131" fmla="*/ 8450 w 10000"/>
              <a:gd name="connsiteY131" fmla="*/ 6016 h 10000"/>
              <a:gd name="connsiteX132" fmla="*/ 8552 w 10000"/>
              <a:gd name="connsiteY132" fmla="*/ 5835 h 10000"/>
              <a:gd name="connsiteX133" fmla="*/ 8650 w 10000"/>
              <a:gd name="connsiteY133" fmla="*/ 5652 h 10000"/>
              <a:gd name="connsiteX134" fmla="*/ 8745 w 10000"/>
              <a:gd name="connsiteY134" fmla="*/ 5468 h 10000"/>
              <a:gd name="connsiteX135" fmla="*/ 8837 w 10000"/>
              <a:gd name="connsiteY135" fmla="*/ 5278 h 10000"/>
              <a:gd name="connsiteX136" fmla="*/ 8927 w 10000"/>
              <a:gd name="connsiteY136" fmla="*/ 5089 h 10000"/>
              <a:gd name="connsiteX137" fmla="*/ 9014 w 10000"/>
              <a:gd name="connsiteY137" fmla="*/ 4893 h 10000"/>
              <a:gd name="connsiteX138" fmla="*/ 9098 w 10000"/>
              <a:gd name="connsiteY138" fmla="*/ 4698 h 10000"/>
              <a:gd name="connsiteX139" fmla="*/ 9178 w 10000"/>
              <a:gd name="connsiteY139" fmla="*/ 4500 h 10000"/>
              <a:gd name="connsiteX140" fmla="*/ 9256 w 10000"/>
              <a:gd name="connsiteY140" fmla="*/ 4294 h 10000"/>
              <a:gd name="connsiteX141" fmla="*/ 9330 w 10000"/>
              <a:gd name="connsiteY141" fmla="*/ 4091 h 10000"/>
              <a:gd name="connsiteX142" fmla="*/ 9401 w 10000"/>
              <a:gd name="connsiteY142" fmla="*/ 3885 h 10000"/>
              <a:gd name="connsiteX143" fmla="*/ 9470 w 10000"/>
              <a:gd name="connsiteY143" fmla="*/ 3674 h 10000"/>
              <a:gd name="connsiteX144" fmla="*/ 9535 w 10000"/>
              <a:gd name="connsiteY144" fmla="*/ 3464 h 10000"/>
              <a:gd name="connsiteX145" fmla="*/ 9599 w 10000"/>
              <a:gd name="connsiteY145" fmla="*/ 3248 h 10000"/>
              <a:gd name="connsiteX146" fmla="*/ 9656 w 10000"/>
              <a:gd name="connsiteY146" fmla="*/ 3030 h 10000"/>
              <a:gd name="connsiteX147" fmla="*/ 9711 w 10000"/>
              <a:gd name="connsiteY147" fmla="*/ 2815 h 10000"/>
              <a:gd name="connsiteX148" fmla="*/ 9763 w 10000"/>
              <a:gd name="connsiteY148" fmla="*/ 2592 h 10000"/>
              <a:gd name="connsiteX149" fmla="*/ 9813 w 10000"/>
              <a:gd name="connsiteY149" fmla="*/ 2369 h 10000"/>
              <a:gd name="connsiteX150" fmla="*/ 9856 w 10000"/>
              <a:gd name="connsiteY150" fmla="*/ 2143 h 10000"/>
              <a:gd name="connsiteX151" fmla="*/ 9898 w 10000"/>
              <a:gd name="connsiteY151" fmla="*/ 1918 h 10000"/>
              <a:gd name="connsiteX152" fmla="*/ 9936 w 10000"/>
              <a:gd name="connsiteY152" fmla="*/ 1690 h 10000"/>
              <a:gd name="connsiteX153" fmla="*/ 9970 w 10000"/>
              <a:gd name="connsiteY153" fmla="*/ 1457 h 10000"/>
              <a:gd name="connsiteX154" fmla="*/ 10000 w 10000"/>
              <a:gd name="connsiteY154" fmla="*/ 1222 h 10000"/>
              <a:gd name="connsiteX155" fmla="*/ 7611 w 10000"/>
              <a:gd name="connsiteY155" fmla="*/ 1876 h 10000"/>
              <a:gd name="connsiteX156" fmla="*/ 5615 w 10000"/>
              <a:gd name="connsiteY15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0 w 10000"/>
              <a:gd name="connsiteY72" fmla="*/ 6085 h 10000"/>
              <a:gd name="connsiteX73" fmla="*/ 209 w 10000"/>
              <a:gd name="connsiteY73" fmla="*/ 9512 h 10000"/>
              <a:gd name="connsiteX74" fmla="*/ 344 w 10000"/>
              <a:gd name="connsiteY74" fmla="*/ 9569 h 10000"/>
              <a:gd name="connsiteX75" fmla="*/ 481 w 10000"/>
              <a:gd name="connsiteY75" fmla="*/ 9623 h 10000"/>
              <a:gd name="connsiteX76" fmla="*/ 621 w 10000"/>
              <a:gd name="connsiteY76" fmla="*/ 9673 h 10000"/>
              <a:gd name="connsiteX77" fmla="*/ 758 w 10000"/>
              <a:gd name="connsiteY77" fmla="*/ 9720 h 10000"/>
              <a:gd name="connsiteX78" fmla="*/ 899 w 10000"/>
              <a:gd name="connsiteY78" fmla="*/ 9765 h 10000"/>
              <a:gd name="connsiteX79" fmla="*/ 1040 w 10000"/>
              <a:gd name="connsiteY79" fmla="*/ 9804 h 10000"/>
              <a:gd name="connsiteX80" fmla="*/ 1182 w 10000"/>
              <a:gd name="connsiteY80" fmla="*/ 9839 h 10000"/>
              <a:gd name="connsiteX81" fmla="*/ 1325 w 10000"/>
              <a:gd name="connsiteY81" fmla="*/ 9874 h 10000"/>
              <a:gd name="connsiteX82" fmla="*/ 1471 w 10000"/>
              <a:gd name="connsiteY82" fmla="*/ 9903 h 10000"/>
              <a:gd name="connsiteX83" fmla="*/ 1614 w 10000"/>
              <a:gd name="connsiteY83" fmla="*/ 9926 h 10000"/>
              <a:gd name="connsiteX84" fmla="*/ 1760 w 10000"/>
              <a:gd name="connsiteY84" fmla="*/ 9948 h 10000"/>
              <a:gd name="connsiteX85" fmla="*/ 1906 w 10000"/>
              <a:gd name="connsiteY85" fmla="*/ 9965 h 10000"/>
              <a:gd name="connsiteX86" fmla="*/ 2052 w 10000"/>
              <a:gd name="connsiteY86" fmla="*/ 9980 h 10000"/>
              <a:gd name="connsiteX87" fmla="*/ 2202 w 10000"/>
              <a:gd name="connsiteY87" fmla="*/ 9990 h 10000"/>
              <a:gd name="connsiteX88" fmla="*/ 2350 w 10000"/>
              <a:gd name="connsiteY88" fmla="*/ 9995 h 10000"/>
              <a:gd name="connsiteX89" fmla="*/ 2498 w 10000"/>
              <a:gd name="connsiteY89" fmla="*/ 10000 h 10000"/>
              <a:gd name="connsiteX90" fmla="*/ 2677 w 10000"/>
              <a:gd name="connsiteY90" fmla="*/ 9995 h 10000"/>
              <a:gd name="connsiteX91" fmla="*/ 2850 w 10000"/>
              <a:gd name="connsiteY91" fmla="*/ 9988 h 10000"/>
              <a:gd name="connsiteX92" fmla="*/ 3024 w 10000"/>
              <a:gd name="connsiteY92" fmla="*/ 9975 h 10000"/>
              <a:gd name="connsiteX93" fmla="*/ 3195 w 10000"/>
              <a:gd name="connsiteY93" fmla="*/ 9953 h 10000"/>
              <a:gd name="connsiteX94" fmla="*/ 3368 w 10000"/>
              <a:gd name="connsiteY94" fmla="*/ 9931 h 10000"/>
              <a:gd name="connsiteX95" fmla="*/ 3538 w 10000"/>
              <a:gd name="connsiteY95" fmla="*/ 9898 h 10000"/>
              <a:gd name="connsiteX96" fmla="*/ 3709 w 10000"/>
              <a:gd name="connsiteY96" fmla="*/ 9866 h 10000"/>
              <a:gd name="connsiteX97" fmla="*/ 3877 w 10000"/>
              <a:gd name="connsiteY97" fmla="*/ 9824 h 10000"/>
              <a:gd name="connsiteX98" fmla="*/ 4042 w 10000"/>
              <a:gd name="connsiteY98" fmla="*/ 9779 h 10000"/>
              <a:gd name="connsiteX99" fmla="*/ 4210 w 10000"/>
              <a:gd name="connsiteY99" fmla="*/ 9730 h 10000"/>
              <a:gd name="connsiteX100" fmla="*/ 4372 w 10000"/>
              <a:gd name="connsiteY100" fmla="*/ 9673 h 10000"/>
              <a:gd name="connsiteX101" fmla="*/ 4536 w 10000"/>
              <a:gd name="connsiteY101" fmla="*/ 9616 h 10000"/>
              <a:gd name="connsiteX102" fmla="*/ 4697 w 10000"/>
              <a:gd name="connsiteY102" fmla="*/ 9552 h 10000"/>
              <a:gd name="connsiteX103" fmla="*/ 4857 w 10000"/>
              <a:gd name="connsiteY103" fmla="*/ 9482 h 10000"/>
              <a:gd name="connsiteX104" fmla="*/ 5014 w 10000"/>
              <a:gd name="connsiteY104" fmla="*/ 9405 h 10000"/>
              <a:gd name="connsiteX105" fmla="*/ 5171 w 10000"/>
              <a:gd name="connsiteY105" fmla="*/ 9329 h 10000"/>
              <a:gd name="connsiteX106" fmla="*/ 5326 w 10000"/>
              <a:gd name="connsiteY106" fmla="*/ 9244 h 10000"/>
              <a:gd name="connsiteX107" fmla="*/ 5480 w 10000"/>
              <a:gd name="connsiteY107" fmla="*/ 9158 h 10000"/>
              <a:gd name="connsiteX108" fmla="*/ 5631 w 10000"/>
              <a:gd name="connsiteY108" fmla="*/ 9063 h 10000"/>
              <a:gd name="connsiteX109" fmla="*/ 5781 w 10000"/>
              <a:gd name="connsiteY109" fmla="*/ 8967 h 10000"/>
              <a:gd name="connsiteX110" fmla="*/ 5931 w 10000"/>
              <a:gd name="connsiteY110" fmla="*/ 8865 h 10000"/>
              <a:gd name="connsiteX111" fmla="*/ 6075 w 10000"/>
              <a:gd name="connsiteY111" fmla="*/ 8759 h 10000"/>
              <a:gd name="connsiteX112" fmla="*/ 6221 w 10000"/>
              <a:gd name="connsiteY112" fmla="*/ 8652 h 10000"/>
              <a:gd name="connsiteX113" fmla="*/ 6364 w 10000"/>
              <a:gd name="connsiteY113" fmla="*/ 8536 h 10000"/>
              <a:gd name="connsiteX114" fmla="*/ 6505 w 10000"/>
              <a:gd name="connsiteY114" fmla="*/ 8417 h 10000"/>
              <a:gd name="connsiteX115" fmla="*/ 6642 w 10000"/>
              <a:gd name="connsiteY115" fmla="*/ 8295 h 10000"/>
              <a:gd name="connsiteX116" fmla="*/ 6780 w 10000"/>
              <a:gd name="connsiteY116" fmla="*/ 8169 h 10000"/>
              <a:gd name="connsiteX117" fmla="*/ 6913 w 10000"/>
              <a:gd name="connsiteY117" fmla="*/ 8040 h 10000"/>
              <a:gd name="connsiteX118" fmla="*/ 7045 w 10000"/>
              <a:gd name="connsiteY118" fmla="*/ 7904 h 10000"/>
              <a:gd name="connsiteX119" fmla="*/ 7175 w 10000"/>
              <a:gd name="connsiteY119" fmla="*/ 7768 h 10000"/>
              <a:gd name="connsiteX120" fmla="*/ 7304 w 10000"/>
              <a:gd name="connsiteY120" fmla="*/ 7624 h 10000"/>
              <a:gd name="connsiteX121" fmla="*/ 7429 w 10000"/>
              <a:gd name="connsiteY121" fmla="*/ 7480 h 10000"/>
              <a:gd name="connsiteX122" fmla="*/ 7552 w 10000"/>
              <a:gd name="connsiteY122" fmla="*/ 7329 h 10000"/>
              <a:gd name="connsiteX123" fmla="*/ 7673 w 10000"/>
              <a:gd name="connsiteY123" fmla="*/ 7178 h 10000"/>
              <a:gd name="connsiteX124" fmla="*/ 7792 w 10000"/>
              <a:gd name="connsiteY124" fmla="*/ 7024 h 10000"/>
              <a:gd name="connsiteX125" fmla="*/ 7907 w 10000"/>
              <a:gd name="connsiteY125" fmla="*/ 6861 h 10000"/>
              <a:gd name="connsiteX126" fmla="*/ 8022 w 10000"/>
              <a:gd name="connsiteY126" fmla="*/ 6697 h 10000"/>
              <a:gd name="connsiteX127" fmla="*/ 8133 w 10000"/>
              <a:gd name="connsiteY127" fmla="*/ 6534 h 10000"/>
              <a:gd name="connsiteX128" fmla="*/ 8240 w 10000"/>
              <a:gd name="connsiteY128" fmla="*/ 6365 h 10000"/>
              <a:gd name="connsiteX129" fmla="*/ 8347 w 10000"/>
              <a:gd name="connsiteY129" fmla="*/ 6189 h 10000"/>
              <a:gd name="connsiteX130" fmla="*/ 8450 w 10000"/>
              <a:gd name="connsiteY130" fmla="*/ 6016 h 10000"/>
              <a:gd name="connsiteX131" fmla="*/ 8552 w 10000"/>
              <a:gd name="connsiteY131" fmla="*/ 5835 h 10000"/>
              <a:gd name="connsiteX132" fmla="*/ 8650 w 10000"/>
              <a:gd name="connsiteY132" fmla="*/ 5652 h 10000"/>
              <a:gd name="connsiteX133" fmla="*/ 8745 w 10000"/>
              <a:gd name="connsiteY133" fmla="*/ 5468 h 10000"/>
              <a:gd name="connsiteX134" fmla="*/ 8837 w 10000"/>
              <a:gd name="connsiteY134" fmla="*/ 5278 h 10000"/>
              <a:gd name="connsiteX135" fmla="*/ 8927 w 10000"/>
              <a:gd name="connsiteY135" fmla="*/ 5089 h 10000"/>
              <a:gd name="connsiteX136" fmla="*/ 9014 w 10000"/>
              <a:gd name="connsiteY136" fmla="*/ 4893 h 10000"/>
              <a:gd name="connsiteX137" fmla="*/ 9098 w 10000"/>
              <a:gd name="connsiteY137" fmla="*/ 4698 h 10000"/>
              <a:gd name="connsiteX138" fmla="*/ 9178 w 10000"/>
              <a:gd name="connsiteY138" fmla="*/ 4500 h 10000"/>
              <a:gd name="connsiteX139" fmla="*/ 9256 w 10000"/>
              <a:gd name="connsiteY139" fmla="*/ 4294 h 10000"/>
              <a:gd name="connsiteX140" fmla="*/ 9330 w 10000"/>
              <a:gd name="connsiteY140" fmla="*/ 4091 h 10000"/>
              <a:gd name="connsiteX141" fmla="*/ 9401 w 10000"/>
              <a:gd name="connsiteY141" fmla="*/ 3885 h 10000"/>
              <a:gd name="connsiteX142" fmla="*/ 9470 w 10000"/>
              <a:gd name="connsiteY142" fmla="*/ 3674 h 10000"/>
              <a:gd name="connsiteX143" fmla="*/ 9535 w 10000"/>
              <a:gd name="connsiteY143" fmla="*/ 3464 h 10000"/>
              <a:gd name="connsiteX144" fmla="*/ 9599 w 10000"/>
              <a:gd name="connsiteY144" fmla="*/ 3248 h 10000"/>
              <a:gd name="connsiteX145" fmla="*/ 9656 w 10000"/>
              <a:gd name="connsiteY145" fmla="*/ 3030 h 10000"/>
              <a:gd name="connsiteX146" fmla="*/ 9711 w 10000"/>
              <a:gd name="connsiteY146" fmla="*/ 2815 h 10000"/>
              <a:gd name="connsiteX147" fmla="*/ 9763 w 10000"/>
              <a:gd name="connsiteY147" fmla="*/ 2592 h 10000"/>
              <a:gd name="connsiteX148" fmla="*/ 9813 w 10000"/>
              <a:gd name="connsiteY148" fmla="*/ 2369 h 10000"/>
              <a:gd name="connsiteX149" fmla="*/ 9856 w 10000"/>
              <a:gd name="connsiteY149" fmla="*/ 2143 h 10000"/>
              <a:gd name="connsiteX150" fmla="*/ 9898 w 10000"/>
              <a:gd name="connsiteY150" fmla="*/ 1918 h 10000"/>
              <a:gd name="connsiteX151" fmla="*/ 9936 w 10000"/>
              <a:gd name="connsiteY151" fmla="*/ 1690 h 10000"/>
              <a:gd name="connsiteX152" fmla="*/ 9970 w 10000"/>
              <a:gd name="connsiteY152" fmla="*/ 1457 h 10000"/>
              <a:gd name="connsiteX153" fmla="*/ 10000 w 10000"/>
              <a:gd name="connsiteY153" fmla="*/ 1222 h 10000"/>
              <a:gd name="connsiteX154" fmla="*/ 7611 w 10000"/>
              <a:gd name="connsiteY154" fmla="*/ 1876 h 10000"/>
              <a:gd name="connsiteX155" fmla="*/ 5615 w 10000"/>
              <a:gd name="connsiteY15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0 w 10000"/>
              <a:gd name="connsiteY71" fmla="*/ 6085 h 10000"/>
              <a:gd name="connsiteX72" fmla="*/ 209 w 10000"/>
              <a:gd name="connsiteY72" fmla="*/ 9512 h 10000"/>
              <a:gd name="connsiteX73" fmla="*/ 344 w 10000"/>
              <a:gd name="connsiteY73" fmla="*/ 9569 h 10000"/>
              <a:gd name="connsiteX74" fmla="*/ 481 w 10000"/>
              <a:gd name="connsiteY74" fmla="*/ 9623 h 10000"/>
              <a:gd name="connsiteX75" fmla="*/ 621 w 10000"/>
              <a:gd name="connsiteY75" fmla="*/ 9673 h 10000"/>
              <a:gd name="connsiteX76" fmla="*/ 758 w 10000"/>
              <a:gd name="connsiteY76" fmla="*/ 9720 h 10000"/>
              <a:gd name="connsiteX77" fmla="*/ 899 w 10000"/>
              <a:gd name="connsiteY77" fmla="*/ 9765 h 10000"/>
              <a:gd name="connsiteX78" fmla="*/ 1040 w 10000"/>
              <a:gd name="connsiteY78" fmla="*/ 9804 h 10000"/>
              <a:gd name="connsiteX79" fmla="*/ 1182 w 10000"/>
              <a:gd name="connsiteY79" fmla="*/ 9839 h 10000"/>
              <a:gd name="connsiteX80" fmla="*/ 1325 w 10000"/>
              <a:gd name="connsiteY80" fmla="*/ 9874 h 10000"/>
              <a:gd name="connsiteX81" fmla="*/ 1471 w 10000"/>
              <a:gd name="connsiteY81" fmla="*/ 9903 h 10000"/>
              <a:gd name="connsiteX82" fmla="*/ 1614 w 10000"/>
              <a:gd name="connsiteY82" fmla="*/ 9926 h 10000"/>
              <a:gd name="connsiteX83" fmla="*/ 1760 w 10000"/>
              <a:gd name="connsiteY83" fmla="*/ 9948 h 10000"/>
              <a:gd name="connsiteX84" fmla="*/ 1906 w 10000"/>
              <a:gd name="connsiteY84" fmla="*/ 9965 h 10000"/>
              <a:gd name="connsiteX85" fmla="*/ 2052 w 10000"/>
              <a:gd name="connsiteY85" fmla="*/ 9980 h 10000"/>
              <a:gd name="connsiteX86" fmla="*/ 2202 w 10000"/>
              <a:gd name="connsiteY86" fmla="*/ 9990 h 10000"/>
              <a:gd name="connsiteX87" fmla="*/ 2350 w 10000"/>
              <a:gd name="connsiteY87" fmla="*/ 9995 h 10000"/>
              <a:gd name="connsiteX88" fmla="*/ 2498 w 10000"/>
              <a:gd name="connsiteY88" fmla="*/ 10000 h 10000"/>
              <a:gd name="connsiteX89" fmla="*/ 2677 w 10000"/>
              <a:gd name="connsiteY89" fmla="*/ 9995 h 10000"/>
              <a:gd name="connsiteX90" fmla="*/ 2850 w 10000"/>
              <a:gd name="connsiteY90" fmla="*/ 9988 h 10000"/>
              <a:gd name="connsiteX91" fmla="*/ 3024 w 10000"/>
              <a:gd name="connsiteY91" fmla="*/ 9975 h 10000"/>
              <a:gd name="connsiteX92" fmla="*/ 3195 w 10000"/>
              <a:gd name="connsiteY92" fmla="*/ 9953 h 10000"/>
              <a:gd name="connsiteX93" fmla="*/ 3368 w 10000"/>
              <a:gd name="connsiteY93" fmla="*/ 9931 h 10000"/>
              <a:gd name="connsiteX94" fmla="*/ 3538 w 10000"/>
              <a:gd name="connsiteY94" fmla="*/ 9898 h 10000"/>
              <a:gd name="connsiteX95" fmla="*/ 3709 w 10000"/>
              <a:gd name="connsiteY95" fmla="*/ 9866 h 10000"/>
              <a:gd name="connsiteX96" fmla="*/ 3877 w 10000"/>
              <a:gd name="connsiteY96" fmla="*/ 9824 h 10000"/>
              <a:gd name="connsiteX97" fmla="*/ 4042 w 10000"/>
              <a:gd name="connsiteY97" fmla="*/ 9779 h 10000"/>
              <a:gd name="connsiteX98" fmla="*/ 4210 w 10000"/>
              <a:gd name="connsiteY98" fmla="*/ 9730 h 10000"/>
              <a:gd name="connsiteX99" fmla="*/ 4372 w 10000"/>
              <a:gd name="connsiteY99" fmla="*/ 9673 h 10000"/>
              <a:gd name="connsiteX100" fmla="*/ 4536 w 10000"/>
              <a:gd name="connsiteY100" fmla="*/ 9616 h 10000"/>
              <a:gd name="connsiteX101" fmla="*/ 4697 w 10000"/>
              <a:gd name="connsiteY101" fmla="*/ 9552 h 10000"/>
              <a:gd name="connsiteX102" fmla="*/ 4857 w 10000"/>
              <a:gd name="connsiteY102" fmla="*/ 9482 h 10000"/>
              <a:gd name="connsiteX103" fmla="*/ 5014 w 10000"/>
              <a:gd name="connsiteY103" fmla="*/ 9405 h 10000"/>
              <a:gd name="connsiteX104" fmla="*/ 5171 w 10000"/>
              <a:gd name="connsiteY104" fmla="*/ 9329 h 10000"/>
              <a:gd name="connsiteX105" fmla="*/ 5326 w 10000"/>
              <a:gd name="connsiteY105" fmla="*/ 9244 h 10000"/>
              <a:gd name="connsiteX106" fmla="*/ 5480 w 10000"/>
              <a:gd name="connsiteY106" fmla="*/ 9158 h 10000"/>
              <a:gd name="connsiteX107" fmla="*/ 5631 w 10000"/>
              <a:gd name="connsiteY107" fmla="*/ 9063 h 10000"/>
              <a:gd name="connsiteX108" fmla="*/ 5781 w 10000"/>
              <a:gd name="connsiteY108" fmla="*/ 8967 h 10000"/>
              <a:gd name="connsiteX109" fmla="*/ 5931 w 10000"/>
              <a:gd name="connsiteY109" fmla="*/ 8865 h 10000"/>
              <a:gd name="connsiteX110" fmla="*/ 6075 w 10000"/>
              <a:gd name="connsiteY110" fmla="*/ 8759 h 10000"/>
              <a:gd name="connsiteX111" fmla="*/ 6221 w 10000"/>
              <a:gd name="connsiteY111" fmla="*/ 8652 h 10000"/>
              <a:gd name="connsiteX112" fmla="*/ 6364 w 10000"/>
              <a:gd name="connsiteY112" fmla="*/ 8536 h 10000"/>
              <a:gd name="connsiteX113" fmla="*/ 6505 w 10000"/>
              <a:gd name="connsiteY113" fmla="*/ 8417 h 10000"/>
              <a:gd name="connsiteX114" fmla="*/ 6642 w 10000"/>
              <a:gd name="connsiteY114" fmla="*/ 8295 h 10000"/>
              <a:gd name="connsiteX115" fmla="*/ 6780 w 10000"/>
              <a:gd name="connsiteY115" fmla="*/ 8169 h 10000"/>
              <a:gd name="connsiteX116" fmla="*/ 6913 w 10000"/>
              <a:gd name="connsiteY116" fmla="*/ 8040 h 10000"/>
              <a:gd name="connsiteX117" fmla="*/ 7045 w 10000"/>
              <a:gd name="connsiteY117" fmla="*/ 7904 h 10000"/>
              <a:gd name="connsiteX118" fmla="*/ 7175 w 10000"/>
              <a:gd name="connsiteY118" fmla="*/ 7768 h 10000"/>
              <a:gd name="connsiteX119" fmla="*/ 7304 w 10000"/>
              <a:gd name="connsiteY119" fmla="*/ 7624 h 10000"/>
              <a:gd name="connsiteX120" fmla="*/ 7429 w 10000"/>
              <a:gd name="connsiteY120" fmla="*/ 7480 h 10000"/>
              <a:gd name="connsiteX121" fmla="*/ 7552 w 10000"/>
              <a:gd name="connsiteY121" fmla="*/ 7329 h 10000"/>
              <a:gd name="connsiteX122" fmla="*/ 7673 w 10000"/>
              <a:gd name="connsiteY122" fmla="*/ 7178 h 10000"/>
              <a:gd name="connsiteX123" fmla="*/ 7792 w 10000"/>
              <a:gd name="connsiteY123" fmla="*/ 7024 h 10000"/>
              <a:gd name="connsiteX124" fmla="*/ 7907 w 10000"/>
              <a:gd name="connsiteY124" fmla="*/ 6861 h 10000"/>
              <a:gd name="connsiteX125" fmla="*/ 8022 w 10000"/>
              <a:gd name="connsiteY125" fmla="*/ 6697 h 10000"/>
              <a:gd name="connsiteX126" fmla="*/ 8133 w 10000"/>
              <a:gd name="connsiteY126" fmla="*/ 6534 h 10000"/>
              <a:gd name="connsiteX127" fmla="*/ 8240 w 10000"/>
              <a:gd name="connsiteY127" fmla="*/ 6365 h 10000"/>
              <a:gd name="connsiteX128" fmla="*/ 8347 w 10000"/>
              <a:gd name="connsiteY128" fmla="*/ 6189 h 10000"/>
              <a:gd name="connsiteX129" fmla="*/ 8450 w 10000"/>
              <a:gd name="connsiteY129" fmla="*/ 6016 h 10000"/>
              <a:gd name="connsiteX130" fmla="*/ 8552 w 10000"/>
              <a:gd name="connsiteY130" fmla="*/ 5835 h 10000"/>
              <a:gd name="connsiteX131" fmla="*/ 8650 w 10000"/>
              <a:gd name="connsiteY131" fmla="*/ 5652 h 10000"/>
              <a:gd name="connsiteX132" fmla="*/ 8745 w 10000"/>
              <a:gd name="connsiteY132" fmla="*/ 5468 h 10000"/>
              <a:gd name="connsiteX133" fmla="*/ 8837 w 10000"/>
              <a:gd name="connsiteY133" fmla="*/ 5278 h 10000"/>
              <a:gd name="connsiteX134" fmla="*/ 8927 w 10000"/>
              <a:gd name="connsiteY134" fmla="*/ 5089 h 10000"/>
              <a:gd name="connsiteX135" fmla="*/ 9014 w 10000"/>
              <a:gd name="connsiteY135" fmla="*/ 4893 h 10000"/>
              <a:gd name="connsiteX136" fmla="*/ 9098 w 10000"/>
              <a:gd name="connsiteY136" fmla="*/ 4698 h 10000"/>
              <a:gd name="connsiteX137" fmla="*/ 9178 w 10000"/>
              <a:gd name="connsiteY137" fmla="*/ 4500 h 10000"/>
              <a:gd name="connsiteX138" fmla="*/ 9256 w 10000"/>
              <a:gd name="connsiteY138" fmla="*/ 4294 h 10000"/>
              <a:gd name="connsiteX139" fmla="*/ 9330 w 10000"/>
              <a:gd name="connsiteY139" fmla="*/ 4091 h 10000"/>
              <a:gd name="connsiteX140" fmla="*/ 9401 w 10000"/>
              <a:gd name="connsiteY140" fmla="*/ 3885 h 10000"/>
              <a:gd name="connsiteX141" fmla="*/ 9470 w 10000"/>
              <a:gd name="connsiteY141" fmla="*/ 3674 h 10000"/>
              <a:gd name="connsiteX142" fmla="*/ 9535 w 10000"/>
              <a:gd name="connsiteY142" fmla="*/ 3464 h 10000"/>
              <a:gd name="connsiteX143" fmla="*/ 9599 w 10000"/>
              <a:gd name="connsiteY143" fmla="*/ 3248 h 10000"/>
              <a:gd name="connsiteX144" fmla="*/ 9656 w 10000"/>
              <a:gd name="connsiteY144" fmla="*/ 3030 h 10000"/>
              <a:gd name="connsiteX145" fmla="*/ 9711 w 10000"/>
              <a:gd name="connsiteY145" fmla="*/ 2815 h 10000"/>
              <a:gd name="connsiteX146" fmla="*/ 9763 w 10000"/>
              <a:gd name="connsiteY146" fmla="*/ 2592 h 10000"/>
              <a:gd name="connsiteX147" fmla="*/ 9813 w 10000"/>
              <a:gd name="connsiteY147" fmla="*/ 2369 h 10000"/>
              <a:gd name="connsiteX148" fmla="*/ 9856 w 10000"/>
              <a:gd name="connsiteY148" fmla="*/ 2143 h 10000"/>
              <a:gd name="connsiteX149" fmla="*/ 9898 w 10000"/>
              <a:gd name="connsiteY149" fmla="*/ 1918 h 10000"/>
              <a:gd name="connsiteX150" fmla="*/ 9936 w 10000"/>
              <a:gd name="connsiteY150" fmla="*/ 1690 h 10000"/>
              <a:gd name="connsiteX151" fmla="*/ 9970 w 10000"/>
              <a:gd name="connsiteY151" fmla="*/ 1457 h 10000"/>
              <a:gd name="connsiteX152" fmla="*/ 10000 w 10000"/>
              <a:gd name="connsiteY152" fmla="*/ 1222 h 10000"/>
              <a:gd name="connsiteX153" fmla="*/ 7611 w 10000"/>
              <a:gd name="connsiteY153" fmla="*/ 1876 h 10000"/>
              <a:gd name="connsiteX154" fmla="*/ 5615 w 10000"/>
              <a:gd name="connsiteY15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0 w 10000"/>
              <a:gd name="connsiteY70" fmla="*/ 6085 h 10000"/>
              <a:gd name="connsiteX71" fmla="*/ 209 w 10000"/>
              <a:gd name="connsiteY71" fmla="*/ 9512 h 10000"/>
              <a:gd name="connsiteX72" fmla="*/ 344 w 10000"/>
              <a:gd name="connsiteY72" fmla="*/ 9569 h 10000"/>
              <a:gd name="connsiteX73" fmla="*/ 481 w 10000"/>
              <a:gd name="connsiteY73" fmla="*/ 9623 h 10000"/>
              <a:gd name="connsiteX74" fmla="*/ 621 w 10000"/>
              <a:gd name="connsiteY74" fmla="*/ 9673 h 10000"/>
              <a:gd name="connsiteX75" fmla="*/ 758 w 10000"/>
              <a:gd name="connsiteY75" fmla="*/ 9720 h 10000"/>
              <a:gd name="connsiteX76" fmla="*/ 899 w 10000"/>
              <a:gd name="connsiteY76" fmla="*/ 9765 h 10000"/>
              <a:gd name="connsiteX77" fmla="*/ 1040 w 10000"/>
              <a:gd name="connsiteY77" fmla="*/ 9804 h 10000"/>
              <a:gd name="connsiteX78" fmla="*/ 1182 w 10000"/>
              <a:gd name="connsiteY78" fmla="*/ 9839 h 10000"/>
              <a:gd name="connsiteX79" fmla="*/ 1325 w 10000"/>
              <a:gd name="connsiteY79" fmla="*/ 9874 h 10000"/>
              <a:gd name="connsiteX80" fmla="*/ 1471 w 10000"/>
              <a:gd name="connsiteY80" fmla="*/ 9903 h 10000"/>
              <a:gd name="connsiteX81" fmla="*/ 1614 w 10000"/>
              <a:gd name="connsiteY81" fmla="*/ 9926 h 10000"/>
              <a:gd name="connsiteX82" fmla="*/ 1760 w 10000"/>
              <a:gd name="connsiteY82" fmla="*/ 9948 h 10000"/>
              <a:gd name="connsiteX83" fmla="*/ 1906 w 10000"/>
              <a:gd name="connsiteY83" fmla="*/ 9965 h 10000"/>
              <a:gd name="connsiteX84" fmla="*/ 2052 w 10000"/>
              <a:gd name="connsiteY84" fmla="*/ 9980 h 10000"/>
              <a:gd name="connsiteX85" fmla="*/ 2202 w 10000"/>
              <a:gd name="connsiteY85" fmla="*/ 9990 h 10000"/>
              <a:gd name="connsiteX86" fmla="*/ 2350 w 10000"/>
              <a:gd name="connsiteY86" fmla="*/ 9995 h 10000"/>
              <a:gd name="connsiteX87" fmla="*/ 2498 w 10000"/>
              <a:gd name="connsiteY87" fmla="*/ 10000 h 10000"/>
              <a:gd name="connsiteX88" fmla="*/ 2677 w 10000"/>
              <a:gd name="connsiteY88" fmla="*/ 9995 h 10000"/>
              <a:gd name="connsiteX89" fmla="*/ 2850 w 10000"/>
              <a:gd name="connsiteY89" fmla="*/ 9988 h 10000"/>
              <a:gd name="connsiteX90" fmla="*/ 3024 w 10000"/>
              <a:gd name="connsiteY90" fmla="*/ 9975 h 10000"/>
              <a:gd name="connsiteX91" fmla="*/ 3195 w 10000"/>
              <a:gd name="connsiteY91" fmla="*/ 9953 h 10000"/>
              <a:gd name="connsiteX92" fmla="*/ 3368 w 10000"/>
              <a:gd name="connsiteY92" fmla="*/ 9931 h 10000"/>
              <a:gd name="connsiteX93" fmla="*/ 3538 w 10000"/>
              <a:gd name="connsiteY93" fmla="*/ 9898 h 10000"/>
              <a:gd name="connsiteX94" fmla="*/ 3709 w 10000"/>
              <a:gd name="connsiteY94" fmla="*/ 9866 h 10000"/>
              <a:gd name="connsiteX95" fmla="*/ 3877 w 10000"/>
              <a:gd name="connsiteY95" fmla="*/ 9824 h 10000"/>
              <a:gd name="connsiteX96" fmla="*/ 4042 w 10000"/>
              <a:gd name="connsiteY96" fmla="*/ 9779 h 10000"/>
              <a:gd name="connsiteX97" fmla="*/ 4210 w 10000"/>
              <a:gd name="connsiteY97" fmla="*/ 9730 h 10000"/>
              <a:gd name="connsiteX98" fmla="*/ 4372 w 10000"/>
              <a:gd name="connsiteY98" fmla="*/ 9673 h 10000"/>
              <a:gd name="connsiteX99" fmla="*/ 4536 w 10000"/>
              <a:gd name="connsiteY99" fmla="*/ 9616 h 10000"/>
              <a:gd name="connsiteX100" fmla="*/ 4697 w 10000"/>
              <a:gd name="connsiteY100" fmla="*/ 9552 h 10000"/>
              <a:gd name="connsiteX101" fmla="*/ 4857 w 10000"/>
              <a:gd name="connsiteY101" fmla="*/ 9482 h 10000"/>
              <a:gd name="connsiteX102" fmla="*/ 5014 w 10000"/>
              <a:gd name="connsiteY102" fmla="*/ 9405 h 10000"/>
              <a:gd name="connsiteX103" fmla="*/ 5171 w 10000"/>
              <a:gd name="connsiteY103" fmla="*/ 9329 h 10000"/>
              <a:gd name="connsiteX104" fmla="*/ 5326 w 10000"/>
              <a:gd name="connsiteY104" fmla="*/ 9244 h 10000"/>
              <a:gd name="connsiteX105" fmla="*/ 5480 w 10000"/>
              <a:gd name="connsiteY105" fmla="*/ 9158 h 10000"/>
              <a:gd name="connsiteX106" fmla="*/ 5631 w 10000"/>
              <a:gd name="connsiteY106" fmla="*/ 9063 h 10000"/>
              <a:gd name="connsiteX107" fmla="*/ 5781 w 10000"/>
              <a:gd name="connsiteY107" fmla="*/ 8967 h 10000"/>
              <a:gd name="connsiteX108" fmla="*/ 5931 w 10000"/>
              <a:gd name="connsiteY108" fmla="*/ 8865 h 10000"/>
              <a:gd name="connsiteX109" fmla="*/ 6075 w 10000"/>
              <a:gd name="connsiteY109" fmla="*/ 8759 h 10000"/>
              <a:gd name="connsiteX110" fmla="*/ 6221 w 10000"/>
              <a:gd name="connsiteY110" fmla="*/ 8652 h 10000"/>
              <a:gd name="connsiteX111" fmla="*/ 6364 w 10000"/>
              <a:gd name="connsiteY111" fmla="*/ 8536 h 10000"/>
              <a:gd name="connsiteX112" fmla="*/ 6505 w 10000"/>
              <a:gd name="connsiteY112" fmla="*/ 8417 h 10000"/>
              <a:gd name="connsiteX113" fmla="*/ 6642 w 10000"/>
              <a:gd name="connsiteY113" fmla="*/ 8295 h 10000"/>
              <a:gd name="connsiteX114" fmla="*/ 6780 w 10000"/>
              <a:gd name="connsiteY114" fmla="*/ 8169 h 10000"/>
              <a:gd name="connsiteX115" fmla="*/ 6913 w 10000"/>
              <a:gd name="connsiteY115" fmla="*/ 8040 h 10000"/>
              <a:gd name="connsiteX116" fmla="*/ 7045 w 10000"/>
              <a:gd name="connsiteY116" fmla="*/ 7904 h 10000"/>
              <a:gd name="connsiteX117" fmla="*/ 7175 w 10000"/>
              <a:gd name="connsiteY117" fmla="*/ 7768 h 10000"/>
              <a:gd name="connsiteX118" fmla="*/ 7304 w 10000"/>
              <a:gd name="connsiteY118" fmla="*/ 7624 h 10000"/>
              <a:gd name="connsiteX119" fmla="*/ 7429 w 10000"/>
              <a:gd name="connsiteY119" fmla="*/ 7480 h 10000"/>
              <a:gd name="connsiteX120" fmla="*/ 7552 w 10000"/>
              <a:gd name="connsiteY120" fmla="*/ 7329 h 10000"/>
              <a:gd name="connsiteX121" fmla="*/ 7673 w 10000"/>
              <a:gd name="connsiteY121" fmla="*/ 7178 h 10000"/>
              <a:gd name="connsiteX122" fmla="*/ 7792 w 10000"/>
              <a:gd name="connsiteY122" fmla="*/ 7024 h 10000"/>
              <a:gd name="connsiteX123" fmla="*/ 7907 w 10000"/>
              <a:gd name="connsiteY123" fmla="*/ 6861 h 10000"/>
              <a:gd name="connsiteX124" fmla="*/ 8022 w 10000"/>
              <a:gd name="connsiteY124" fmla="*/ 6697 h 10000"/>
              <a:gd name="connsiteX125" fmla="*/ 8133 w 10000"/>
              <a:gd name="connsiteY125" fmla="*/ 6534 h 10000"/>
              <a:gd name="connsiteX126" fmla="*/ 8240 w 10000"/>
              <a:gd name="connsiteY126" fmla="*/ 6365 h 10000"/>
              <a:gd name="connsiteX127" fmla="*/ 8347 w 10000"/>
              <a:gd name="connsiteY127" fmla="*/ 6189 h 10000"/>
              <a:gd name="connsiteX128" fmla="*/ 8450 w 10000"/>
              <a:gd name="connsiteY128" fmla="*/ 6016 h 10000"/>
              <a:gd name="connsiteX129" fmla="*/ 8552 w 10000"/>
              <a:gd name="connsiteY129" fmla="*/ 5835 h 10000"/>
              <a:gd name="connsiteX130" fmla="*/ 8650 w 10000"/>
              <a:gd name="connsiteY130" fmla="*/ 5652 h 10000"/>
              <a:gd name="connsiteX131" fmla="*/ 8745 w 10000"/>
              <a:gd name="connsiteY131" fmla="*/ 5468 h 10000"/>
              <a:gd name="connsiteX132" fmla="*/ 8837 w 10000"/>
              <a:gd name="connsiteY132" fmla="*/ 5278 h 10000"/>
              <a:gd name="connsiteX133" fmla="*/ 8927 w 10000"/>
              <a:gd name="connsiteY133" fmla="*/ 5089 h 10000"/>
              <a:gd name="connsiteX134" fmla="*/ 9014 w 10000"/>
              <a:gd name="connsiteY134" fmla="*/ 4893 h 10000"/>
              <a:gd name="connsiteX135" fmla="*/ 9098 w 10000"/>
              <a:gd name="connsiteY135" fmla="*/ 4698 h 10000"/>
              <a:gd name="connsiteX136" fmla="*/ 9178 w 10000"/>
              <a:gd name="connsiteY136" fmla="*/ 4500 h 10000"/>
              <a:gd name="connsiteX137" fmla="*/ 9256 w 10000"/>
              <a:gd name="connsiteY137" fmla="*/ 4294 h 10000"/>
              <a:gd name="connsiteX138" fmla="*/ 9330 w 10000"/>
              <a:gd name="connsiteY138" fmla="*/ 4091 h 10000"/>
              <a:gd name="connsiteX139" fmla="*/ 9401 w 10000"/>
              <a:gd name="connsiteY139" fmla="*/ 3885 h 10000"/>
              <a:gd name="connsiteX140" fmla="*/ 9470 w 10000"/>
              <a:gd name="connsiteY140" fmla="*/ 3674 h 10000"/>
              <a:gd name="connsiteX141" fmla="*/ 9535 w 10000"/>
              <a:gd name="connsiteY141" fmla="*/ 3464 h 10000"/>
              <a:gd name="connsiteX142" fmla="*/ 9599 w 10000"/>
              <a:gd name="connsiteY142" fmla="*/ 3248 h 10000"/>
              <a:gd name="connsiteX143" fmla="*/ 9656 w 10000"/>
              <a:gd name="connsiteY143" fmla="*/ 3030 h 10000"/>
              <a:gd name="connsiteX144" fmla="*/ 9711 w 10000"/>
              <a:gd name="connsiteY144" fmla="*/ 2815 h 10000"/>
              <a:gd name="connsiteX145" fmla="*/ 9763 w 10000"/>
              <a:gd name="connsiteY145" fmla="*/ 2592 h 10000"/>
              <a:gd name="connsiteX146" fmla="*/ 9813 w 10000"/>
              <a:gd name="connsiteY146" fmla="*/ 2369 h 10000"/>
              <a:gd name="connsiteX147" fmla="*/ 9856 w 10000"/>
              <a:gd name="connsiteY147" fmla="*/ 2143 h 10000"/>
              <a:gd name="connsiteX148" fmla="*/ 9898 w 10000"/>
              <a:gd name="connsiteY148" fmla="*/ 1918 h 10000"/>
              <a:gd name="connsiteX149" fmla="*/ 9936 w 10000"/>
              <a:gd name="connsiteY149" fmla="*/ 1690 h 10000"/>
              <a:gd name="connsiteX150" fmla="*/ 9970 w 10000"/>
              <a:gd name="connsiteY150" fmla="*/ 1457 h 10000"/>
              <a:gd name="connsiteX151" fmla="*/ 10000 w 10000"/>
              <a:gd name="connsiteY151" fmla="*/ 1222 h 10000"/>
              <a:gd name="connsiteX152" fmla="*/ 7611 w 10000"/>
              <a:gd name="connsiteY152" fmla="*/ 1876 h 10000"/>
              <a:gd name="connsiteX153" fmla="*/ 5615 w 10000"/>
              <a:gd name="connsiteY15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0 w 10000"/>
              <a:gd name="connsiteY69" fmla="*/ 6085 h 10000"/>
              <a:gd name="connsiteX70" fmla="*/ 209 w 10000"/>
              <a:gd name="connsiteY70" fmla="*/ 9512 h 10000"/>
              <a:gd name="connsiteX71" fmla="*/ 344 w 10000"/>
              <a:gd name="connsiteY71" fmla="*/ 9569 h 10000"/>
              <a:gd name="connsiteX72" fmla="*/ 481 w 10000"/>
              <a:gd name="connsiteY72" fmla="*/ 9623 h 10000"/>
              <a:gd name="connsiteX73" fmla="*/ 621 w 10000"/>
              <a:gd name="connsiteY73" fmla="*/ 9673 h 10000"/>
              <a:gd name="connsiteX74" fmla="*/ 758 w 10000"/>
              <a:gd name="connsiteY74" fmla="*/ 9720 h 10000"/>
              <a:gd name="connsiteX75" fmla="*/ 899 w 10000"/>
              <a:gd name="connsiteY75" fmla="*/ 9765 h 10000"/>
              <a:gd name="connsiteX76" fmla="*/ 1040 w 10000"/>
              <a:gd name="connsiteY76" fmla="*/ 9804 h 10000"/>
              <a:gd name="connsiteX77" fmla="*/ 1182 w 10000"/>
              <a:gd name="connsiteY77" fmla="*/ 9839 h 10000"/>
              <a:gd name="connsiteX78" fmla="*/ 1325 w 10000"/>
              <a:gd name="connsiteY78" fmla="*/ 9874 h 10000"/>
              <a:gd name="connsiteX79" fmla="*/ 1471 w 10000"/>
              <a:gd name="connsiteY79" fmla="*/ 9903 h 10000"/>
              <a:gd name="connsiteX80" fmla="*/ 1614 w 10000"/>
              <a:gd name="connsiteY80" fmla="*/ 9926 h 10000"/>
              <a:gd name="connsiteX81" fmla="*/ 1760 w 10000"/>
              <a:gd name="connsiteY81" fmla="*/ 9948 h 10000"/>
              <a:gd name="connsiteX82" fmla="*/ 1906 w 10000"/>
              <a:gd name="connsiteY82" fmla="*/ 9965 h 10000"/>
              <a:gd name="connsiteX83" fmla="*/ 2052 w 10000"/>
              <a:gd name="connsiteY83" fmla="*/ 9980 h 10000"/>
              <a:gd name="connsiteX84" fmla="*/ 2202 w 10000"/>
              <a:gd name="connsiteY84" fmla="*/ 9990 h 10000"/>
              <a:gd name="connsiteX85" fmla="*/ 2350 w 10000"/>
              <a:gd name="connsiteY85" fmla="*/ 9995 h 10000"/>
              <a:gd name="connsiteX86" fmla="*/ 2498 w 10000"/>
              <a:gd name="connsiteY86" fmla="*/ 10000 h 10000"/>
              <a:gd name="connsiteX87" fmla="*/ 2677 w 10000"/>
              <a:gd name="connsiteY87" fmla="*/ 9995 h 10000"/>
              <a:gd name="connsiteX88" fmla="*/ 2850 w 10000"/>
              <a:gd name="connsiteY88" fmla="*/ 9988 h 10000"/>
              <a:gd name="connsiteX89" fmla="*/ 3024 w 10000"/>
              <a:gd name="connsiteY89" fmla="*/ 9975 h 10000"/>
              <a:gd name="connsiteX90" fmla="*/ 3195 w 10000"/>
              <a:gd name="connsiteY90" fmla="*/ 9953 h 10000"/>
              <a:gd name="connsiteX91" fmla="*/ 3368 w 10000"/>
              <a:gd name="connsiteY91" fmla="*/ 9931 h 10000"/>
              <a:gd name="connsiteX92" fmla="*/ 3538 w 10000"/>
              <a:gd name="connsiteY92" fmla="*/ 9898 h 10000"/>
              <a:gd name="connsiteX93" fmla="*/ 3709 w 10000"/>
              <a:gd name="connsiteY93" fmla="*/ 9866 h 10000"/>
              <a:gd name="connsiteX94" fmla="*/ 3877 w 10000"/>
              <a:gd name="connsiteY94" fmla="*/ 9824 h 10000"/>
              <a:gd name="connsiteX95" fmla="*/ 4042 w 10000"/>
              <a:gd name="connsiteY95" fmla="*/ 9779 h 10000"/>
              <a:gd name="connsiteX96" fmla="*/ 4210 w 10000"/>
              <a:gd name="connsiteY96" fmla="*/ 9730 h 10000"/>
              <a:gd name="connsiteX97" fmla="*/ 4372 w 10000"/>
              <a:gd name="connsiteY97" fmla="*/ 9673 h 10000"/>
              <a:gd name="connsiteX98" fmla="*/ 4536 w 10000"/>
              <a:gd name="connsiteY98" fmla="*/ 9616 h 10000"/>
              <a:gd name="connsiteX99" fmla="*/ 4697 w 10000"/>
              <a:gd name="connsiteY99" fmla="*/ 9552 h 10000"/>
              <a:gd name="connsiteX100" fmla="*/ 4857 w 10000"/>
              <a:gd name="connsiteY100" fmla="*/ 9482 h 10000"/>
              <a:gd name="connsiteX101" fmla="*/ 5014 w 10000"/>
              <a:gd name="connsiteY101" fmla="*/ 9405 h 10000"/>
              <a:gd name="connsiteX102" fmla="*/ 5171 w 10000"/>
              <a:gd name="connsiteY102" fmla="*/ 9329 h 10000"/>
              <a:gd name="connsiteX103" fmla="*/ 5326 w 10000"/>
              <a:gd name="connsiteY103" fmla="*/ 9244 h 10000"/>
              <a:gd name="connsiteX104" fmla="*/ 5480 w 10000"/>
              <a:gd name="connsiteY104" fmla="*/ 9158 h 10000"/>
              <a:gd name="connsiteX105" fmla="*/ 5631 w 10000"/>
              <a:gd name="connsiteY105" fmla="*/ 9063 h 10000"/>
              <a:gd name="connsiteX106" fmla="*/ 5781 w 10000"/>
              <a:gd name="connsiteY106" fmla="*/ 8967 h 10000"/>
              <a:gd name="connsiteX107" fmla="*/ 5931 w 10000"/>
              <a:gd name="connsiteY107" fmla="*/ 8865 h 10000"/>
              <a:gd name="connsiteX108" fmla="*/ 6075 w 10000"/>
              <a:gd name="connsiteY108" fmla="*/ 8759 h 10000"/>
              <a:gd name="connsiteX109" fmla="*/ 6221 w 10000"/>
              <a:gd name="connsiteY109" fmla="*/ 8652 h 10000"/>
              <a:gd name="connsiteX110" fmla="*/ 6364 w 10000"/>
              <a:gd name="connsiteY110" fmla="*/ 8536 h 10000"/>
              <a:gd name="connsiteX111" fmla="*/ 6505 w 10000"/>
              <a:gd name="connsiteY111" fmla="*/ 8417 h 10000"/>
              <a:gd name="connsiteX112" fmla="*/ 6642 w 10000"/>
              <a:gd name="connsiteY112" fmla="*/ 8295 h 10000"/>
              <a:gd name="connsiteX113" fmla="*/ 6780 w 10000"/>
              <a:gd name="connsiteY113" fmla="*/ 8169 h 10000"/>
              <a:gd name="connsiteX114" fmla="*/ 6913 w 10000"/>
              <a:gd name="connsiteY114" fmla="*/ 8040 h 10000"/>
              <a:gd name="connsiteX115" fmla="*/ 7045 w 10000"/>
              <a:gd name="connsiteY115" fmla="*/ 7904 h 10000"/>
              <a:gd name="connsiteX116" fmla="*/ 7175 w 10000"/>
              <a:gd name="connsiteY116" fmla="*/ 7768 h 10000"/>
              <a:gd name="connsiteX117" fmla="*/ 7304 w 10000"/>
              <a:gd name="connsiteY117" fmla="*/ 7624 h 10000"/>
              <a:gd name="connsiteX118" fmla="*/ 7429 w 10000"/>
              <a:gd name="connsiteY118" fmla="*/ 7480 h 10000"/>
              <a:gd name="connsiteX119" fmla="*/ 7552 w 10000"/>
              <a:gd name="connsiteY119" fmla="*/ 7329 h 10000"/>
              <a:gd name="connsiteX120" fmla="*/ 7673 w 10000"/>
              <a:gd name="connsiteY120" fmla="*/ 7178 h 10000"/>
              <a:gd name="connsiteX121" fmla="*/ 7792 w 10000"/>
              <a:gd name="connsiteY121" fmla="*/ 7024 h 10000"/>
              <a:gd name="connsiteX122" fmla="*/ 7907 w 10000"/>
              <a:gd name="connsiteY122" fmla="*/ 6861 h 10000"/>
              <a:gd name="connsiteX123" fmla="*/ 8022 w 10000"/>
              <a:gd name="connsiteY123" fmla="*/ 6697 h 10000"/>
              <a:gd name="connsiteX124" fmla="*/ 8133 w 10000"/>
              <a:gd name="connsiteY124" fmla="*/ 6534 h 10000"/>
              <a:gd name="connsiteX125" fmla="*/ 8240 w 10000"/>
              <a:gd name="connsiteY125" fmla="*/ 6365 h 10000"/>
              <a:gd name="connsiteX126" fmla="*/ 8347 w 10000"/>
              <a:gd name="connsiteY126" fmla="*/ 6189 h 10000"/>
              <a:gd name="connsiteX127" fmla="*/ 8450 w 10000"/>
              <a:gd name="connsiteY127" fmla="*/ 6016 h 10000"/>
              <a:gd name="connsiteX128" fmla="*/ 8552 w 10000"/>
              <a:gd name="connsiteY128" fmla="*/ 5835 h 10000"/>
              <a:gd name="connsiteX129" fmla="*/ 8650 w 10000"/>
              <a:gd name="connsiteY129" fmla="*/ 5652 h 10000"/>
              <a:gd name="connsiteX130" fmla="*/ 8745 w 10000"/>
              <a:gd name="connsiteY130" fmla="*/ 5468 h 10000"/>
              <a:gd name="connsiteX131" fmla="*/ 8837 w 10000"/>
              <a:gd name="connsiteY131" fmla="*/ 5278 h 10000"/>
              <a:gd name="connsiteX132" fmla="*/ 8927 w 10000"/>
              <a:gd name="connsiteY132" fmla="*/ 5089 h 10000"/>
              <a:gd name="connsiteX133" fmla="*/ 9014 w 10000"/>
              <a:gd name="connsiteY133" fmla="*/ 4893 h 10000"/>
              <a:gd name="connsiteX134" fmla="*/ 9098 w 10000"/>
              <a:gd name="connsiteY134" fmla="*/ 4698 h 10000"/>
              <a:gd name="connsiteX135" fmla="*/ 9178 w 10000"/>
              <a:gd name="connsiteY135" fmla="*/ 4500 h 10000"/>
              <a:gd name="connsiteX136" fmla="*/ 9256 w 10000"/>
              <a:gd name="connsiteY136" fmla="*/ 4294 h 10000"/>
              <a:gd name="connsiteX137" fmla="*/ 9330 w 10000"/>
              <a:gd name="connsiteY137" fmla="*/ 4091 h 10000"/>
              <a:gd name="connsiteX138" fmla="*/ 9401 w 10000"/>
              <a:gd name="connsiteY138" fmla="*/ 3885 h 10000"/>
              <a:gd name="connsiteX139" fmla="*/ 9470 w 10000"/>
              <a:gd name="connsiteY139" fmla="*/ 3674 h 10000"/>
              <a:gd name="connsiteX140" fmla="*/ 9535 w 10000"/>
              <a:gd name="connsiteY140" fmla="*/ 3464 h 10000"/>
              <a:gd name="connsiteX141" fmla="*/ 9599 w 10000"/>
              <a:gd name="connsiteY141" fmla="*/ 3248 h 10000"/>
              <a:gd name="connsiteX142" fmla="*/ 9656 w 10000"/>
              <a:gd name="connsiteY142" fmla="*/ 3030 h 10000"/>
              <a:gd name="connsiteX143" fmla="*/ 9711 w 10000"/>
              <a:gd name="connsiteY143" fmla="*/ 2815 h 10000"/>
              <a:gd name="connsiteX144" fmla="*/ 9763 w 10000"/>
              <a:gd name="connsiteY144" fmla="*/ 2592 h 10000"/>
              <a:gd name="connsiteX145" fmla="*/ 9813 w 10000"/>
              <a:gd name="connsiteY145" fmla="*/ 2369 h 10000"/>
              <a:gd name="connsiteX146" fmla="*/ 9856 w 10000"/>
              <a:gd name="connsiteY146" fmla="*/ 2143 h 10000"/>
              <a:gd name="connsiteX147" fmla="*/ 9898 w 10000"/>
              <a:gd name="connsiteY147" fmla="*/ 1918 h 10000"/>
              <a:gd name="connsiteX148" fmla="*/ 9936 w 10000"/>
              <a:gd name="connsiteY148" fmla="*/ 1690 h 10000"/>
              <a:gd name="connsiteX149" fmla="*/ 9970 w 10000"/>
              <a:gd name="connsiteY149" fmla="*/ 1457 h 10000"/>
              <a:gd name="connsiteX150" fmla="*/ 10000 w 10000"/>
              <a:gd name="connsiteY150" fmla="*/ 1222 h 10000"/>
              <a:gd name="connsiteX151" fmla="*/ 7611 w 10000"/>
              <a:gd name="connsiteY151" fmla="*/ 1876 h 10000"/>
              <a:gd name="connsiteX152" fmla="*/ 5615 w 10000"/>
              <a:gd name="connsiteY15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0 w 10000"/>
              <a:gd name="connsiteY68" fmla="*/ 6085 h 10000"/>
              <a:gd name="connsiteX69" fmla="*/ 209 w 10000"/>
              <a:gd name="connsiteY69" fmla="*/ 9512 h 10000"/>
              <a:gd name="connsiteX70" fmla="*/ 344 w 10000"/>
              <a:gd name="connsiteY70" fmla="*/ 9569 h 10000"/>
              <a:gd name="connsiteX71" fmla="*/ 481 w 10000"/>
              <a:gd name="connsiteY71" fmla="*/ 9623 h 10000"/>
              <a:gd name="connsiteX72" fmla="*/ 621 w 10000"/>
              <a:gd name="connsiteY72" fmla="*/ 9673 h 10000"/>
              <a:gd name="connsiteX73" fmla="*/ 758 w 10000"/>
              <a:gd name="connsiteY73" fmla="*/ 9720 h 10000"/>
              <a:gd name="connsiteX74" fmla="*/ 899 w 10000"/>
              <a:gd name="connsiteY74" fmla="*/ 9765 h 10000"/>
              <a:gd name="connsiteX75" fmla="*/ 1040 w 10000"/>
              <a:gd name="connsiteY75" fmla="*/ 9804 h 10000"/>
              <a:gd name="connsiteX76" fmla="*/ 1182 w 10000"/>
              <a:gd name="connsiteY76" fmla="*/ 9839 h 10000"/>
              <a:gd name="connsiteX77" fmla="*/ 1325 w 10000"/>
              <a:gd name="connsiteY77" fmla="*/ 9874 h 10000"/>
              <a:gd name="connsiteX78" fmla="*/ 1471 w 10000"/>
              <a:gd name="connsiteY78" fmla="*/ 9903 h 10000"/>
              <a:gd name="connsiteX79" fmla="*/ 1614 w 10000"/>
              <a:gd name="connsiteY79" fmla="*/ 9926 h 10000"/>
              <a:gd name="connsiteX80" fmla="*/ 1760 w 10000"/>
              <a:gd name="connsiteY80" fmla="*/ 9948 h 10000"/>
              <a:gd name="connsiteX81" fmla="*/ 1906 w 10000"/>
              <a:gd name="connsiteY81" fmla="*/ 9965 h 10000"/>
              <a:gd name="connsiteX82" fmla="*/ 2052 w 10000"/>
              <a:gd name="connsiteY82" fmla="*/ 9980 h 10000"/>
              <a:gd name="connsiteX83" fmla="*/ 2202 w 10000"/>
              <a:gd name="connsiteY83" fmla="*/ 9990 h 10000"/>
              <a:gd name="connsiteX84" fmla="*/ 2350 w 10000"/>
              <a:gd name="connsiteY84" fmla="*/ 9995 h 10000"/>
              <a:gd name="connsiteX85" fmla="*/ 2498 w 10000"/>
              <a:gd name="connsiteY85" fmla="*/ 10000 h 10000"/>
              <a:gd name="connsiteX86" fmla="*/ 2677 w 10000"/>
              <a:gd name="connsiteY86" fmla="*/ 9995 h 10000"/>
              <a:gd name="connsiteX87" fmla="*/ 2850 w 10000"/>
              <a:gd name="connsiteY87" fmla="*/ 9988 h 10000"/>
              <a:gd name="connsiteX88" fmla="*/ 3024 w 10000"/>
              <a:gd name="connsiteY88" fmla="*/ 9975 h 10000"/>
              <a:gd name="connsiteX89" fmla="*/ 3195 w 10000"/>
              <a:gd name="connsiteY89" fmla="*/ 9953 h 10000"/>
              <a:gd name="connsiteX90" fmla="*/ 3368 w 10000"/>
              <a:gd name="connsiteY90" fmla="*/ 9931 h 10000"/>
              <a:gd name="connsiteX91" fmla="*/ 3538 w 10000"/>
              <a:gd name="connsiteY91" fmla="*/ 9898 h 10000"/>
              <a:gd name="connsiteX92" fmla="*/ 3709 w 10000"/>
              <a:gd name="connsiteY92" fmla="*/ 9866 h 10000"/>
              <a:gd name="connsiteX93" fmla="*/ 3877 w 10000"/>
              <a:gd name="connsiteY93" fmla="*/ 9824 h 10000"/>
              <a:gd name="connsiteX94" fmla="*/ 4042 w 10000"/>
              <a:gd name="connsiteY94" fmla="*/ 9779 h 10000"/>
              <a:gd name="connsiteX95" fmla="*/ 4210 w 10000"/>
              <a:gd name="connsiteY95" fmla="*/ 9730 h 10000"/>
              <a:gd name="connsiteX96" fmla="*/ 4372 w 10000"/>
              <a:gd name="connsiteY96" fmla="*/ 9673 h 10000"/>
              <a:gd name="connsiteX97" fmla="*/ 4536 w 10000"/>
              <a:gd name="connsiteY97" fmla="*/ 9616 h 10000"/>
              <a:gd name="connsiteX98" fmla="*/ 4697 w 10000"/>
              <a:gd name="connsiteY98" fmla="*/ 9552 h 10000"/>
              <a:gd name="connsiteX99" fmla="*/ 4857 w 10000"/>
              <a:gd name="connsiteY99" fmla="*/ 9482 h 10000"/>
              <a:gd name="connsiteX100" fmla="*/ 5014 w 10000"/>
              <a:gd name="connsiteY100" fmla="*/ 9405 h 10000"/>
              <a:gd name="connsiteX101" fmla="*/ 5171 w 10000"/>
              <a:gd name="connsiteY101" fmla="*/ 9329 h 10000"/>
              <a:gd name="connsiteX102" fmla="*/ 5326 w 10000"/>
              <a:gd name="connsiteY102" fmla="*/ 9244 h 10000"/>
              <a:gd name="connsiteX103" fmla="*/ 5480 w 10000"/>
              <a:gd name="connsiteY103" fmla="*/ 9158 h 10000"/>
              <a:gd name="connsiteX104" fmla="*/ 5631 w 10000"/>
              <a:gd name="connsiteY104" fmla="*/ 9063 h 10000"/>
              <a:gd name="connsiteX105" fmla="*/ 5781 w 10000"/>
              <a:gd name="connsiteY105" fmla="*/ 8967 h 10000"/>
              <a:gd name="connsiteX106" fmla="*/ 5931 w 10000"/>
              <a:gd name="connsiteY106" fmla="*/ 8865 h 10000"/>
              <a:gd name="connsiteX107" fmla="*/ 6075 w 10000"/>
              <a:gd name="connsiteY107" fmla="*/ 8759 h 10000"/>
              <a:gd name="connsiteX108" fmla="*/ 6221 w 10000"/>
              <a:gd name="connsiteY108" fmla="*/ 8652 h 10000"/>
              <a:gd name="connsiteX109" fmla="*/ 6364 w 10000"/>
              <a:gd name="connsiteY109" fmla="*/ 8536 h 10000"/>
              <a:gd name="connsiteX110" fmla="*/ 6505 w 10000"/>
              <a:gd name="connsiteY110" fmla="*/ 8417 h 10000"/>
              <a:gd name="connsiteX111" fmla="*/ 6642 w 10000"/>
              <a:gd name="connsiteY111" fmla="*/ 8295 h 10000"/>
              <a:gd name="connsiteX112" fmla="*/ 6780 w 10000"/>
              <a:gd name="connsiteY112" fmla="*/ 8169 h 10000"/>
              <a:gd name="connsiteX113" fmla="*/ 6913 w 10000"/>
              <a:gd name="connsiteY113" fmla="*/ 8040 h 10000"/>
              <a:gd name="connsiteX114" fmla="*/ 7045 w 10000"/>
              <a:gd name="connsiteY114" fmla="*/ 7904 h 10000"/>
              <a:gd name="connsiteX115" fmla="*/ 7175 w 10000"/>
              <a:gd name="connsiteY115" fmla="*/ 7768 h 10000"/>
              <a:gd name="connsiteX116" fmla="*/ 7304 w 10000"/>
              <a:gd name="connsiteY116" fmla="*/ 7624 h 10000"/>
              <a:gd name="connsiteX117" fmla="*/ 7429 w 10000"/>
              <a:gd name="connsiteY117" fmla="*/ 7480 h 10000"/>
              <a:gd name="connsiteX118" fmla="*/ 7552 w 10000"/>
              <a:gd name="connsiteY118" fmla="*/ 7329 h 10000"/>
              <a:gd name="connsiteX119" fmla="*/ 7673 w 10000"/>
              <a:gd name="connsiteY119" fmla="*/ 7178 h 10000"/>
              <a:gd name="connsiteX120" fmla="*/ 7792 w 10000"/>
              <a:gd name="connsiteY120" fmla="*/ 7024 h 10000"/>
              <a:gd name="connsiteX121" fmla="*/ 7907 w 10000"/>
              <a:gd name="connsiteY121" fmla="*/ 6861 h 10000"/>
              <a:gd name="connsiteX122" fmla="*/ 8022 w 10000"/>
              <a:gd name="connsiteY122" fmla="*/ 6697 h 10000"/>
              <a:gd name="connsiteX123" fmla="*/ 8133 w 10000"/>
              <a:gd name="connsiteY123" fmla="*/ 6534 h 10000"/>
              <a:gd name="connsiteX124" fmla="*/ 8240 w 10000"/>
              <a:gd name="connsiteY124" fmla="*/ 6365 h 10000"/>
              <a:gd name="connsiteX125" fmla="*/ 8347 w 10000"/>
              <a:gd name="connsiteY125" fmla="*/ 6189 h 10000"/>
              <a:gd name="connsiteX126" fmla="*/ 8450 w 10000"/>
              <a:gd name="connsiteY126" fmla="*/ 6016 h 10000"/>
              <a:gd name="connsiteX127" fmla="*/ 8552 w 10000"/>
              <a:gd name="connsiteY127" fmla="*/ 5835 h 10000"/>
              <a:gd name="connsiteX128" fmla="*/ 8650 w 10000"/>
              <a:gd name="connsiteY128" fmla="*/ 5652 h 10000"/>
              <a:gd name="connsiteX129" fmla="*/ 8745 w 10000"/>
              <a:gd name="connsiteY129" fmla="*/ 5468 h 10000"/>
              <a:gd name="connsiteX130" fmla="*/ 8837 w 10000"/>
              <a:gd name="connsiteY130" fmla="*/ 5278 h 10000"/>
              <a:gd name="connsiteX131" fmla="*/ 8927 w 10000"/>
              <a:gd name="connsiteY131" fmla="*/ 5089 h 10000"/>
              <a:gd name="connsiteX132" fmla="*/ 9014 w 10000"/>
              <a:gd name="connsiteY132" fmla="*/ 4893 h 10000"/>
              <a:gd name="connsiteX133" fmla="*/ 9098 w 10000"/>
              <a:gd name="connsiteY133" fmla="*/ 4698 h 10000"/>
              <a:gd name="connsiteX134" fmla="*/ 9178 w 10000"/>
              <a:gd name="connsiteY134" fmla="*/ 4500 h 10000"/>
              <a:gd name="connsiteX135" fmla="*/ 9256 w 10000"/>
              <a:gd name="connsiteY135" fmla="*/ 4294 h 10000"/>
              <a:gd name="connsiteX136" fmla="*/ 9330 w 10000"/>
              <a:gd name="connsiteY136" fmla="*/ 4091 h 10000"/>
              <a:gd name="connsiteX137" fmla="*/ 9401 w 10000"/>
              <a:gd name="connsiteY137" fmla="*/ 3885 h 10000"/>
              <a:gd name="connsiteX138" fmla="*/ 9470 w 10000"/>
              <a:gd name="connsiteY138" fmla="*/ 3674 h 10000"/>
              <a:gd name="connsiteX139" fmla="*/ 9535 w 10000"/>
              <a:gd name="connsiteY139" fmla="*/ 3464 h 10000"/>
              <a:gd name="connsiteX140" fmla="*/ 9599 w 10000"/>
              <a:gd name="connsiteY140" fmla="*/ 3248 h 10000"/>
              <a:gd name="connsiteX141" fmla="*/ 9656 w 10000"/>
              <a:gd name="connsiteY141" fmla="*/ 3030 h 10000"/>
              <a:gd name="connsiteX142" fmla="*/ 9711 w 10000"/>
              <a:gd name="connsiteY142" fmla="*/ 2815 h 10000"/>
              <a:gd name="connsiteX143" fmla="*/ 9763 w 10000"/>
              <a:gd name="connsiteY143" fmla="*/ 2592 h 10000"/>
              <a:gd name="connsiteX144" fmla="*/ 9813 w 10000"/>
              <a:gd name="connsiteY144" fmla="*/ 2369 h 10000"/>
              <a:gd name="connsiteX145" fmla="*/ 9856 w 10000"/>
              <a:gd name="connsiteY145" fmla="*/ 2143 h 10000"/>
              <a:gd name="connsiteX146" fmla="*/ 9898 w 10000"/>
              <a:gd name="connsiteY146" fmla="*/ 1918 h 10000"/>
              <a:gd name="connsiteX147" fmla="*/ 9936 w 10000"/>
              <a:gd name="connsiteY147" fmla="*/ 1690 h 10000"/>
              <a:gd name="connsiteX148" fmla="*/ 9970 w 10000"/>
              <a:gd name="connsiteY148" fmla="*/ 1457 h 10000"/>
              <a:gd name="connsiteX149" fmla="*/ 10000 w 10000"/>
              <a:gd name="connsiteY149" fmla="*/ 1222 h 10000"/>
              <a:gd name="connsiteX150" fmla="*/ 7611 w 10000"/>
              <a:gd name="connsiteY150" fmla="*/ 1876 h 10000"/>
              <a:gd name="connsiteX151" fmla="*/ 5615 w 10000"/>
              <a:gd name="connsiteY15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0 w 10000"/>
              <a:gd name="connsiteY67" fmla="*/ 6085 h 10000"/>
              <a:gd name="connsiteX68" fmla="*/ 209 w 10000"/>
              <a:gd name="connsiteY68" fmla="*/ 9512 h 10000"/>
              <a:gd name="connsiteX69" fmla="*/ 344 w 10000"/>
              <a:gd name="connsiteY69" fmla="*/ 9569 h 10000"/>
              <a:gd name="connsiteX70" fmla="*/ 481 w 10000"/>
              <a:gd name="connsiteY70" fmla="*/ 9623 h 10000"/>
              <a:gd name="connsiteX71" fmla="*/ 621 w 10000"/>
              <a:gd name="connsiteY71" fmla="*/ 9673 h 10000"/>
              <a:gd name="connsiteX72" fmla="*/ 758 w 10000"/>
              <a:gd name="connsiteY72" fmla="*/ 9720 h 10000"/>
              <a:gd name="connsiteX73" fmla="*/ 899 w 10000"/>
              <a:gd name="connsiteY73" fmla="*/ 9765 h 10000"/>
              <a:gd name="connsiteX74" fmla="*/ 1040 w 10000"/>
              <a:gd name="connsiteY74" fmla="*/ 9804 h 10000"/>
              <a:gd name="connsiteX75" fmla="*/ 1182 w 10000"/>
              <a:gd name="connsiteY75" fmla="*/ 9839 h 10000"/>
              <a:gd name="connsiteX76" fmla="*/ 1325 w 10000"/>
              <a:gd name="connsiteY76" fmla="*/ 9874 h 10000"/>
              <a:gd name="connsiteX77" fmla="*/ 1471 w 10000"/>
              <a:gd name="connsiteY77" fmla="*/ 9903 h 10000"/>
              <a:gd name="connsiteX78" fmla="*/ 1614 w 10000"/>
              <a:gd name="connsiteY78" fmla="*/ 9926 h 10000"/>
              <a:gd name="connsiteX79" fmla="*/ 1760 w 10000"/>
              <a:gd name="connsiteY79" fmla="*/ 9948 h 10000"/>
              <a:gd name="connsiteX80" fmla="*/ 1906 w 10000"/>
              <a:gd name="connsiteY80" fmla="*/ 9965 h 10000"/>
              <a:gd name="connsiteX81" fmla="*/ 2052 w 10000"/>
              <a:gd name="connsiteY81" fmla="*/ 9980 h 10000"/>
              <a:gd name="connsiteX82" fmla="*/ 2202 w 10000"/>
              <a:gd name="connsiteY82" fmla="*/ 9990 h 10000"/>
              <a:gd name="connsiteX83" fmla="*/ 2350 w 10000"/>
              <a:gd name="connsiteY83" fmla="*/ 9995 h 10000"/>
              <a:gd name="connsiteX84" fmla="*/ 2498 w 10000"/>
              <a:gd name="connsiteY84" fmla="*/ 10000 h 10000"/>
              <a:gd name="connsiteX85" fmla="*/ 2677 w 10000"/>
              <a:gd name="connsiteY85" fmla="*/ 9995 h 10000"/>
              <a:gd name="connsiteX86" fmla="*/ 2850 w 10000"/>
              <a:gd name="connsiteY86" fmla="*/ 9988 h 10000"/>
              <a:gd name="connsiteX87" fmla="*/ 3024 w 10000"/>
              <a:gd name="connsiteY87" fmla="*/ 9975 h 10000"/>
              <a:gd name="connsiteX88" fmla="*/ 3195 w 10000"/>
              <a:gd name="connsiteY88" fmla="*/ 9953 h 10000"/>
              <a:gd name="connsiteX89" fmla="*/ 3368 w 10000"/>
              <a:gd name="connsiteY89" fmla="*/ 9931 h 10000"/>
              <a:gd name="connsiteX90" fmla="*/ 3538 w 10000"/>
              <a:gd name="connsiteY90" fmla="*/ 9898 h 10000"/>
              <a:gd name="connsiteX91" fmla="*/ 3709 w 10000"/>
              <a:gd name="connsiteY91" fmla="*/ 9866 h 10000"/>
              <a:gd name="connsiteX92" fmla="*/ 3877 w 10000"/>
              <a:gd name="connsiteY92" fmla="*/ 9824 h 10000"/>
              <a:gd name="connsiteX93" fmla="*/ 4042 w 10000"/>
              <a:gd name="connsiteY93" fmla="*/ 9779 h 10000"/>
              <a:gd name="connsiteX94" fmla="*/ 4210 w 10000"/>
              <a:gd name="connsiteY94" fmla="*/ 9730 h 10000"/>
              <a:gd name="connsiteX95" fmla="*/ 4372 w 10000"/>
              <a:gd name="connsiteY95" fmla="*/ 9673 h 10000"/>
              <a:gd name="connsiteX96" fmla="*/ 4536 w 10000"/>
              <a:gd name="connsiteY96" fmla="*/ 9616 h 10000"/>
              <a:gd name="connsiteX97" fmla="*/ 4697 w 10000"/>
              <a:gd name="connsiteY97" fmla="*/ 9552 h 10000"/>
              <a:gd name="connsiteX98" fmla="*/ 4857 w 10000"/>
              <a:gd name="connsiteY98" fmla="*/ 9482 h 10000"/>
              <a:gd name="connsiteX99" fmla="*/ 5014 w 10000"/>
              <a:gd name="connsiteY99" fmla="*/ 9405 h 10000"/>
              <a:gd name="connsiteX100" fmla="*/ 5171 w 10000"/>
              <a:gd name="connsiteY100" fmla="*/ 9329 h 10000"/>
              <a:gd name="connsiteX101" fmla="*/ 5326 w 10000"/>
              <a:gd name="connsiteY101" fmla="*/ 9244 h 10000"/>
              <a:gd name="connsiteX102" fmla="*/ 5480 w 10000"/>
              <a:gd name="connsiteY102" fmla="*/ 9158 h 10000"/>
              <a:gd name="connsiteX103" fmla="*/ 5631 w 10000"/>
              <a:gd name="connsiteY103" fmla="*/ 9063 h 10000"/>
              <a:gd name="connsiteX104" fmla="*/ 5781 w 10000"/>
              <a:gd name="connsiteY104" fmla="*/ 8967 h 10000"/>
              <a:gd name="connsiteX105" fmla="*/ 5931 w 10000"/>
              <a:gd name="connsiteY105" fmla="*/ 8865 h 10000"/>
              <a:gd name="connsiteX106" fmla="*/ 6075 w 10000"/>
              <a:gd name="connsiteY106" fmla="*/ 8759 h 10000"/>
              <a:gd name="connsiteX107" fmla="*/ 6221 w 10000"/>
              <a:gd name="connsiteY107" fmla="*/ 8652 h 10000"/>
              <a:gd name="connsiteX108" fmla="*/ 6364 w 10000"/>
              <a:gd name="connsiteY108" fmla="*/ 8536 h 10000"/>
              <a:gd name="connsiteX109" fmla="*/ 6505 w 10000"/>
              <a:gd name="connsiteY109" fmla="*/ 8417 h 10000"/>
              <a:gd name="connsiteX110" fmla="*/ 6642 w 10000"/>
              <a:gd name="connsiteY110" fmla="*/ 8295 h 10000"/>
              <a:gd name="connsiteX111" fmla="*/ 6780 w 10000"/>
              <a:gd name="connsiteY111" fmla="*/ 8169 h 10000"/>
              <a:gd name="connsiteX112" fmla="*/ 6913 w 10000"/>
              <a:gd name="connsiteY112" fmla="*/ 8040 h 10000"/>
              <a:gd name="connsiteX113" fmla="*/ 7045 w 10000"/>
              <a:gd name="connsiteY113" fmla="*/ 7904 h 10000"/>
              <a:gd name="connsiteX114" fmla="*/ 7175 w 10000"/>
              <a:gd name="connsiteY114" fmla="*/ 7768 h 10000"/>
              <a:gd name="connsiteX115" fmla="*/ 7304 w 10000"/>
              <a:gd name="connsiteY115" fmla="*/ 7624 h 10000"/>
              <a:gd name="connsiteX116" fmla="*/ 7429 w 10000"/>
              <a:gd name="connsiteY116" fmla="*/ 7480 h 10000"/>
              <a:gd name="connsiteX117" fmla="*/ 7552 w 10000"/>
              <a:gd name="connsiteY117" fmla="*/ 7329 h 10000"/>
              <a:gd name="connsiteX118" fmla="*/ 7673 w 10000"/>
              <a:gd name="connsiteY118" fmla="*/ 7178 h 10000"/>
              <a:gd name="connsiteX119" fmla="*/ 7792 w 10000"/>
              <a:gd name="connsiteY119" fmla="*/ 7024 h 10000"/>
              <a:gd name="connsiteX120" fmla="*/ 7907 w 10000"/>
              <a:gd name="connsiteY120" fmla="*/ 6861 h 10000"/>
              <a:gd name="connsiteX121" fmla="*/ 8022 w 10000"/>
              <a:gd name="connsiteY121" fmla="*/ 6697 h 10000"/>
              <a:gd name="connsiteX122" fmla="*/ 8133 w 10000"/>
              <a:gd name="connsiteY122" fmla="*/ 6534 h 10000"/>
              <a:gd name="connsiteX123" fmla="*/ 8240 w 10000"/>
              <a:gd name="connsiteY123" fmla="*/ 6365 h 10000"/>
              <a:gd name="connsiteX124" fmla="*/ 8347 w 10000"/>
              <a:gd name="connsiteY124" fmla="*/ 6189 h 10000"/>
              <a:gd name="connsiteX125" fmla="*/ 8450 w 10000"/>
              <a:gd name="connsiteY125" fmla="*/ 6016 h 10000"/>
              <a:gd name="connsiteX126" fmla="*/ 8552 w 10000"/>
              <a:gd name="connsiteY126" fmla="*/ 5835 h 10000"/>
              <a:gd name="connsiteX127" fmla="*/ 8650 w 10000"/>
              <a:gd name="connsiteY127" fmla="*/ 5652 h 10000"/>
              <a:gd name="connsiteX128" fmla="*/ 8745 w 10000"/>
              <a:gd name="connsiteY128" fmla="*/ 5468 h 10000"/>
              <a:gd name="connsiteX129" fmla="*/ 8837 w 10000"/>
              <a:gd name="connsiteY129" fmla="*/ 5278 h 10000"/>
              <a:gd name="connsiteX130" fmla="*/ 8927 w 10000"/>
              <a:gd name="connsiteY130" fmla="*/ 5089 h 10000"/>
              <a:gd name="connsiteX131" fmla="*/ 9014 w 10000"/>
              <a:gd name="connsiteY131" fmla="*/ 4893 h 10000"/>
              <a:gd name="connsiteX132" fmla="*/ 9098 w 10000"/>
              <a:gd name="connsiteY132" fmla="*/ 4698 h 10000"/>
              <a:gd name="connsiteX133" fmla="*/ 9178 w 10000"/>
              <a:gd name="connsiteY133" fmla="*/ 4500 h 10000"/>
              <a:gd name="connsiteX134" fmla="*/ 9256 w 10000"/>
              <a:gd name="connsiteY134" fmla="*/ 4294 h 10000"/>
              <a:gd name="connsiteX135" fmla="*/ 9330 w 10000"/>
              <a:gd name="connsiteY135" fmla="*/ 4091 h 10000"/>
              <a:gd name="connsiteX136" fmla="*/ 9401 w 10000"/>
              <a:gd name="connsiteY136" fmla="*/ 3885 h 10000"/>
              <a:gd name="connsiteX137" fmla="*/ 9470 w 10000"/>
              <a:gd name="connsiteY137" fmla="*/ 3674 h 10000"/>
              <a:gd name="connsiteX138" fmla="*/ 9535 w 10000"/>
              <a:gd name="connsiteY138" fmla="*/ 3464 h 10000"/>
              <a:gd name="connsiteX139" fmla="*/ 9599 w 10000"/>
              <a:gd name="connsiteY139" fmla="*/ 3248 h 10000"/>
              <a:gd name="connsiteX140" fmla="*/ 9656 w 10000"/>
              <a:gd name="connsiteY140" fmla="*/ 3030 h 10000"/>
              <a:gd name="connsiteX141" fmla="*/ 9711 w 10000"/>
              <a:gd name="connsiteY141" fmla="*/ 2815 h 10000"/>
              <a:gd name="connsiteX142" fmla="*/ 9763 w 10000"/>
              <a:gd name="connsiteY142" fmla="*/ 2592 h 10000"/>
              <a:gd name="connsiteX143" fmla="*/ 9813 w 10000"/>
              <a:gd name="connsiteY143" fmla="*/ 2369 h 10000"/>
              <a:gd name="connsiteX144" fmla="*/ 9856 w 10000"/>
              <a:gd name="connsiteY144" fmla="*/ 2143 h 10000"/>
              <a:gd name="connsiteX145" fmla="*/ 9898 w 10000"/>
              <a:gd name="connsiteY145" fmla="*/ 1918 h 10000"/>
              <a:gd name="connsiteX146" fmla="*/ 9936 w 10000"/>
              <a:gd name="connsiteY146" fmla="*/ 1690 h 10000"/>
              <a:gd name="connsiteX147" fmla="*/ 9970 w 10000"/>
              <a:gd name="connsiteY147" fmla="*/ 1457 h 10000"/>
              <a:gd name="connsiteX148" fmla="*/ 10000 w 10000"/>
              <a:gd name="connsiteY148" fmla="*/ 1222 h 10000"/>
              <a:gd name="connsiteX149" fmla="*/ 7611 w 10000"/>
              <a:gd name="connsiteY149" fmla="*/ 1876 h 10000"/>
              <a:gd name="connsiteX150" fmla="*/ 5615 w 10000"/>
              <a:gd name="connsiteY15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0 w 10000"/>
              <a:gd name="connsiteY66" fmla="*/ 6085 h 10000"/>
              <a:gd name="connsiteX67" fmla="*/ 209 w 10000"/>
              <a:gd name="connsiteY67" fmla="*/ 9512 h 10000"/>
              <a:gd name="connsiteX68" fmla="*/ 344 w 10000"/>
              <a:gd name="connsiteY68" fmla="*/ 9569 h 10000"/>
              <a:gd name="connsiteX69" fmla="*/ 481 w 10000"/>
              <a:gd name="connsiteY69" fmla="*/ 9623 h 10000"/>
              <a:gd name="connsiteX70" fmla="*/ 621 w 10000"/>
              <a:gd name="connsiteY70" fmla="*/ 9673 h 10000"/>
              <a:gd name="connsiteX71" fmla="*/ 758 w 10000"/>
              <a:gd name="connsiteY71" fmla="*/ 9720 h 10000"/>
              <a:gd name="connsiteX72" fmla="*/ 899 w 10000"/>
              <a:gd name="connsiteY72" fmla="*/ 9765 h 10000"/>
              <a:gd name="connsiteX73" fmla="*/ 1040 w 10000"/>
              <a:gd name="connsiteY73" fmla="*/ 9804 h 10000"/>
              <a:gd name="connsiteX74" fmla="*/ 1182 w 10000"/>
              <a:gd name="connsiteY74" fmla="*/ 9839 h 10000"/>
              <a:gd name="connsiteX75" fmla="*/ 1325 w 10000"/>
              <a:gd name="connsiteY75" fmla="*/ 9874 h 10000"/>
              <a:gd name="connsiteX76" fmla="*/ 1471 w 10000"/>
              <a:gd name="connsiteY76" fmla="*/ 9903 h 10000"/>
              <a:gd name="connsiteX77" fmla="*/ 1614 w 10000"/>
              <a:gd name="connsiteY77" fmla="*/ 9926 h 10000"/>
              <a:gd name="connsiteX78" fmla="*/ 1760 w 10000"/>
              <a:gd name="connsiteY78" fmla="*/ 9948 h 10000"/>
              <a:gd name="connsiteX79" fmla="*/ 1906 w 10000"/>
              <a:gd name="connsiteY79" fmla="*/ 9965 h 10000"/>
              <a:gd name="connsiteX80" fmla="*/ 2052 w 10000"/>
              <a:gd name="connsiteY80" fmla="*/ 9980 h 10000"/>
              <a:gd name="connsiteX81" fmla="*/ 2202 w 10000"/>
              <a:gd name="connsiteY81" fmla="*/ 9990 h 10000"/>
              <a:gd name="connsiteX82" fmla="*/ 2350 w 10000"/>
              <a:gd name="connsiteY82" fmla="*/ 9995 h 10000"/>
              <a:gd name="connsiteX83" fmla="*/ 2498 w 10000"/>
              <a:gd name="connsiteY83" fmla="*/ 10000 h 10000"/>
              <a:gd name="connsiteX84" fmla="*/ 2677 w 10000"/>
              <a:gd name="connsiteY84" fmla="*/ 9995 h 10000"/>
              <a:gd name="connsiteX85" fmla="*/ 2850 w 10000"/>
              <a:gd name="connsiteY85" fmla="*/ 9988 h 10000"/>
              <a:gd name="connsiteX86" fmla="*/ 3024 w 10000"/>
              <a:gd name="connsiteY86" fmla="*/ 9975 h 10000"/>
              <a:gd name="connsiteX87" fmla="*/ 3195 w 10000"/>
              <a:gd name="connsiteY87" fmla="*/ 9953 h 10000"/>
              <a:gd name="connsiteX88" fmla="*/ 3368 w 10000"/>
              <a:gd name="connsiteY88" fmla="*/ 9931 h 10000"/>
              <a:gd name="connsiteX89" fmla="*/ 3538 w 10000"/>
              <a:gd name="connsiteY89" fmla="*/ 9898 h 10000"/>
              <a:gd name="connsiteX90" fmla="*/ 3709 w 10000"/>
              <a:gd name="connsiteY90" fmla="*/ 9866 h 10000"/>
              <a:gd name="connsiteX91" fmla="*/ 3877 w 10000"/>
              <a:gd name="connsiteY91" fmla="*/ 9824 h 10000"/>
              <a:gd name="connsiteX92" fmla="*/ 4042 w 10000"/>
              <a:gd name="connsiteY92" fmla="*/ 9779 h 10000"/>
              <a:gd name="connsiteX93" fmla="*/ 4210 w 10000"/>
              <a:gd name="connsiteY93" fmla="*/ 9730 h 10000"/>
              <a:gd name="connsiteX94" fmla="*/ 4372 w 10000"/>
              <a:gd name="connsiteY94" fmla="*/ 9673 h 10000"/>
              <a:gd name="connsiteX95" fmla="*/ 4536 w 10000"/>
              <a:gd name="connsiteY95" fmla="*/ 9616 h 10000"/>
              <a:gd name="connsiteX96" fmla="*/ 4697 w 10000"/>
              <a:gd name="connsiteY96" fmla="*/ 9552 h 10000"/>
              <a:gd name="connsiteX97" fmla="*/ 4857 w 10000"/>
              <a:gd name="connsiteY97" fmla="*/ 9482 h 10000"/>
              <a:gd name="connsiteX98" fmla="*/ 5014 w 10000"/>
              <a:gd name="connsiteY98" fmla="*/ 9405 h 10000"/>
              <a:gd name="connsiteX99" fmla="*/ 5171 w 10000"/>
              <a:gd name="connsiteY99" fmla="*/ 9329 h 10000"/>
              <a:gd name="connsiteX100" fmla="*/ 5326 w 10000"/>
              <a:gd name="connsiteY100" fmla="*/ 9244 h 10000"/>
              <a:gd name="connsiteX101" fmla="*/ 5480 w 10000"/>
              <a:gd name="connsiteY101" fmla="*/ 9158 h 10000"/>
              <a:gd name="connsiteX102" fmla="*/ 5631 w 10000"/>
              <a:gd name="connsiteY102" fmla="*/ 9063 h 10000"/>
              <a:gd name="connsiteX103" fmla="*/ 5781 w 10000"/>
              <a:gd name="connsiteY103" fmla="*/ 8967 h 10000"/>
              <a:gd name="connsiteX104" fmla="*/ 5931 w 10000"/>
              <a:gd name="connsiteY104" fmla="*/ 8865 h 10000"/>
              <a:gd name="connsiteX105" fmla="*/ 6075 w 10000"/>
              <a:gd name="connsiteY105" fmla="*/ 8759 h 10000"/>
              <a:gd name="connsiteX106" fmla="*/ 6221 w 10000"/>
              <a:gd name="connsiteY106" fmla="*/ 8652 h 10000"/>
              <a:gd name="connsiteX107" fmla="*/ 6364 w 10000"/>
              <a:gd name="connsiteY107" fmla="*/ 8536 h 10000"/>
              <a:gd name="connsiteX108" fmla="*/ 6505 w 10000"/>
              <a:gd name="connsiteY108" fmla="*/ 8417 h 10000"/>
              <a:gd name="connsiteX109" fmla="*/ 6642 w 10000"/>
              <a:gd name="connsiteY109" fmla="*/ 8295 h 10000"/>
              <a:gd name="connsiteX110" fmla="*/ 6780 w 10000"/>
              <a:gd name="connsiteY110" fmla="*/ 8169 h 10000"/>
              <a:gd name="connsiteX111" fmla="*/ 6913 w 10000"/>
              <a:gd name="connsiteY111" fmla="*/ 8040 h 10000"/>
              <a:gd name="connsiteX112" fmla="*/ 7045 w 10000"/>
              <a:gd name="connsiteY112" fmla="*/ 7904 h 10000"/>
              <a:gd name="connsiteX113" fmla="*/ 7175 w 10000"/>
              <a:gd name="connsiteY113" fmla="*/ 7768 h 10000"/>
              <a:gd name="connsiteX114" fmla="*/ 7304 w 10000"/>
              <a:gd name="connsiteY114" fmla="*/ 7624 h 10000"/>
              <a:gd name="connsiteX115" fmla="*/ 7429 w 10000"/>
              <a:gd name="connsiteY115" fmla="*/ 7480 h 10000"/>
              <a:gd name="connsiteX116" fmla="*/ 7552 w 10000"/>
              <a:gd name="connsiteY116" fmla="*/ 7329 h 10000"/>
              <a:gd name="connsiteX117" fmla="*/ 7673 w 10000"/>
              <a:gd name="connsiteY117" fmla="*/ 7178 h 10000"/>
              <a:gd name="connsiteX118" fmla="*/ 7792 w 10000"/>
              <a:gd name="connsiteY118" fmla="*/ 7024 h 10000"/>
              <a:gd name="connsiteX119" fmla="*/ 7907 w 10000"/>
              <a:gd name="connsiteY119" fmla="*/ 6861 h 10000"/>
              <a:gd name="connsiteX120" fmla="*/ 8022 w 10000"/>
              <a:gd name="connsiteY120" fmla="*/ 6697 h 10000"/>
              <a:gd name="connsiteX121" fmla="*/ 8133 w 10000"/>
              <a:gd name="connsiteY121" fmla="*/ 6534 h 10000"/>
              <a:gd name="connsiteX122" fmla="*/ 8240 w 10000"/>
              <a:gd name="connsiteY122" fmla="*/ 6365 h 10000"/>
              <a:gd name="connsiteX123" fmla="*/ 8347 w 10000"/>
              <a:gd name="connsiteY123" fmla="*/ 6189 h 10000"/>
              <a:gd name="connsiteX124" fmla="*/ 8450 w 10000"/>
              <a:gd name="connsiteY124" fmla="*/ 6016 h 10000"/>
              <a:gd name="connsiteX125" fmla="*/ 8552 w 10000"/>
              <a:gd name="connsiteY125" fmla="*/ 5835 h 10000"/>
              <a:gd name="connsiteX126" fmla="*/ 8650 w 10000"/>
              <a:gd name="connsiteY126" fmla="*/ 5652 h 10000"/>
              <a:gd name="connsiteX127" fmla="*/ 8745 w 10000"/>
              <a:gd name="connsiteY127" fmla="*/ 5468 h 10000"/>
              <a:gd name="connsiteX128" fmla="*/ 8837 w 10000"/>
              <a:gd name="connsiteY128" fmla="*/ 5278 h 10000"/>
              <a:gd name="connsiteX129" fmla="*/ 8927 w 10000"/>
              <a:gd name="connsiteY129" fmla="*/ 5089 h 10000"/>
              <a:gd name="connsiteX130" fmla="*/ 9014 w 10000"/>
              <a:gd name="connsiteY130" fmla="*/ 4893 h 10000"/>
              <a:gd name="connsiteX131" fmla="*/ 9098 w 10000"/>
              <a:gd name="connsiteY131" fmla="*/ 4698 h 10000"/>
              <a:gd name="connsiteX132" fmla="*/ 9178 w 10000"/>
              <a:gd name="connsiteY132" fmla="*/ 4500 h 10000"/>
              <a:gd name="connsiteX133" fmla="*/ 9256 w 10000"/>
              <a:gd name="connsiteY133" fmla="*/ 4294 h 10000"/>
              <a:gd name="connsiteX134" fmla="*/ 9330 w 10000"/>
              <a:gd name="connsiteY134" fmla="*/ 4091 h 10000"/>
              <a:gd name="connsiteX135" fmla="*/ 9401 w 10000"/>
              <a:gd name="connsiteY135" fmla="*/ 3885 h 10000"/>
              <a:gd name="connsiteX136" fmla="*/ 9470 w 10000"/>
              <a:gd name="connsiteY136" fmla="*/ 3674 h 10000"/>
              <a:gd name="connsiteX137" fmla="*/ 9535 w 10000"/>
              <a:gd name="connsiteY137" fmla="*/ 3464 h 10000"/>
              <a:gd name="connsiteX138" fmla="*/ 9599 w 10000"/>
              <a:gd name="connsiteY138" fmla="*/ 3248 h 10000"/>
              <a:gd name="connsiteX139" fmla="*/ 9656 w 10000"/>
              <a:gd name="connsiteY139" fmla="*/ 3030 h 10000"/>
              <a:gd name="connsiteX140" fmla="*/ 9711 w 10000"/>
              <a:gd name="connsiteY140" fmla="*/ 2815 h 10000"/>
              <a:gd name="connsiteX141" fmla="*/ 9763 w 10000"/>
              <a:gd name="connsiteY141" fmla="*/ 2592 h 10000"/>
              <a:gd name="connsiteX142" fmla="*/ 9813 w 10000"/>
              <a:gd name="connsiteY142" fmla="*/ 2369 h 10000"/>
              <a:gd name="connsiteX143" fmla="*/ 9856 w 10000"/>
              <a:gd name="connsiteY143" fmla="*/ 2143 h 10000"/>
              <a:gd name="connsiteX144" fmla="*/ 9898 w 10000"/>
              <a:gd name="connsiteY144" fmla="*/ 1918 h 10000"/>
              <a:gd name="connsiteX145" fmla="*/ 9936 w 10000"/>
              <a:gd name="connsiteY145" fmla="*/ 1690 h 10000"/>
              <a:gd name="connsiteX146" fmla="*/ 9970 w 10000"/>
              <a:gd name="connsiteY146" fmla="*/ 1457 h 10000"/>
              <a:gd name="connsiteX147" fmla="*/ 10000 w 10000"/>
              <a:gd name="connsiteY147" fmla="*/ 1222 h 10000"/>
              <a:gd name="connsiteX148" fmla="*/ 7611 w 10000"/>
              <a:gd name="connsiteY148" fmla="*/ 1876 h 10000"/>
              <a:gd name="connsiteX149" fmla="*/ 5615 w 10000"/>
              <a:gd name="connsiteY14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0 w 10000"/>
              <a:gd name="connsiteY65" fmla="*/ 6085 h 10000"/>
              <a:gd name="connsiteX66" fmla="*/ 209 w 10000"/>
              <a:gd name="connsiteY66" fmla="*/ 9512 h 10000"/>
              <a:gd name="connsiteX67" fmla="*/ 344 w 10000"/>
              <a:gd name="connsiteY67" fmla="*/ 9569 h 10000"/>
              <a:gd name="connsiteX68" fmla="*/ 481 w 10000"/>
              <a:gd name="connsiteY68" fmla="*/ 9623 h 10000"/>
              <a:gd name="connsiteX69" fmla="*/ 621 w 10000"/>
              <a:gd name="connsiteY69" fmla="*/ 9673 h 10000"/>
              <a:gd name="connsiteX70" fmla="*/ 758 w 10000"/>
              <a:gd name="connsiteY70" fmla="*/ 9720 h 10000"/>
              <a:gd name="connsiteX71" fmla="*/ 899 w 10000"/>
              <a:gd name="connsiteY71" fmla="*/ 9765 h 10000"/>
              <a:gd name="connsiteX72" fmla="*/ 1040 w 10000"/>
              <a:gd name="connsiteY72" fmla="*/ 9804 h 10000"/>
              <a:gd name="connsiteX73" fmla="*/ 1182 w 10000"/>
              <a:gd name="connsiteY73" fmla="*/ 9839 h 10000"/>
              <a:gd name="connsiteX74" fmla="*/ 1325 w 10000"/>
              <a:gd name="connsiteY74" fmla="*/ 9874 h 10000"/>
              <a:gd name="connsiteX75" fmla="*/ 1471 w 10000"/>
              <a:gd name="connsiteY75" fmla="*/ 9903 h 10000"/>
              <a:gd name="connsiteX76" fmla="*/ 1614 w 10000"/>
              <a:gd name="connsiteY76" fmla="*/ 9926 h 10000"/>
              <a:gd name="connsiteX77" fmla="*/ 1760 w 10000"/>
              <a:gd name="connsiteY77" fmla="*/ 9948 h 10000"/>
              <a:gd name="connsiteX78" fmla="*/ 1906 w 10000"/>
              <a:gd name="connsiteY78" fmla="*/ 9965 h 10000"/>
              <a:gd name="connsiteX79" fmla="*/ 2052 w 10000"/>
              <a:gd name="connsiteY79" fmla="*/ 9980 h 10000"/>
              <a:gd name="connsiteX80" fmla="*/ 2202 w 10000"/>
              <a:gd name="connsiteY80" fmla="*/ 9990 h 10000"/>
              <a:gd name="connsiteX81" fmla="*/ 2350 w 10000"/>
              <a:gd name="connsiteY81" fmla="*/ 9995 h 10000"/>
              <a:gd name="connsiteX82" fmla="*/ 2498 w 10000"/>
              <a:gd name="connsiteY82" fmla="*/ 10000 h 10000"/>
              <a:gd name="connsiteX83" fmla="*/ 2677 w 10000"/>
              <a:gd name="connsiteY83" fmla="*/ 9995 h 10000"/>
              <a:gd name="connsiteX84" fmla="*/ 2850 w 10000"/>
              <a:gd name="connsiteY84" fmla="*/ 9988 h 10000"/>
              <a:gd name="connsiteX85" fmla="*/ 3024 w 10000"/>
              <a:gd name="connsiteY85" fmla="*/ 9975 h 10000"/>
              <a:gd name="connsiteX86" fmla="*/ 3195 w 10000"/>
              <a:gd name="connsiteY86" fmla="*/ 9953 h 10000"/>
              <a:gd name="connsiteX87" fmla="*/ 3368 w 10000"/>
              <a:gd name="connsiteY87" fmla="*/ 9931 h 10000"/>
              <a:gd name="connsiteX88" fmla="*/ 3538 w 10000"/>
              <a:gd name="connsiteY88" fmla="*/ 9898 h 10000"/>
              <a:gd name="connsiteX89" fmla="*/ 3709 w 10000"/>
              <a:gd name="connsiteY89" fmla="*/ 9866 h 10000"/>
              <a:gd name="connsiteX90" fmla="*/ 3877 w 10000"/>
              <a:gd name="connsiteY90" fmla="*/ 9824 h 10000"/>
              <a:gd name="connsiteX91" fmla="*/ 4042 w 10000"/>
              <a:gd name="connsiteY91" fmla="*/ 9779 h 10000"/>
              <a:gd name="connsiteX92" fmla="*/ 4210 w 10000"/>
              <a:gd name="connsiteY92" fmla="*/ 9730 h 10000"/>
              <a:gd name="connsiteX93" fmla="*/ 4372 w 10000"/>
              <a:gd name="connsiteY93" fmla="*/ 9673 h 10000"/>
              <a:gd name="connsiteX94" fmla="*/ 4536 w 10000"/>
              <a:gd name="connsiteY94" fmla="*/ 9616 h 10000"/>
              <a:gd name="connsiteX95" fmla="*/ 4697 w 10000"/>
              <a:gd name="connsiteY95" fmla="*/ 9552 h 10000"/>
              <a:gd name="connsiteX96" fmla="*/ 4857 w 10000"/>
              <a:gd name="connsiteY96" fmla="*/ 9482 h 10000"/>
              <a:gd name="connsiteX97" fmla="*/ 5014 w 10000"/>
              <a:gd name="connsiteY97" fmla="*/ 9405 h 10000"/>
              <a:gd name="connsiteX98" fmla="*/ 5171 w 10000"/>
              <a:gd name="connsiteY98" fmla="*/ 9329 h 10000"/>
              <a:gd name="connsiteX99" fmla="*/ 5326 w 10000"/>
              <a:gd name="connsiteY99" fmla="*/ 9244 h 10000"/>
              <a:gd name="connsiteX100" fmla="*/ 5480 w 10000"/>
              <a:gd name="connsiteY100" fmla="*/ 9158 h 10000"/>
              <a:gd name="connsiteX101" fmla="*/ 5631 w 10000"/>
              <a:gd name="connsiteY101" fmla="*/ 9063 h 10000"/>
              <a:gd name="connsiteX102" fmla="*/ 5781 w 10000"/>
              <a:gd name="connsiteY102" fmla="*/ 8967 h 10000"/>
              <a:gd name="connsiteX103" fmla="*/ 5931 w 10000"/>
              <a:gd name="connsiteY103" fmla="*/ 8865 h 10000"/>
              <a:gd name="connsiteX104" fmla="*/ 6075 w 10000"/>
              <a:gd name="connsiteY104" fmla="*/ 8759 h 10000"/>
              <a:gd name="connsiteX105" fmla="*/ 6221 w 10000"/>
              <a:gd name="connsiteY105" fmla="*/ 8652 h 10000"/>
              <a:gd name="connsiteX106" fmla="*/ 6364 w 10000"/>
              <a:gd name="connsiteY106" fmla="*/ 8536 h 10000"/>
              <a:gd name="connsiteX107" fmla="*/ 6505 w 10000"/>
              <a:gd name="connsiteY107" fmla="*/ 8417 h 10000"/>
              <a:gd name="connsiteX108" fmla="*/ 6642 w 10000"/>
              <a:gd name="connsiteY108" fmla="*/ 8295 h 10000"/>
              <a:gd name="connsiteX109" fmla="*/ 6780 w 10000"/>
              <a:gd name="connsiteY109" fmla="*/ 8169 h 10000"/>
              <a:gd name="connsiteX110" fmla="*/ 6913 w 10000"/>
              <a:gd name="connsiteY110" fmla="*/ 8040 h 10000"/>
              <a:gd name="connsiteX111" fmla="*/ 7045 w 10000"/>
              <a:gd name="connsiteY111" fmla="*/ 7904 h 10000"/>
              <a:gd name="connsiteX112" fmla="*/ 7175 w 10000"/>
              <a:gd name="connsiteY112" fmla="*/ 7768 h 10000"/>
              <a:gd name="connsiteX113" fmla="*/ 7304 w 10000"/>
              <a:gd name="connsiteY113" fmla="*/ 7624 h 10000"/>
              <a:gd name="connsiteX114" fmla="*/ 7429 w 10000"/>
              <a:gd name="connsiteY114" fmla="*/ 7480 h 10000"/>
              <a:gd name="connsiteX115" fmla="*/ 7552 w 10000"/>
              <a:gd name="connsiteY115" fmla="*/ 7329 h 10000"/>
              <a:gd name="connsiteX116" fmla="*/ 7673 w 10000"/>
              <a:gd name="connsiteY116" fmla="*/ 7178 h 10000"/>
              <a:gd name="connsiteX117" fmla="*/ 7792 w 10000"/>
              <a:gd name="connsiteY117" fmla="*/ 7024 h 10000"/>
              <a:gd name="connsiteX118" fmla="*/ 7907 w 10000"/>
              <a:gd name="connsiteY118" fmla="*/ 6861 h 10000"/>
              <a:gd name="connsiteX119" fmla="*/ 8022 w 10000"/>
              <a:gd name="connsiteY119" fmla="*/ 6697 h 10000"/>
              <a:gd name="connsiteX120" fmla="*/ 8133 w 10000"/>
              <a:gd name="connsiteY120" fmla="*/ 6534 h 10000"/>
              <a:gd name="connsiteX121" fmla="*/ 8240 w 10000"/>
              <a:gd name="connsiteY121" fmla="*/ 6365 h 10000"/>
              <a:gd name="connsiteX122" fmla="*/ 8347 w 10000"/>
              <a:gd name="connsiteY122" fmla="*/ 6189 h 10000"/>
              <a:gd name="connsiteX123" fmla="*/ 8450 w 10000"/>
              <a:gd name="connsiteY123" fmla="*/ 6016 h 10000"/>
              <a:gd name="connsiteX124" fmla="*/ 8552 w 10000"/>
              <a:gd name="connsiteY124" fmla="*/ 5835 h 10000"/>
              <a:gd name="connsiteX125" fmla="*/ 8650 w 10000"/>
              <a:gd name="connsiteY125" fmla="*/ 5652 h 10000"/>
              <a:gd name="connsiteX126" fmla="*/ 8745 w 10000"/>
              <a:gd name="connsiteY126" fmla="*/ 5468 h 10000"/>
              <a:gd name="connsiteX127" fmla="*/ 8837 w 10000"/>
              <a:gd name="connsiteY127" fmla="*/ 5278 h 10000"/>
              <a:gd name="connsiteX128" fmla="*/ 8927 w 10000"/>
              <a:gd name="connsiteY128" fmla="*/ 5089 h 10000"/>
              <a:gd name="connsiteX129" fmla="*/ 9014 w 10000"/>
              <a:gd name="connsiteY129" fmla="*/ 4893 h 10000"/>
              <a:gd name="connsiteX130" fmla="*/ 9098 w 10000"/>
              <a:gd name="connsiteY130" fmla="*/ 4698 h 10000"/>
              <a:gd name="connsiteX131" fmla="*/ 9178 w 10000"/>
              <a:gd name="connsiteY131" fmla="*/ 4500 h 10000"/>
              <a:gd name="connsiteX132" fmla="*/ 9256 w 10000"/>
              <a:gd name="connsiteY132" fmla="*/ 4294 h 10000"/>
              <a:gd name="connsiteX133" fmla="*/ 9330 w 10000"/>
              <a:gd name="connsiteY133" fmla="*/ 4091 h 10000"/>
              <a:gd name="connsiteX134" fmla="*/ 9401 w 10000"/>
              <a:gd name="connsiteY134" fmla="*/ 3885 h 10000"/>
              <a:gd name="connsiteX135" fmla="*/ 9470 w 10000"/>
              <a:gd name="connsiteY135" fmla="*/ 3674 h 10000"/>
              <a:gd name="connsiteX136" fmla="*/ 9535 w 10000"/>
              <a:gd name="connsiteY136" fmla="*/ 3464 h 10000"/>
              <a:gd name="connsiteX137" fmla="*/ 9599 w 10000"/>
              <a:gd name="connsiteY137" fmla="*/ 3248 h 10000"/>
              <a:gd name="connsiteX138" fmla="*/ 9656 w 10000"/>
              <a:gd name="connsiteY138" fmla="*/ 3030 h 10000"/>
              <a:gd name="connsiteX139" fmla="*/ 9711 w 10000"/>
              <a:gd name="connsiteY139" fmla="*/ 2815 h 10000"/>
              <a:gd name="connsiteX140" fmla="*/ 9763 w 10000"/>
              <a:gd name="connsiteY140" fmla="*/ 2592 h 10000"/>
              <a:gd name="connsiteX141" fmla="*/ 9813 w 10000"/>
              <a:gd name="connsiteY141" fmla="*/ 2369 h 10000"/>
              <a:gd name="connsiteX142" fmla="*/ 9856 w 10000"/>
              <a:gd name="connsiteY142" fmla="*/ 2143 h 10000"/>
              <a:gd name="connsiteX143" fmla="*/ 9898 w 10000"/>
              <a:gd name="connsiteY143" fmla="*/ 1918 h 10000"/>
              <a:gd name="connsiteX144" fmla="*/ 9936 w 10000"/>
              <a:gd name="connsiteY144" fmla="*/ 1690 h 10000"/>
              <a:gd name="connsiteX145" fmla="*/ 9970 w 10000"/>
              <a:gd name="connsiteY145" fmla="*/ 1457 h 10000"/>
              <a:gd name="connsiteX146" fmla="*/ 10000 w 10000"/>
              <a:gd name="connsiteY146" fmla="*/ 1222 h 10000"/>
              <a:gd name="connsiteX147" fmla="*/ 7611 w 10000"/>
              <a:gd name="connsiteY147" fmla="*/ 1876 h 10000"/>
              <a:gd name="connsiteX148" fmla="*/ 5615 w 10000"/>
              <a:gd name="connsiteY14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0 w 10000"/>
              <a:gd name="connsiteY64" fmla="*/ 6085 h 10000"/>
              <a:gd name="connsiteX65" fmla="*/ 209 w 10000"/>
              <a:gd name="connsiteY65" fmla="*/ 9512 h 10000"/>
              <a:gd name="connsiteX66" fmla="*/ 344 w 10000"/>
              <a:gd name="connsiteY66" fmla="*/ 9569 h 10000"/>
              <a:gd name="connsiteX67" fmla="*/ 481 w 10000"/>
              <a:gd name="connsiteY67" fmla="*/ 9623 h 10000"/>
              <a:gd name="connsiteX68" fmla="*/ 621 w 10000"/>
              <a:gd name="connsiteY68" fmla="*/ 9673 h 10000"/>
              <a:gd name="connsiteX69" fmla="*/ 758 w 10000"/>
              <a:gd name="connsiteY69" fmla="*/ 9720 h 10000"/>
              <a:gd name="connsiteX70" fmla="*/ 899 w 10000"/>
              <a:gd name="connsiteY70" fmla="*/ 9765 h 10000"/>
              <a:gd name="connsiteX71" fmla="*/ 1040 w 10000"/>
              <a:gd name="connsiteY71" fmla="*/ 9804 h 10000"/>
              <a:gd name="connsiteX72" fmla="*/ 1182 w 10000"/>
              <a:gd name="connsiteY72" fmla="*/ 9839 h 10000"/>
              <a:gd name="connsiteX73" fmla="*/ 1325 w 10000"/>
              <a:gd name="connsiteY73" fmla="*/ 9874 h 10000"/>
              <a:gd name="connsiteX74" fmla="*/ 1471 w 10000"/>
              <a:gd name="connsiteY74" fmla="*/ 9903 h 10000"/>
              <a:gd name="connsiteX75" fmla="*/ 1614 w 10000"/>
              <a:gd name="connsiteY75" fmla="*/ 9926 h 10000"/>
              <a:gd name="connsiteX76" fmla="*/ 1760 w 10000"/>
              <a:gd name="connsiteY76" fmla="*/ 9948 h 10000"/>
              <a:gd name="connsiteX77" fmla="*/ 1906 w 10000"/>
              <a:gd name="connsiteY77" fmla="*/ 9965 h 10000"/>
              <a:gd name="connsiteX78" fmla="*/ 2052 w 10000"/>
              <a:gd name="connsiteY78" fmla="*/ 9980 h 10000"/>
              <a:gd name="connsiteX79" fmla="*/ 2202 w 10000"/>
              <a:gd name="connsiteY79" fmla="*/ 9990 h 10000"/>
              <a:gd name="connsiteX80" fmla="*/ 2350 w 10000"/>
              <a:gd name="connsiteY80" fmla="*/ 9995 h 10000"/>
              <a:gd name="connsiteX81" fmla="*/ 2498 w 10000"/>
              <a:gd name="connsiteY81" fmla="*/ 10000 h 10000"/>
              <a:gd name="connsiteX82" fmla="*/ 2677 w 10000"/>
              <a:gd name="connsiteY82" fmla="*/ 9995 h 10000"/>
              <a:gd name="connsiteX83" fmla="*/ 2850 w 10000"/>
              <a:gd name="connsiteY83" fmla="*/ 9988 h 10000"/>
              <a:gd name="connsiteX84" fmla="*/ 3024 w 10000"/>
              <a:gd name="connsiteY84" fmla="*/ 9975 h 10000"/>
              <a:gd name="connsiteX85" fmla="*/ 3195 w 10000"/>
              <a:gd name="connsiteY85" fmla="*/ 9953 h 10000"/>
              <a:gd name="connsiteX86" fmla="*/ 3368 w 10000"/>
              <a:gd name="connsiteY86" fmla="*/ 9931 h 10000"/>
              <a:gd name="connsiteX87" fmla="*/ 3538 w 10000"/>
              <a:gd name="connsiteY87" fmla="*/ 9898 h 10000"/>
              <a:gd name="connsiteX88" fmla="*/ 3709 w 10000"/>
              <a:gd name="connsiteY88" fmla="*/ 9866 h 10000"/>
              <a:gd name="connsiteX89" fmla="*/ 3877 w 10000"/>
              <a:gd name="connsiteY89" fmla="*/ 9824 h 10000"/>
              <a:gd name="connsiteX90" fmla="*/ 4042 w 10000"/>
              <a:gd name="connsiteY90" fmla="*/ 9779 h 10000"/>
              <a:gd name="connsiteX91" fmla="*/ 4210 w 10000"/>
              <a:gd name="connsiteY91" fmla="*/ 9730 h 10000"/>
              <a:gd name="connsiteX92" fmla="*/ 4372 w 10000"/>
              <a:gd name="connsiteY92" fmla="*/ 9673 h 10000"/>
              <a:gd name="connsiteX93" fmla="*/ 4536 w 10000"/>
              <a:gd name="connsiteY93" fmla="*/ 9616 h 10000"/>
              <a:gd name="connsiteX94" fmla="*/ 4697 w 10000"/>
              <a:gd name="connsiteY94" fmla="*/ 9552 h 10000"/>
              <a:gd name="connsiteX95" fmla="*/ 4857 w 10000"/>
              <a:gd name="connsiteY95" fmla="*/ 9482 h 10000"/>
              <a:gd name="connsiteX96" fmla="*/ 5014 w 10000"/>
              <a:gd name="connsiteY96" fmla="*/ 9405 h 10000"/>
              <a:gd name="connsiteX97" fmla="*/ 5171 w 10000"/>
              <a:gd name="connsiteY97" fmla="*/ 9329 h 10000"/>
              <a:gd name="connsiteX98" fmla="*/ 5326 w 10000"/>
              <a:gd name="connsiteY98" fmla="*/ 9244 h 10000"/>
              <a:gd name="connsiteX99" fmla="*/ 5480 w 10000"/>
              <a:gd name="connsiteY99" fmla="*/ 9158 h 10000"/>
              <a:gd name="connsiteX100" fmla="*/ 5631 w 10000"/>
              <a:gd name="connsiteY100" fmla="*/ 9063 h 10000"/>
              <a:gd name="connsiteX101" fmla="*/ 5781 w 10000"/>
              <a:gd name="connsiteY101" fmla="*/ 8967 h 10000"/>
              <a:gd name="connsiteX102" fmla="*/ 5931 w 10000"/>
              <a:gd name="connsiteY102" fmla="*/ 8865 h 10000"/>
              <a:gd name="connsiteX103" fmla="*/ 6075 w 10000"/>
              <a:gd name="connsiteY103" fmla="*/ 8759 h 10000"/>
              <a:gd name="connsiteX104" fmla="*/ 6221 w 10000"/>
              <a:gd name="connsiteY104" fmla="*/ 8652 h 10000"/>
              <a:gd name="connsiteX105" fmla="*/ 6364 w 10000"/>
              <a:gd name="connsiteY105" fmla="*/ 8536 h 10000"/>
              <a:gd name="connsiteX106" fmla="*/ 6505 w 10000"/>
              <a:gd name="connsiteY106" fmla="*/ 8417 h 10000"/>
              <a:gd name="connsiteX107" fmla="*/ 6642 w 10000"/>
              <a:gd name="connsiteY107" fmla="*/ 8295 h 10000"/>
              <a:gd name="connsiteX108" fmla="*/ 6780 w 10000"/>
              <a:gd name="connsiteY108" fmla="*/ 8169 h 10000"/>
              <a:gd name="connsiteX109" fmla="*/ 6913 w 10000"/>
              <a:gd name="connsiteY109" fmla="*/ 8040 h 10000"/>
              <a:gd name="connsiteX110" fmla="*/ 7045 w 10000"/>
              <a:gd name="connsiteY110" fmla="*/ 7904 h 10000"/>
              <a:gd name="connsiteX111" fmla="*/ 7175 w 10000"/>
              <a:gd name="connsiteY111" fmla="*/ 7768 h 10000"/>
              <a:gd name="connsiteX112" fmla="*/ 7304 w 10000"/>
              <a:gd name="connsiteY112" fmla="*/ 7624 h 10000"/>
              <a:gd name="connsiteX113" fmla="*/ 7429 w 10000"/>
              <a:gd name="connsiteY113" fmla="*/ 7480 h 10000"/>
              <a:gd name="connsiteX114" fmla="*/ 7552 w 10000"/>
              <a:gd name="connsiteY114" fmla="*/ 7329 h 10000"/>
              <a:gd name="connsiteX115" fmla="*/ 7673 w 10000"/>
              <a:gd name="connsiteY115" fmla="*/ 7178 h 10000"/>
              <a:gd name="connsiteX116" fmla="*/ 7792 w 10000"/>
              <a:gd name="connsiteY116" fmla="*/ 7024 h 10000"/>
              <a:gd name="connsiteX117" fmla="*/ 7907 w 10000"/>
              <a:gd name="connsiteY117" fmla="*/ 6861 h 10000"/>
              <a:gd name="connsiteX118" fmla="*/ 8022 w 10000"/>
              <a:gd name="connsiteY118" fmla="*/ 6697 h 10000"/>
              <a:gd name="connsiteX119" fmla="*/ 8133 w 10000"/>
              <a:gd name="connsiteY119" fmla="*/ 6534 h 10000"/>
              <a:gd name="connsiteX120" fmla="*/ 8240 w 10000"/>
              <a:gd name="connsiteY120" fmla="*/ 6365 h 10000"/>
              <a:gd name="connsiteX121" fmla="*/ 8347 w 10000"/>
              <a:gd name="connsiteY121" fmla="*/ 6189 h 10000"/>
              <a:gd name="connsiteX122" fmla="*/ 8450 w 10000"/>
              <a:gd name="connsiteY122" fmla="*/ 6016 h 10000"/>
              <a:gd name="connsiteX123" fmla="*/ 8552 w 10000"/>
              <a:gd name="connsiteY123" fmla="*/ 5835 h 10000"/>
              <a:gd name="connsiteX124" fmla="*/ 8650 w 10000"/>
              <a:gd name="connsiteY124" fmla="*/ 5652 h 10000"/>
              <a:gd name="connsiteX125" fmla="*/ 8745 w 10000"/>
              <a:gd name="connsiteY125" fmla="*/ 5468 h 10000"/>
              <a:gd name="connsiteX126" fmla="*/ 8837 w 10000"/>
              <a:gd name="connsiteY126" fmla="*/ 5278 h 10000"/>
              <a:gd name="connsiteX127" fmla="*/ 8927 w 10000"/>
              <a:gd name="connsiteY127" fmla="*/ 5089 h 10000"/>
              <a:gd name="connsiteX128" fmla="*/ 9014 w 10000"/>
              <a:gd name="connsiteY128" fmla="*/ 4893 h 10000"/>
              <a:gd name="connsiteX129" fmla="*/ 9098 w 10000"/>
              <a:gd name="connsiteY129" fmla="*/ 4698 h 10000"/>
              <a:gd name="connsiteX130" fmla="*/ 9178 w 10000"/>
              <a:gd name="connsiteY130" fmla="*/ 4500 h 10000"/>
              <a:gd name="connsiteX131" fmla="*/ 9256 w 10000"/>
              <a:gd name="connsiteY131" fmla="*/ 4294 h 10000"/>
              <a:gd name="connsiteX132" fmla="*/ 9330 w 10000"/>
              <a:gd name="connsiteY132" fmla="*/ 4091 h 10000"/>
              <a:gd name="connsiteX133" fmla="*/ 9401 w 10000"/>
              <a:gd name="connsiteY133" fmla="*/ 3885 h 10000"/>
              <a:gd name="connsiteX134" fmla="*/ 9470 w 10000"/>
              <a:gd name="connsiteY134" fmla="*/ 3674 h 10000"/>
              <a:gd name="connsiteX135" fmla="*/ 9535 w 10000"/>
              <a:gd name="connsiteY135" fmla="*/ 3464 h 10000"/>
              <a:gd name="connsiteX136" fmla="*/ 9599 w 10000"/>
              <a:gd name="connsiteY136" fmla="*/ 3248 h 10000"/>
              <a:gd name="connsiteX137" fmla="*/ 9656 w 10000"/>
              <a:gd name="connsiteY137" fmla="*/ 3030 h 10000"/>
              <a:gd name="connsiteX138" fmla="*/ 9711 w 10000"/>
              <a:gd name="connsiteY138" fmla="*/ 2815 h 10000"/>
              <a:gd name="connsiteX139" fmla="*/ 9763 w 10000"/>
              <a:gd name="connsiteY139" fmla="*/ 2592 h 10000"/>
              <a:gd name="connsiteX140" fmla="*/ 9813 w 10000"/>
              <a:gd name="connsiteY140" fmla="*/ 2369 h 10000"/>
              <a:gd name="connsiteX141" fmla="*/ 9856 w 10000"/>
              <a:gd name="connsiteY141" fmla="*/ 2143 h 10000"/>
              <a:gd name="connsiteX142" fmla="*/ 9898 w 10000"/>
              <a:gd name="connsiteY142" fmla="*/ 1918 h 10000"/>
              <a:gd name="connsiteX143" fmla="*/ 9936 w 10000"/>
              <a:gd name="connsiteY143" fmla="*/ 1690 h 10000"/>
              <a:gd name="connsiteX144" fmla="*/ 9970 w 10000"/>
              <a:gd name="connsiteY144" fmla="*/ 1457 h 10000"/>
              <a:gd name="connsiteX145" fmla="*/ 10000 w 10000"/>
              <a:gd name="connsiteY145" fmla="*/ 1222 h 10000"/>
              <a:gd name="connsiteX146" fmla="*/ 7611 w 10000"/>
              <a:gd name="connsiteY146" fmla="*/ 1876 h 10000"/>
              <a:gd name="connsiteX147" fmla="*/ 5615 w 10000"/>
              <a:gd name="connsiteY14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0 w 10000"/>
              <a:gd name="connsiteY63" fmla="*/ 6085 h 10000"/>
              <a:gd name="connsiteX64" fmla="*/ 209 w 10000"/>
              <a:gd name="connsiteY64" fmla="*/ 9512 h 10000"/>
              <a:gd name="connsiteX65" fmla="*/ 344 w 10000"/>
              <a:gd name="connsiteY65" fmla="*/ 9569 h 10000"/>
              <a:gd name="connsiteX66" fmla="*/ 481 w 10000"/>
              <a:gd name="connsiteY66" fmla="*/ 9623 h 10000"/>
              <a:gd name="connsiteX67" fmla="*/ 621 w 10000"/>
              <a:gd name="connsiteY67" fmla="*/ 9673 h 10000"/>
              <a:gd name="connsiteX68" fmla="*/ 758 w 10000"/>
              <a:gd name="connsiteY68" fmla="*/ 9720 h 10000"/>
              <a:gd name="connsiteX69" fmla="*/ 899 w 10000"/>
              <a:gd name="connsiteY69" fmla="*/ 9765 h 10000"/>
              <a:gd name="connsiteX70" fmla="*/ 1040 w 10000"/>
              <a:gd name="connsiteY70" fmla="*/ 9804 h 10000"/>
              <a:gd name="connsiteX71" fmla="*/ 1182 w 10000"/>
              <a:gd name="connsiteY71" fmla="*/ 9839 h 10000"/>
              <a:gd name="connsiteX72" fmla="*/ 1325 w 10000"/>
              <a:gd name="connsiteY72" fmla="*/ 9874 h 10000"/>
              <a:gd name="connsiteX73" fmla="*/ 1471 w 10000"/>
              <a:gd name="connsiteY73" fmla="*/ 9903 h 10000"/>
              <a:gd name="connsiteX74" fmla="*/ 1614 w 10000"/>
              <a:gd name="connsiteY74" fmla="*/ 9926 h 10000"/>
              <a:gd name="connsiteX75" fmla="*/ 1760 w 10000"/>
              <a:gd name="connsiteY75" fmla="*/ 9948 h 10000"/>
              <a:gd name="connsiteX76" fmla="*/ 1906 w 10000"/>
              <a:gd name="connsiteY76" fmla="*/ 9965 h 10000"/>
              <a:gd name="connsiteX77" fmla="*/ 2052 w 10000"/>
              <a:gd name="connsiteY77" fmla="*/ 9980 h 10000"/>
              <a:gd name="connsiteX78" fmla="*/ 2202 w 10000"/>
              <a:gd name="connsiteY78" fmla="*/ 9990 h 10000"/>
              <a:gd name="connsiteX79" fmla="*/ 2350 w 10000"/>
              <a:gd name="connsiteY79" fmla="*/ 9995 h 10000"/>
              <a:gd name="connsiteX80" fmla="*/ 2498 w 10000"/>
              <a:gd name="connsiteY80" fmla="*/ 10000 h 10000"/>
              <a:gd name="connsiteX81" fmla="*/ 2677 w 10000"/>
              <a:gd name="connsiteY81" fmla="*/ 9995 h 10000"/>
              <a:gd name="connsiteX82" fmla="*/ 2850 w 10000"/>
              <a:gd name="connsiteY82" fmla="*/ 9988 h 10000"/>
              <a:gd name="connsiteX83" fmla="*/ 3024 w 10000"/>
              <a:gd name="connsiteY83" fmla="*/ 9975 h 10000"/>
              <a:gd name="connsiteX84" fmla="*/ 3195 w 10000"/>
              <a:gd name="connsiteY84" fmla="*/ 9953 h 10000"/>
              <a:gd name="connsiteX85" fmla="*/ 3368 w 10000"/>
              <a:gd name="connsiteY85" fmla="*/ 9931 h 10000"/>
              <a:gd name="connsiteX86" fmla="*/ 3538 w 10000"/>
              <a:gd name="connsiteY86" fmla="*/ 9898 h 10000"/>
              <a:gd name="connsiteX87" fmla="*/ 3709 w 10000"/>
              <a:gd name="connsiteY87" fmla="*/ 9866 h 10000"/>
              <a:gd name="connsiteX88" fmla="*/ 3877 w 10000"/>
              <a:gd name="connsiteY88" fmla="*/ 9824 h 10000"/>
              <a:gd name="connsiteX89" fmla="*/ 4042 w 10000"/>
              <a:gd name="connsiteY89" fmla="*/ 9779 h 10000"/>
              <a:gd name="connsiteX90" fmla="*/ 4210 w 10000"/>
              <a:gd name="connsiteY90" fmla="*/ 9730 h 10000"/>
              <a:gd name="connsiteX91" fmla="*/ 4372 w 10000"/>
              <a:gd name="connsiteY91" fmla="*/ 9673 h 10000"/>
              <a:gd name="connsiteX92" fmla="*/ 4536 w 10000"/>
              <a:gd name="connsiteY92" fmla="*/ 9616 h 10000"/>
              <a:gd name="connsiteX93" fmla="*/ 4697 w 10000"/>
              <a:gd name="connsiteY93" fmla="*/ 9552 h 10000"/>
              <a:gd name="connsiteX94" fmla="*/ 4857 w 10000"/>
              <a:gd name="connsiteY94" fmla="*/ 9482 h 10000"/>
              <a:gd name="connsiteX95" fmla="*/ 5014 w 10000"/>
              <a:gd name="connsiteY95" fmla="*/ 9405 h 10000"/>
              <a:gd name="connsiteX96" fmla="*/ 5171 w 10000"/>
              <a:gd name="connsiteY96" fmla="*/ 9329 h 10000"/>
              <a:gd name="connsiteX97" fmla="*/ 5326 w 10000"/>
              <a:gd name="connsiteY97" fmla="*/ 9244 h 10000"/>
              <a:gd name="connsiteX98" fmla="*/ 5480 w 10000"/>
              <a:gd name="connsiteY98" fmla="*/ 9158 h 10000"/>
              <a:gd name="connsiteX99" fmla="*/ 5631 w 10000"/>
              <a:gd name="connsiteY99" fmla="*/ 9063 h 10000"/>
              <a:gd name="connsiteX100" fmla="*/ 5781 w 10000"/>
              <a:gd name="connsiteY100" fmla="*/ 8967 h 10000"/>
              <a:gd name="connsiteX101" fmla="*/ 5931 w 10000"/>
              <a:gd name="connsiteY101" fmla="*/ 8865 h 10000"/>
              <a:gd name="connsiteX102" fmla="*/ 6075 w 10000"/>
              <a:gd name="connsiteY102" fmla="*/ 8759 h 10000"/>
              <a:gd name="connsiteX103" fmla="*/ 6221 w 10000"/>
              <a:gd name="connsiteY103" fmla="*/ 8652 h 10000"/>
              <a:gd name="connsiteX104" fmla="*/ 6364 w 10000"/>
              <a:gd name="connsiteY104" fmla="*/ 8536 h 10000"/>
              <a:gd name="connsiteX105" fmla="*/ 6505 w 10000"/>
              <a:gd name="connsiteY105" fmla="*/ 8417 h 10000"/>
              <a:gd name="connsiteX106" fmla="*/ 6642 w 10000"/>
              <a:gd name="connsiteY106" fmla="*/ 8295 h 10000"/>
              <a:gd name="connsiteX107" fmla="*/ 6780 w 10000"/>
              <a:gd name="connsiteY107" fmla="*/ 8169 h 10000"/>
              <a:gd name="connsiteX108" fmla="*/ 6913 w 10000"/>
              <a:gd name="connsiteY108" fmla="*/ 8040 h 10000"/>
              <a:gd name="connsiteX109" fmla="*/ 7045 w 10000"/>
              <a:gd name="connsiteY109" fmla="*/ 7904 h 10000"/>
              <a:gd name="connsiteX110" fmla="*/ 7175 w 10000"/>
              <a:gd name="connsiteY110" fmla="*/ 7768 h 10000"/>
              <a:gd name="connsiteX111" fmla="*/ 7304 w 10000"/>
              <a:gd name="connsiteY111" fmla="*/ 7624 h 10000"/>
              <a:gd name="connsiteX112" fmla="*/ 7429 w 10000"/>
              <a:gd name="connsiteY112" fmla="*/ 7480 h 10000"/>
              <a:gd name="connsiteX113" fmla="*/ 7552 w 10000"/>
              <a:gd name="connsiteY113" fmla="*/ 7329 h 10000"/>
              <a:gd name="connsiteX114" fmla="*/ 7673 w 10000"/>
              <a:gd name="connsiteY114" fmla="*/ 7178 h 10000"/>
              <a:gd name="connsiteX115" fmla="*/ 7792 w 10000"/>
              <a:gd name="connsiteY115" fmla="*/ 7024 h 10000"/>
              <a:gd name="connsiteX116" fmla="*/ 7907 w 10000"/>
              <a:gd name="connsiteY116" fmla="*/ 6861 h 10000"/>
              <a:gd name="connsiteX117" fmla="*/ 8022 w 10000"/>
              <a:gd name="connsiteY117" fmla="*/ 6697 h 10000"/>
              <a:gd name="connsiteX118" fmla="*/ 8133 w 10000"/>
              <a:gd name="connsiteY118" fmla="*/ 6534 h 10000"/>
              <a:gd name="connsiteX119" fmla="*/ 8240 w 10000"/>
              <a:gd name="connsiteY119" fmla="*/ 6365 h 10000"/>
              <a:gd name="connsiteX120" fmla="*/ 8347 w 10000"/>
              <a:gd name="connsiteY120" fmla="*/ 6189 h 10000"/>
              <a:gd name="connsiteX121" fmla="*/ 8450 w 10000"/>
              <a:gd name="connsiteY121" fmla="*/ 6016 h 10000"/>
              <a:gd name="connsiteX122" fmla="*/ 8552 w 10000"/>
              <a:gd name="connsiteY122" fmla="*/ 5835 h 10000"/>
              <a:gd name="connsiteX123" fmla="*/ 8650 w 10000"/>
              <a:gd name="connsiteY123" fmla="*/ 5652 h 10000"/>
              <a:gd name="connsiteX124" fmla="*/ 8745 w 10000"/>
              <a:gd name="connsiteY124" fmla="*/ 5468 h 10000"/>
              <a:gd name="connsiteX125" fmla="*/ 8837 w 10000"/>
              <a:gd name="connsiteY125" fmla="*/ 5278 h 10000"/>
              <a:gd name="connsiteX126" fmla="*/ 8927 w 10000"/>
              <a:gd name="connsiteY126" fmla="*/ 5089 h 10000"/>
              <a:gd name="connsiteX127" fmla="*/ 9014 w 10000"/>
              <a:gd name="connsiteY127" fmla="*/ 4893 h 10000"/>
              <a:gd name="connsiteX128" fmla="*/ 9098 w 10000"/>
              <a:gd name="connsiteY128" fmla="*/ 4698 h 10000"/>
              <a:gd name="connsiteX129" fmla="*/ 9178 w 10000"/>
              <a:gd name="connsiteY129" fmla="*/ 4500 h 10000"/>
              <a:gd name="connsiteX130" fmla="*/ 9256 w 10000"/>
              <a:gd name="connsiteY130" fmla="*/ 4294 h 10000"/>
              <a:gd name="connsiteX131" fmla="*/ 9330 w 10000"/>
              <a:gd name="connsiteY131" fmla="*/ 4091 h 10000"/>
              <a:gd name="connsiteX132" fmla="*/ 9401 w 10000"/>
              <a:gd name="connsiteY132" fmla="*/ 3885 h 10000"/>
              <a:gd name="connsiteX133" fmla="*/ 9470 w 10000"/>
              <a:gd name="connsiteY133" fmla="*/ 3674 h 10000"/>
              <a:gd name="connsiteX134" fmla="*/ 9535 w 10000"/>
              <a:gd name="connsiteY134" fmla="*/ 3464 h 10000"/>
              <a:gd name="connsiteX135" fmla="*/ 9599 w 10000"/>
              <a:gd name="connsiteY135" fmla="*/ 3248 h 10000"/>
              <a:gd name="connsiteX136" fmla="*/ 9656 w 10000"/>
              <a:gd name="connsiteY136" fmla="*/ 3030 h 10000"/>
              <a:gd name="connsiteX137" fmla="*/ 9711 w 10000"/>
              <a:gd name="connsiteY137" fmla="*/ 2815 h 10000"/>
              <a:gd name="connsiteX138" fmla="*/ 9763 w 10000"/>
              <a:gd name="connsiteY138" fmla="*/ 2592 h 10000"/>
              <a:gd name="connsiteX139" fmla="*/ 9813 w 10000"/>
              <a:gd name="connsiteY139" fmla="*/ 2369 h 10000"/>
              <a:gd name="connsiteX140" fmla="*/ 9856 w 10000"/>
              <a:gd name="connsiteY140" fmla="*/ 2143 h 10000"/>
              <a:gd name="connsiteX141" fmla="*/ 9898 w 10000"/>
              <a:gd name="connsiteY141" fmla="*/ 1918 h 10000"/>
              <a:gd name="connsiteX142" fmla="*/ 9936 w 10000"/>
              <a:gd name="connsiteY142" fmla="*/ 1690 h 10000"/>
              <a:gd name="connsiteX143" fmla="*/ 9970 w 10000"/>
              <a:gd name="connsiteY143" fmla="*/ 1457 h 10000"/>
              <a:gd name="connsiteX144" fmla="*/ 10000 w 10000"/>
              <a:gd name="connsiteY144" fmla="*/ 1222 h 10000"/>
              <a:gd name="connsiteX145" fmla="*/ 7611 w 10000"/>
              <a:gd name="connsiteY145" fmla="*/ 1876 h 10000"/>
              <a:gd name="connsiteX146" fmla="*/ 5615 w 10000"/>
              <a:gd name="connsiteY14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0 w 10000"/>
              <a:gd name="connsiteY62" fmla="*/ 6085 h 10000"/>
              <a:gd name="connsiteX63" fmla="*/ 209 w 10000"/>
              <a:gd name="connsiteY63" fmla="*/ 9512 h 10000"/>
              <a:gd name="connsiteX64" fmla="*/ 344 w 10000"/>
              <a:gd name="connsiteY64" fmla="*/ 9569 h 10000"/>
              <a:gd name="connsiteX65" fmla="*/ 481 w 10000"/>
              <a:gd name="connsiteY65" fmla="*/ 9623 h 10000"/>
              <a:gd name="connsiteX66" fmla="*/ 621 w 10000"/>
              <a:gd name="connsiteY66" fmla="*/ 9673 h 10000"/>
              <a:gd name="connsiteX67" fmla="*/ 758 w 10000"/>
              <a:gd name="connsiteY67" fmla="*/ 9720 h 10000"/>
              <a:gd name="connsiteX68" fmla="*/ 899 w 10000"/>
              <a:gd name="connsiteY68" fmla="*/ 9765 h 10000"/>
              <a:gd name="connsiteX69" fmla="*/ 1040 w 10000"/>
              <a:gd name="connsiteY69" fmla="*/ 9804 h 10000"/>
              <a:gd name="connsiteX70" fmla="*/ 1182 w 10000"/>
              <a:gd name="connsiteY70" fmla="*/ 9839 h 10000"/>
              <a:gd name="connsiteX71" fmla="*/ 1325 w 10000"/>
              <a:gd name="connsiteY71" fmla="*/ 9874 h 10000"/>
              <a:gd name="connsiteX72" fmla="*/ 1471 w 10000"/>
              <a:gd name="connsiteY72" fmla="*/ 9903 h 10000"/>
              <a:gd name="connsiteX73" fmla="*/ 1614 w 10000"/>
              <a:gd name="connsiteY73" fmla="*/ 9926 h 10000"/>
              <a:gd name="connsiteX74" fmla="*/ 1760 w 10000"/>
              <a:gd name="connsiteY74" fmla="*/ 9948 h 10000"/>
              <a:gd name="connsiteX75" fmla="*/ 1906 w 10000"/>
              <a:gd name="connsiteY75" fmla="*/ 9965 h 10000"/>
              <a:gd name="connsiteX76" fmla="*/ 2052 w 10000"/>
              <a:gd name="connsiteY76" fmla="*/ 9980 h 10000"/>
              <a:gd name="connsiteX77" fmla="*/ 2202 w 10000"/>
              <a:gd name="connsiteY77" fmla="*/ 9990 h 10000"/>
              <a:gd name="connsiteX78" fmla="*/ 2350 w 10000"/>
              <a:gd name="connsiteY78" fmla="*/ 9995 h 10000"/>
              <a:gd name="connsiteX79" fmla="*/ 2498 w 10000"/>
              <a:gd name="connsiteY79" fmla="*/ 10000 h 10000"/>
              <a:gd name="connsiteX80" fmla="*/ 2677 w 10000"/>
              <a:gd name="connsiteY80" fmla="*/ 9995 h 10000"/>
              <a:gd name="connsiteX81" fmla="*/ 2850 w 10000"/>
              <a:gd name="connsiteY81" fmla="*/ 9988 h 10000"/>
              <a:gd name="connsiteX82" fmla="*/ 3024 w 10000"/>
              <a:gd name="connsiteY82" fmla="*/ 9975 h 10000"/>
              <a:gd name="connsiteX83" fmla="*/ 3195 w 10000"/>
              <a:gd name="connsiteY83" fmla="*/ 9953 h 10000"/>
              <a:gd name="connsiteX84" fmla="*/ 3368 w 10000"/>
              <a:gd name="connsiteY84" fmla="*/ 9931 h 10000"/>
              <a:gd name="connsiteX85" fmla="*/ 3538 w 10000"/>
              <a:gd name="connsiteY85" fmla="*/ 9898 h 10000"/>
              <a:gd name="connsiteX86" fmla="*/ 3709 w 10000"/>
              <a:gd name="connsiteY86" fmla="*/ 9866 h 10000"/>
              <a:gd name="connsiteX87" fmla="*/ 3877 w 10000"/>
              <a:gd name="connsiteY87" fmla="*/ 9824 h 10000"/>
              <a:gd name="connsiteX88" fmla="*/ 4042 w 10000"/>
              <a:gd name="connsiteY88" fmla="*/ 9779 h 10000"/>
              <a:gd name="connsiteX89" fmla="*/ 4210 w 10000"/>
              <a:gd name="connsiteY89" fmla="*/ 9730 h 10000"/>
              <a:gd name="connsiteX90" fmla="*/ 4372 w 10000"/>
              <a:gd name="connsiteY90" fmla="*/ 9673 h 10000"/>
              <a:gd name="connsiteX91" fmla="*/ 4536 w 10000"/>
              <a:gd name="connsiteY91" fmla="*/ 9616 h 10000"/>
              <a:gd name="connsiteX92" fmla="*/ 4697 w 10000"/>
              <a:gd name="connsiteY92" fmla="*/ 9552 h 10000"/>
              <a:gd name="connsiteX93" fmla="*/ 4857 w 10000"/>
              <a:gd name="connsiteY93" fmla="*/ 9482 h 10000"/>
              <a:gd name="connsiteX94" fmla="*/ 5014 w 10000"/>
              <a:gd name="connsiteY94" fmla="*/ 9405 h 10000"/>
              <a:gd name="connsiteX95" fmla="*/ 5171 w 10000"/>
              <a:gd name="connsiteY95" fmla="*/ 9329 h 10000"/>
              <a:gd name="connsiteX96" fmla="*/ 5326 w 10000"/>
              <a:gd name="connsiteY96" fmla="*/ 9244 h 10000"/>
              <a:gd name="connsiteX97" fmla="*/ 5480 w 10000"/>
              <a:gd name="connsiteY97" fmla="*/ 9158 h 10000"/>
              <a:gd name="connsiteX98" fmla="*/ 5631 w 10000"/>
              <a:gd name="connsiteY98" fmla="*/ 9063 h 10000"/>
              <a:gd name="connsiteX99" fmla="*/ 5781 w 10000"/>
              <a:gd name="connsiteY99" fmla="*/ 8967 h 10000"/>
              <a:gd name="connsiteX100" fmla="*/ 5931 w 10000"/>
              <a:gd name="connsiteY100" fmla="*/ 8865 h 10000"/>
              <a:gd name="connsiteX101" fmla="*/ 6075 w 10000"/>
              <a:gd name="connsiteY101" fmla="*/ 8759 h 10000"/>
              <a:gd name="connsiteX102" fmla="*/ 6221 w 10000"/>
              <a:gd name="connsiteY102" fmla="*/ 8652 h 10000"/>
              <a:gd name="connsiteX103" fmla="*/ 6364 w 10000"/>
              <a:gd name="connsiteY103" fmla="*/ 8536 h 10000"/>
              <a:gd name="connsiteX104" fmla="*/ 6505 w 10000"/>
              <a:gd name="connsiteY104" fmla="*/ 8417 h 10000"/>
              <a:gd name="connsiteX105" fmla="*/ 6642 w 10000"/>
              <a:gd name="connsiteY105" fmla="*/ 8295 h 10000"/>
              <a:gd name="connsiteX106" fmla="*/ 6780 w 10000"/>
              <a:gd name="connsiteY106" fmla="*/ 8169 h 10000"/>
              <a:gd name="connsiteX107" fmla="*/ 6913 w 10000"/>
              <a:gd name="connsiteY107" fmla="*/ 8040 h 10000"/>
              <a:gd name="connsiteX108" fmla="*/ 7045 w 10000"/>
              <a:gd name="connsiteY108" fmla="*/ 7904 h 10000"/>
              <a:gd name="connsiteX109" fmla="*/ 7175 w 10000"/>
              <a:gd name="connsiteY109" fmla="*/ 7768 h 10000"/>
              <a:gd name="connsiteX110" fmla="*/ 7304 w 10000"/>
              <a:gd name="connsiteY110" fmla="*/ 7624 h 10000"/>
              <a:gd name="connsiteX111" fmla="*/ 7429 w 10000"/>
              <a:gd name="connsiteY111" fmla="*/ 7480 h 10000"/>
              <a:gd name="connsiteX112" fmla="*/ 7552 w 10000"/>
              <a:gd name="connsiteY112" fmla="*/ 7329 h 10000"/>
              <a:gd name="connsiteX113" fmla="*/ 7673 w 10000"/>
              <a:gd name="connsiteY113" fmla="*/ 7178 h 10000"/>
              <a:gd name="connsiteX114" fmla="*/ 7792 w 10000"/>
              <a:gd name="connsiteY114" fmla="*/ 7024 h 10000"/>
              <a:gd name="connsiteX115" fmla="*/ 7907 w 10000"/>
              <a:gd name="connsiteY115" fmla="*/ 6861 h 10000"/>
              <a:gd name="connsiteX116" fmla="*/ 8022 w 10000"/>
              <a:gd name="connsiteY116" fmla="*/ 6697 h 10000"/>
              <a:gd name="connsiteX117" fmla="*/ 8133 w 10000"/>
              <a:gd name="connsiteY117" fmla="*/ 6534 h 10000"/>
              <a:gd name="connsiteX118" fmla="*/ 8240 w 10000"/>
              <a:gd name="connsiteY118" fmla="*/ 6365 h 10000"/>
              <a:gd name="connsiteX119" fmla="*/ 8347 w 10000"/>
              <a:gd name="connsiteY119" fmla="*/ 6189 h 10000"/>
              <a:gd name="connsiteX120" fmla="*/ 8450 w 10000"/>
              <a:gd name="connsiteY120" fmla="*/ 6016 h 10000"/>
              <a:gd name="connsiteX121" fmla="*/ 8552 w 10000"/>
              <a:gd name="connsiteY121" fmla="*/ 5835 h 10000"/>
              <a:gd name="connsiteX122" fmla="*/ 8650 w 10000"/>
              <a:gd name="connsiteY122" fmla="*/ 5652 h 10000"/>
              <a:gd name="connsiteX123" fmla="*/ 8745 w 10000"/>
              <a:gd name="connsiteY123" fmla="*/ 5468 h 10000"/>
              <a:gd name="connsiteX124" fmla="*/ 8837 w 10000"/>
              <a:gd name="connsiteY124" fmla="*/ 5278 h 10000"/>
              <a:gd name="connsiteX125" fmla="*/ 8927 w 10000"/>
              <a:gd name="connsiteY125" fmla="*/ 5089 h 10000"/>
              <a:gd name="connsiteX126" fmla="*/ 9014 w 10000"/>
              <a:gd name="connsiteY126" fmla="*/ 4893 h 10000"/>
              <a:gd name="connsiteX127" fmla="*/ 9098 w 10000"/>
              <a:gd name="connsiteY127" fmla="*/ 4698 h 10000"/>
              <a:gd name="connsiteX128" fmla="*/ 9178 w 10000"/>
              <a:gd name="connsiteY128" fmla="*/ 4500 h 10000"/>
              <a:gd name="connsiteX129" fmla="*/ 9256 w 10000"/>
              <a:gd name="connsiteY129" fmla="*/ 4294 h 10000"/>
              <a:gd name="connsiteX130" fmla="*/ 9330 w 10000"/>
              <a:gd name="connsiteY130" fmla="*/ 4091 h 10000"/>
              <a:gd name="connsiteX131" fmla="*/ 9401 w 10000"/>
              <a:gd name="connsiteY131" fmla="*/ 3885 h 10000"/>
              <a:gd name="connsiteX132" fmla="*/ 9470 w 10000"/>
              <a:gd name="connsiteY132" fmla="*/ 3674 h 10000"/>
              <a:gd name="connsiteX133" fmla="*/ 9535 w 10000"/>
              <a:gd name="connsiteY133" fmla="*/ 3464 h 10000"/>
              <a:gd name="connsiteX134" fmla="*/ 9599 w 10000"/>
              <a:gd name="connsiteY134" fmla="*/ 3248 h 10000"/>
              <a:gd name="connsiteX135" fmla="*/ 9656 w 10000"/>
              <a:gd name="connsiteY135" fmla="*/ 3030 h 10000"/>
              <a:gd name="connsiteX136" fmla="*/ 9711 w 10000"/>
              <a:gd name="connsiteY136" fmla="*/ 2815 h 10000"/>
              <a:gd name="connsiteX137" fmla="*/ 9763 w 10000"/>
              <a:gd name="connsiteY137" fmla="*/ 2592 h 10000"/>
              <a:gd name="connsiteX138" fmla="*/ 9813 w 10000"/>
              <a:gd name="connsiteY138" fmla="*/ 2369 h 10000"/>
              <a:gd name="connsiteX139" fmla="*/ 9856 w 10000"/>
              <a:gd name="connsiteY139" fmla="*/ 2143 h 10000"/>
              <a:gd name="connsiteX140" fmla="*/ 9898 w 10000"/>
              <a:gd name="connsiteY140" fmla="*/ 1918 h 10000"/>
              <a:gd name="connsiteX141" fmla="*/ 9936 w 10000"/>
              <a:gd name="connsiteY141" fmla="*/ 1690 h 10000"/>
              <a:gd name="connsiteX142" fmla="*/ 9970 w 10000"/>
              <a:gd name="connsiteY142" fmla="*/ 1457 h 10000"/>
              <a:gd name="connsiteX143" fmla="*/ 10000 w 10000"/>
              <a:gd name="connsiteY143" fmla="*/ 1222 h 10000"/>
              <a:gd name="connsiteX144" fmla="*/ 7611 w 10000"/>
              <a:gd name="connsiteY144" fmla="*/ 1876 h 10000"/>
              <a:gd name="connsiteX145" fmla="*/ 5615 w 10000"/>
              <a:gd name="connsiteY14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0 w 10000"/>
              <a:gd name="connsiteY61" fmla="*/ 6085 h 10000"/>
              <a:gd name="connsiteX62" fmla="*/ 209 w 10000"/>
              <a:gd name="connsiteY62" fmla="*/ 9512 h 10000"/>
              <a:gd name="connsiteX63" fmla="*/ 344 w 10000"/>
              <a:gd name="connsiteY63" fmla="*/ 9569 h 10000"/>
              <a:gd name="connsiteX64" fmla="*/ 481 w 10000"/>
              <a:gd name="connsiteY64" fmla="*/ 9623 h 10000"/>
              <a:gd name="connsiteX65" fmla="*/ 621 w 10000"/>
              <a:gd name="connsiteY65" fmla="*/ 9673 h 10000"/>
              <a:gd name="connsiteX66" fmla="*/ 758 w 10000"/>
              <a:gd name="connsiteY66" fmla="*/ 9720 h 10000"/>
              <a:gd name="connsiteX67" fmla="*/ 899 w 10000"/>
              <a:gd name="connsiteY67" fmla="*/ 9765 h 10000"/>
              <a:gd name="connsiteX68" fmla="*/ 1040 w 10000"/>
              <a:gd name="connsiteY68" fmla="*/ 9804 h 10000"/>
              <a:gd name="connsiteX69" fmla="*/ 1182 w 10000"/>
              <a:gd name="connsiteY69" fmla="*/ 9839 h 10000"/>
              <a:gd name="connsiteX70" fmla="*/ 1325 w 10000"/>
              <a:gd name="connsiteY70" fmla="*/ 9874 h 10000"/>
              <a:gd name="connsiteX71" fmla="*/ 1471 w 10000"/>
              <a:gd name="connsiteY71" fmla="*/ 9903 h 10000"/>
              <a:gd name="connsiteX72" fmla="*/ 1614 w 10000"/>
              <a:gd name="connsiteY72" fmla="*/ 9926 h 10000"/>
              <a:gd name="connsiteX73" fmla="*/ 1760 w 10000"/>
              <a:gd name="connsiteY73" fmla="*/ 9948 h 10000"/>
              <a:gd name="connsiteX74" fmla="*/ 1906 w 10000"/>
              <a:gd name="connsiteY74" fmla="*/ 9965 h 10000"/>
              <a:gd name="connsiteX75" fmla="*/ 2052 w 10000"/>
              <a:gd name="connsiteY75" fmla="*/ 9980 h 10000"/>
              <a:gd name="connsiteX76" fmla="*/ 2202 w 10000"/>
              <a:gd name="connsiteY76" fmla="*/ 9990 h 10000"/>
              <a:gd name="connsiteX77" fmla="*/ 2350 w 10000"/>
              <a:gd name="connsiteY77" fmla="*/ 9995 h 10000"/>
              <a:gd name="connsiteX78" fmla="*/ 2498 w 10000"/>
              <a:gd name="connsiteY78" fmla="*/ 10000 h 10000"/>
              <a:gd name="connsiteX79" fmla="*/ 2677 w 10000"/>
              <a:gd name="connsiteY79" fmla="*/ 9995 h 10000"/>
              <a:gd name="connsiteX80" fmla="*/ 2850 w 10000"/>
              <a:gd name="connsiteY80" fmla="*/ 9988 h 10000"/>
              <a:gd name="connsiteX81" fmla="*/ 3024 w 10000"/>
              <a:gd name="connsiteY81" fmla="*/ 9975 h 10000"/>
              <a:gd name="connsiteX82" fmla="*/ 3195 w 10000"/>
              <a:gd name="connsiteY82" fmla="*/ 9953 h 10000"/>
              <a:gd name="connsiteX83" fmla="*/ 3368 w 10000"/>
              <a:gd name="connsiteY83" fmla="*/ 9931 h 10000"/>
              <a:gd name="connsiteX84" fmla="*/ 3538 w 10000"/>
              <a:gd name="connsiteY84" fmla="*/ 9898 h 10000"/>
              <a:gd name="connsiteX85" fmla="*/ 3709 w 10000"/>
              <a:gd name="connsiteY85" fmla="*/ 9866 h 10000"/>
              <a:gd name="connsiteX86" fmla="*/ 3877 w 10000"/>
              <a:gd name="connsiteY86" fmla="*/ 9824 h 10000"/>
              <a:gd name="connsiteX87" fmla="*/ 4042 w 10000"/>
              <a:gd name="connsiteY87" fmla="*/ 9779 h 10000"/>
              <a:gd name="connsiteX88" fmla="*/ 4210 w 10000"/>
              <a:gd name="connsiteY88" fmla="*/ 9730 h 10000"/>
              <a:gd name="connsiteX89" fmla="*/ 4372 w 10000"/>
              <a:gd name="connsiteY89" fmla="*/ 9673 h 10000"/>
              <a:gd name="connsiteX90" fmla="*/ 4536 w 10000"/>
              <a:gd name="connsiteY90" fmla="*/ 9616 h 10000"/>
              <a:gd name="connsiteX91" fmla="*/ 4697 w 10000"/>
              <a:gd name="connsiteY91" fmla="*/ 9552 h 10000"/>
              <a:gd name="connsiteX92" fmla="*/ 4857 w 10000"/>
              <a:gd name="connsiteY92" fmla="*/ 9482 h 10000"/>
              <a:gd name="connsiteX93" fmla="*/ 5014 w 10000"/>
              <a:gd name="connsiteY93" fmla="*/ 9405 h 10000"/>
              <a:gd name="connsiteX94" fmla="*/ 5171 w 10000"/>
              <a:gd name="connsiteY94" fmla="*/ 9329 h 10000"/>
              <a:gd name="connsiteX95" fmla="*/ 5326 w 10000"/>
              <a:gd name="connsiteY95" fmla="*/ 9244 h 10000"/>
              <a:gd name="connsiteX96" fmla="*/ 5480 w 10000"/>
              <a:gd name="connsiteY96" fmla="*/ 9158 h 10000"/>
              <a:gd name="connsiteX97" fmla="*/ 5631 w 10000"/>
              <a:gd name="connsiteY97" fmla="*/ 9063 h 10000"/>
              <a:gd name="connsiteX98" fmla="*/ 5781 w 10000"/>
              <a:gd name="connsiteY98" fmla="*/ 8967 h 10000"/>
              <a:gd name="connsiteX99" fmla="*/ 5931 w 10000"/>
              <a:gd name="connsiteY99" fmla="*/ 8865 h 10000"/>
              <a:gd name="connsiteX100" fmla="*/ 6075 w 10000"/>
              <a:gd name="connsiteY100" fmla="*/ 8759 h 10000"/>
              <a:gd name="connsiteX101" fmla="*/ 6221 w 10000"/>
              <a:gd name="connsiteY101" fmla="*/ 8652 h 10000"/>
              <a:gd name="connsiteX102" fmla="*/ 6364 w 10000"/>
              <a:gd name="connsiteY102" fmla="*/ 8536 h 10000"/>
              <a:gd name="connsiteX103" fmla="*/ 6505 w 10000"/>
              <a:gd name="connsiteY103" fmla="*/ 8417 h 10000"/>
              <a:gd name="connsiteX104" fmla="*/ 6642 w 10000"/>
              <a:gd name="connsiteY104" fmla="*/ 8295 h 10000"/>
              <a:gd name="connsiteX105" fmla="*/ 6780 w 10000"/>
              <a:gd name="connsiteY105" fmla="*/ 8169 h 10000"/>
              <a:gd name="connsiteX106" fmla="*/ 6913 w 10000"/>
              <a:gd name="connsiteY106" fmla="*/ 8040 h 10000"/>
              <a:gd name="connsiteX107" fmla="*/ 7045 w 10000"/>
              <a:gd name="connsiteY107" fmla="*/ 7904 h 10000"/>
              <a:gd name="connsiteX108" fmla="*/ 7175 w 10000"/>
              <a:gd name="connsiteY108" fmla="*/ 7768 h 10000"/>
              <a:gd name="connsiteX109" fmla="*/ 7304 w 10000"/>
              <a:gd name="connsiteY109" fmla="*/ 7624 h 10000"/>
              <a:gd name="connsiteX110" fmla="*/ 7429 w 10000"/>
              <a:gd name="connsiteY110" fmla="*/ 7480 h 10000"/>
              <a:gd name="connsiteX111" fmla="*/ 7552 w 10000"/>
              <a:gd name="connsiteY111" fmla="*/ 7329 h 10000"/>
              <a:gd name="connsiteX112" fmla="*/ 7673 w 10000"/>
              <a:gd name="connsiteY112" fmla="*/ 7178 h 10000"/>
              <a:gd name="connsiteX113" fmla="*/ 7792 w 10000"/>
              <a:gd name="connsiteY113" fmla="*/ 7024 h 10000"/>
              <a:gd name="connsiteX114" fmla="*/ 7907 w 10000"/>
              <a:gd name="connsiteY114" fmla="*/ 6861 h 10000"/>
              <a:gd name="connsiteX115" fmla="*/ 8022 w 10000"/>
              <a:gd name="connsiteY115" fmla="*/ 6697 h 10000"/>
              <a:gd name="connsiteX116" fmla="*/ 8133 w 10000"/>
              <a:gd name="connsiteY116" fmla="*/ 6534 h 10000"/>
              <a:gd name="connsiteX117" fmla="*/ 8240 w 10000"/>
              <a:gd name="connsiteY117" fmla="*/ 6365 h 10000"/>
              <a:gd name="connsiteX118" fmla="*/ 8347 w 10000"/>
              <a:gd name="connsiteY118" fmla="*/ 6189 h 10000"/>
              <a:gd name="connsiteX119" fmla="*/ 8450 w 10000"/>
              <a:gd name="connsiteY119" fmla="*/ 6016 h 10000"/>
              <a:gd name="connsiteX120" fmla="*/ 8552 w 10000"/>
              <a:gd name="connsiteY120" fmla="*/ 5835 h 10000"/>
              <a:gd name="connsiteX121" fmla="*/ 8650 w 10000"/>
              <a:gd name="connsiteY121" fmla="*/ 5652 h 10000"/>
              <a:gd name="connsiteX122" fmla="*/ 8745 w 10000"/>
              <a:gd name="connsiteY122" fmla="*/ 5468 h 10000"/>
              <a:gd name="connsiteX123" fmla="*/ 8837 w 10000"/>
              <a:gd name="connsiteY123" fmla="*/ 5278 h 10000"/>
              <a:gd name="connsiteX124" fmla="*/ 8927 w 10000"/>
              <a:gd name="connsiteY124" fmla="*/ 5089 h 10000"/>
              <a:gd name="connsiteX125" fmla="*/ 9014 w 10000"/>
              <a:gd name="connsiteY125" fmla="*/ 4893 h 10000"/>
              <a:gd name="connsiteX126" fmla="*/ 9098 w 10000"/>
              <a:gd name="connsiteY126" fmla="*/ 4698 h 10000"/>
              <a:gd name="connsiteX127" fmla="*/ 9178 w 10000"/>
              <a:gd name="connsiteY127" fmla="*/ 4500 h 10000"/>
              <a:gd name="connsiteX128" fmla="*/ 9256 w 10000"/>
              <a:gd name="connsiteY128" fmla="*/ 4294 h 10000"/>
              <a:gd name="connsiteX129" fmla="*/ 9330 w 10000"/>
              <a:gd name="connsiteY129" fmla="*/ 4091 h 10000"/>
              <a:gd name="connsiteX130" fmla="*/ 9401 w 10000"/>
              <a:gd name="connsiteY130" fmla="*/ 3885 h 10000"/>
              <a:gd name="connsiteX131" fmla="*/ 9470 w 10000"/>
              <a:gd name="connsiteY131" fmla="*/ 3674 h 10000"/>
              <a:gd name="connsiteX132" fmla="*/ 9535 w 10000"/>
              <a:gd name="connsiteY132" fmla="*/ 3464 h 10000"/>
              <a:gd name="connsiteX133" fmla="*/ 9599 w 10000"/>
              <a:gd name="connsiteY133" fmla="*/ 3248 h 10000"/>
              <a:gd name="connsiteX134" fmla="*/ 9656 w 10000"/>
              <a:gd name="connsiteY134" fmla="*/ 3030 h 10000"/>
              <a:gd name="connsiteX135" fmla="*/ 9711 w 10000"/>
              <a:gd name="connsiteY135" fmla="*/ 2815 h 10000"/>
              <a:gd name="connsiteX136" fmla="*/ 9763 w 10000"/>
              <a:gd name="connsiteY136" fmla="*/ 2592 h 10000"/>
              <a:gd name="connsiteX137" fmla="*/ 9813 w 10000"/>
              <a:gd name="connsiteY137" fmla="*/ 2369 h 10000"/>
              <a:gd name="connsiteX138" fmla="*/ 9856 w 10000"/>
              <a:gd name="connsiteY138" fmla="*/ 2143 h 10000"/>
              <a:gd name="connsiteX139" fmla="*/ 9898 w 10000"/>
              <a:gd name="connsiteY139" fmla="*/ 1918 h 10000"/>
              <a:gd name="connsiteX140" fmla="*/ 9936 w 10000"/>
              <a:gd name="connsiteY140" fmla="*/ 1690 h 10000"/>
              <a:gd name="connsiteX141" fmla="*/ 9970 w 10000"/>
              <a:gd name="connsiteY141" fmla="*/ 1457 h 10000"/>
              <a:gd name="connsiteX142" fmla="*/ 10000 w 10000"/>
              <a:gd name="connsiteY142" fmla="*/ 1222 h 10000"/>
              <a:gd name="connsiteX143" fmla="*/ 7611 w 10000"/>
              <a:gd name="connsiteY143" fmla="*/ 1876 h 10000"/>
              <a:gd name="connsiteX144" fmla="*/ 5615 w 10000"/>
              <a:gd name="connsiteY14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0 w 10000"/>
              <a:gd name="connsiteY60" fmla="*/ 6085 h 10000"/>
              <a:gd name="connsiteX61" fmla="*/ 209 w 10000"/>
              <a:gd name="connsiteY61" fmla="*/ 9512 h 10000"/>
              <a:gd name="connsiteX62" fmla="*/ 344 w 10000"/>
              <a:gd name="connsiteY62" fmla="*/ 9569 h 10000"/>
              <a:gd name="connsiteX63" fmla="*/ 481 w 10000"/>
              <a:gd name="connsiteY63" fmla="*/ 9623 h 10000"/>
              <a:gd name="connsiteX64" fmla="*/ 621 w 10000"/>
              <a:gd name="connsiteY64" fmla="*/ 9673 h 10000"/>
              <a:gd name="connsiteX65" fmla="*/ 758 w 10000"/>
              <a:gd name="connsiteY65" fmla="*/ 9720 h 10000"/>
              <a:gd name="connsiteX66" fmla="*/ 899 w 10000"/>
              <a:gd name="connsiteY66" fmla="*/ 9765 h 10000"/>
              <a:gd name="connsiteX67" fmla="*/ 1040 w 10000"/>
              <a:gd name="connsiteY67" fmla="*/ 9804 h 10000"/>
              <a:gd name="connsiteX68" fmla="*/ 1182 w 10000"/>
              <a:gd name="connsiteY68" fmla="*/ 9839 h 10000"/>
              <a:gd name="connsiteX69" fmla="*/ 1325 w 10000"/>
              <a:gd name="connsiteY69" fmla="*/ 9874 h 10000"/>
              <a:gd name="connsiteX70" fmla="*/ 1471 w 10000"/>
              <a:gd name="connsiteY70" fmla="*/ 9903 h 10000"/>
              <a:gd name="connsiteX71" fmla="*/ 1614 w 10000"/>
              <a:gd name="connsiteY71" fmla="*/ 9926 h 10000"/>
              <a:gd name="connsiteX72" fmla="*/ 1760 w 10000"/>
              <a:gd name="connsiteY72" fmla="*/ 9948 h 10000"/>
              <a:gd name="connsiteX73" fmla="*/ 1906 w 10000"/>
              <a:gd name="connsiteY73" fmla="*/ 9965 h 10000"/>
              <a:gd name="connsiteX74" fmla="*/ 2052 w 10000"/>
              <a:gd name="connsiteY74" fmla="*/ 9980 h 10000"/>
              <a:gd name="connsiteX75" fmla="*/ 2202 w 10000"/>
              <a:gd name="connsiteY75" fmla="*/ 9990 h 10000"/>
              <a:gd name="connsiteX76" fmla="*/ 2350 w 10000"/>
              <a:gd name="connsiteY76" fmla="*/ 9995 h 10000"/>
              <a:gd name="connsiteX77" fmla="*/ 2498 w 10000"/>
              <a:gd name="connsiteY77" fmla="*/ 10000 h 10000"/>
              <a:gd name="connsiteX78" fmla="*/ 2677 w 10000"/>
              <a:gd name="connsiteY78" fmla="*/ 9995 h 10000"/>
              <a:gd name="connsiteX79" fmla="*/ 2850 w 10000"/>
              <a:gd name="connsiteY79" fmla="*/ 9988 h 10000"/>
              <a:gd name="connsiteX80" fmla="*/ 3024 w 10000"/>
              <a:gd name="connsiteY80" fmla="*/ 9975 h 10000"/>
              <a:gd name="connsiteX81" fmla="*/ 3195 w 10000"/>
              <a:gd name="connsiteY81" fmla="*/ 9953 h 10000"/>
              <a:gd name="connsiteX82" fmla="*/ 3368 w 10000"/>
              <a:gd name="connsiteY82" fmla="*/ 9931 h 10000"/>
              <a:gd name="connsiteX83" fmla="*/ 3538 w 10000"/>
              <a:gd name="connsiteY83" fmla="*/ 9898 h 10000"/>
              <a:gd name="connsiteX84" fmla="*/ 3709 w 10000"/>
              <a:gd name="connsiteY84" fmla="*/ 9866 h 10000"/>
              <a:gd name="connsiteX85" fmla="*/ 3877 w 10000"/>
              <a:gd name="connsiteY85" fmla="*/ 9824 h 10000"/>
              <a:gd name="connsiteX86" fmla="*/ 4042 w 10000"/>
              <a:gd name="connsiteY86" fmla="*/ 9779 h 10000"/>
              <a:gd name="connsiteX87" fmla="*/ 4210 w 10000"/>
              <a:gd name="connsiteY87" fmla="*/ 9730 h 10000"/>
              <a:gd name="connsiteX88" fmla="*/ 4372 w 10000"/>
              <a:gd name="connsiteY88" fmla="*/ 9673 h 10000"/>
              <a:gd name="connsiteX89" fmla="*/ 4536 w 10000"/>
              <a:gd name="connsiteY89" fmla="*/ 9616 h 10000"/>
              <a:gd name="connsiteX90" fmla="*/ 4697 w 10000"/>
              <a:gd name="connsiteY90" fmla="*/ 9552 h 10000"/>
              <a:gd name="connsiteX91" fmla="*/ 4857 w 10000"/>
              <a:gd name="connsiteY91" fmla="*/ 9482 h 10000"/>
              <a:gd name="connsiteX92" fmla="*/ 5014 w 10000"/>
              <a:gd name="connsiteY92" fmla="*/ 9405 h 10000"/>
              <a:gd name="connsiteX93" fmla="*/ 5171 w 10000"/>
              <a:gd name="connsiteY93" fmla="*/ 9329 h 10000"/>
              <a:gd name="connsiteX94" fmla="*/ 5326 w 10000"/>
              <a:gd name="connsiteY94" fmla="*/ 9244 h 10000"/>
              <a:gd name="connsiteX95" fmla="*/ 5480 w 10000"/>
              <a:gd name="connsiteY95" fmla="*/ 9158 h 10000"/>
              <a:gd name="connsiteX96" fmla="*/ 5631 w 10000"/>
              <a:gd name="connsiteY96" fmla="*/ 9063 h 10000"/>
              <a:gd name="connsiteX97" fmla="*/ 5781 w 10000"/>
              <a:gd name="connsiteY97" fmla="*/ 8967 h 10000"/>
              <a:gd name="connsiteX98" fmla="*/ 5931 w 10000"/>
              <a:gd name="connsiteY98" fmla="*/ 8865 h 10000"/>
              <a:gd name="connsiteX99" fmla="*/ 6075 w 10000"/>
              <a:gd name="connsiteY99" fmla="*/ 8759 h 10000"/>
              <a:gd name="connsiteX100" fmla="*/ 6221 w 10000"/>
              <a:gd name="connsiteY100" fmla="*/ 8652 h 10000"/>
              <a:gd name="connsiteX101" fmla="*/ 6364 w 10000"/>
              <a:gd name="connsiteY101" fmla="*/ 8536 h 10000"/>
              <a:gd name="connsiteX102" fmla="*/ 6505 w 10000"/>
              <a:gd name="connsiteY102" fmla="*/ 8417 h 10000"/>
              <a:gd name="connsiteX103" fmla="*/ 6642 w 10000"/>
              <a:gd name="connsiteY103" fmla="*/ 8295 h 10000"/>
              <a:gd name="connsiteX104" fmla="*/ 6780 w 10000"/>
              <a:gd name="connsiteY104" fmla="*/ 8169 h 10000"/>
              <a:gd name="connsiteX105" fmla="*/ 6913 w 10000"/>
              <a:gd name="connsiteY105" fmla="*/ 8040 h 10000"/>
              <a:gd name="connsiteX106" fmla="*/ 7045 w 10000"/>
              <a:gd name="connsiteY106" fmla="*/ 7904 h 10000"/>
              <a:gd name="connsiteX107" fmla="*/ 7175 w 10000"/>
              <a:gd name="connsiteY107" fmla="*/ 7768 h 10000"/>
              <a:gd name="connsiteX108" fmla="*/ 7304 w 10000"/>
              <a:gd name="connsiteY108" fmla="*/ 7624 h 10000"/>
              <a:gd name="connsiteX109" fmla="*/ 7429 w 10000"/>
              <a:gd name="connsiteY109" fmla="*/ 7480 h 10000"/>
              <a:gd name="connsiteX110" fmla="*/ 7552 w 10000"/>
              <a:gd name="connsiteY110" fmla="*/ 7329 h 10000"/>
              <a:gd name="connsiteX111" fmla="*/ 7673 w 10000"/>
              <a:gd name="connsiteY111" fmla="*/ 7178 h 10000"/>
              <a:gd name="connsiteX112" fmla="*/ 7792 w 10000"/>
              <a:gd name="connsiteY112" fmla="*/ 7024 h 10000"/>
              <a:gd name="connsiteX113" fmla="*/ 7907 w 10000"/>
              <a:gd name="connsiteY113" fmla="*/ 6861 h 10000"/>
              <a:gd name="connsiteX114" fmla="*/ 8022 w 10000"/>
              <a:gd name="connsiteY114" fmla="*/ 6697 h 10000"/>
              <a:gd name="connsiteX115" fmla="*/ 8133 w 10000"/>
              <a:gd name="connsiteY115" fmla="*/ 6534 h 10000"/>
              <a:gd name="connsiteX116" fmla="*/ 8240 w 10000"/>
              <a:gd name="connsiteY116" fmla="*/ 6365 h 10000"/>
              <a:gd name="connsiteX117" fmla="*/ 8347 w 10000"/>
              <a:gd name="connsiteY117" fmla="*/ 6189 h 10000"/>
              <a:gd name="connsiteX118" fmla="*/ 8450 w 10000"/>
              <a:gd name="connsiteY118" fmla="*/ 6016 h 10000"/>
              <a:gd name="connsiteX119" fmla="*/ 8552 w 10000"/>
              <a:gd name="connsiteY119" fmla="*/ 5835 h 10000"/>
              <a:gd name="connsiteX120" fmla="*/ 8650 w 10000"/>
              <a:gd name="connsiteY120" fmla="*/ 5652 h 10000"/>
              <a:gd name="connsiteX121" fmla="*/ 8745 w 10000"/>
              <a:gd name="connsiteY121" fmla="*/ 5468 h 10000"/>
              <a:gd name="connsiteX122" fmla="*/ 8837 w 10000"/>
              <a:gd name="connsiteY122" fmla="*/ 5278 h 10000"/>
              <a:gd name="connsiteX123" fmla="*/ 8927 w 10000"/>
              <a:gd name="connsiteY123" fmla="*/ 5089 h 10000"/>
              <a:gd name="connsiteX124" fmla="*/ 9014 w 10000"/>
              <a:gd name="connsiteY124" fmla="*/ 4893 h 10000"/>
              <a:gd name="connsiteX125" fmla="*/ 9098 w 10000"/>
              <a:gd name="connsiteY125" fmla="*/ 4698 h 10000"/>
              <a:gd name="connsiteX126" fmla="*/ 9178 w 10000"/>
              <a:gd name="connsiteY126" fmla="*/ 4500 h 10000"/>
              <a:gd name="connsiteX127" fmla="*/ 9256 w 10000"/>
              <a:gd name="connsiteY127" fmla="*/ 4294 h 10000"/>
              <a:gd name="connsiteX128" fmla="*/ 9330 w 10000"/>
              <a:gd name="connsiteY128" fmla="*/ 4091 h 10000"/>
              <a:gd name="connsiteX129" fmla="*/ 9401 w 10000"/>
              <a:gd name="connsiteY129" fmla="*/ 3885 h 10000"/>
              <a:gd name="connsiteX130" fmla="*/ 9470 w 10000"/>
              <a:gd name="connsiteY130" fmla="*/ 3674 h 10000"/>
              <a:gd name="connsiteX131" fmla="*/ 9535 w 10000"/>
              <a:gd name="connsiteY131" fmla="*/ 3464 h 10000"/>
              <a:gd name="connsiteX132" fmla="*/ 9599 w 10000"/>
              <a:gd name="connsiteY132" fmla="*/ 3248 h 10000"/>
              <a:gd name="connsiteX133" fmla="*/ 9656 w 10000"/>
              <a:gd name="connsiteY133" fmla="*/ 3030 h 10000"/>
              <a:gd name="connsiteX134" fmla="*/ 9711 w 10000"/>
              <a:gd name="connsiteY134" fmla="*/ 2815 h 10000"/>
              <a:gd name="connsiteX135" fmla="*/ 9763 w 10000"/>
              <a:gd name="connsiteY135" fmla="*/ 2592 h 10000"/>
              <a:gd name="connsiteX136" fmla="*/ 9813 w 10000"/>
              <a:gd name="connsiteY136" fmla="*/ 2369 h 10000"/>
              <a:gd name="connsiteX137" fmla="*/ 9856 w 10000"/>
              <a:gd name="connsiteY137" fmla="*/ 2143 h 10000"/>
              <a:gd name="connsiteX138" fmla="*/ 9898 w 10000"/>
              <a:gd name="connsiteY138" fmla="*/ 1918 h 10000"/>
              <a:gd name="connsiteX139" fmla="*/ 9936 w 10000"/>
              <a:gd name="connsiteY139" fmla="*/ 1690 h 10000"/>
              <a:gd name="connsiteX140" fmla="*/ 9970 w 10000"/>
              <a:gd name="connsiteY140" fmla="*/ 1457 h 10000"/>
              <a:gd name="connsiteX141" fmla="*/ 10000 w 10000"/>
              <a:gd name="connsiteY141" fmla="*/ 1222 h 10000"/>
              <a:gd name="connsiteX142" fmla="*/ 7611 w 10000"/>
              <a:gd name="connsiteY142" fmla="*/ 1876 h 10000"/>
              <a:gd name="connsiteX143" fmla="*/ 5615 w 10000"/>
              <a:gd name="connsiteY14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0 w 10000"/>
              <a:gd name="connsiteY59" fmla="*/ 6085 h 10000"/>
              <a:gd name="connsiteX60" fmla="*/ 209 w 10000"/>
              <a:gd name="connsiteY60" fmla="*/ 9512 h 10000"/>
              <a:gd name="connsiteX61" fmla="*/ 344 w 10000"/>
              <a:gd name="connsiteY61" fmla="*/ 9569 h 10000"/>
              <a:gd name="connsiteX62" fmla="*/ 481 w 10000"/>
              <a:gd name="connsiteY62" fmla="*/ 9623 h 10000"/>
              <a:gd name="connsiteX63" fmla="*/ 621 w 10000"/>
              <a:gd name="connsiteY63" fmla="*/ 9673 h 10000"/>
              <a:gd name="connsiteX64" fmla="*/ 758 w 10000"/>
              <a:gd name="connsiteY64" fmla="*/ 9720 h 10000"/>
              <a:gd name="connsiteX65" fmla="*/ 899 w 10000"/>
              <a:gd name="connsiteY65" fmla="*/ 9765 h 10000"/>
              <a:gd name="connsiteX66" fmla="*/ 1040 w 10000"/>
              <a:gd name="connsiteY66" fmla="*/ 9804 h 10000"/>
              <a:gd name="connsiteX67" fmla="*/ 1182 w 10000"/>
              <a:gd name="connsiteY67" fmla="*/ 9839 h 10000"/>
              <a:gd name="connsiteX68" fmla="*/ 1325 w 10000"/>
              <a:gd name="connsiteY68" fmla="*/ 9874 h 10000"/>
              <a:gd name="connsiteX69" fmla="*/ 1471 w 10000"/>
              <a:gd name="connsiteY69" fmla="*/ 9903 h 10000"/>
              <a:gd name="connsiteX70" fmla="*/ 1614 w 10000"/>
              <a:gd name="connsiteY70" fmla="*/ 9926 h 10000"/>
              <a:gd name="connsiteX71" fmla="*/ 1760 w 10000"/>
              <a:gd name="connsiteY71" fmla="*/ 9948 h 10000"/>
              <a:gd name="connsiteX72" fmla="*/ 1906 w 10000"/>
              <a:gd name="connsiteY72" fmla="*/ 9965 h 10000"/>
              <a:gd name="connsiteX73" fmla="*/ 2052 w 10000"/>
              <a:gd name="connsiteY73" fmla="*/ 9980 h 10000"/>
              <a:gd name="connsiteX74" fmla="*/ 2202 w 10000"/>
              <a:gd name="connsiteY74" fmla="*/ 9990 h 10000"/>
              <a:gd name="connsiteX75" fmla="*/ 2350 w 10000"/>
              <a:gd name="connsiteY75" fmla="*/ 9995 h 10000"/>
              <a:gd name="connsiteX76" fmla="*/ 2498 w 10000"/>
              <a:gd name="connsiteY76" fmla="*/ 10000 h 10000"/>
              <a:gd name="connsiteX77" fmla="*/ 2677 w 10000"/>
              <a:gd name="connsiteY77" fmla="*/ 9995 h 10000"/>
              <a:gd name="connsiteX78" fmla="*/ 2850 w 10000"/>
              <a:gd name="connsiteY78" fmla="*/ 9988 h 10000"/>
              <a:gd name="connsiteX79" fmla="*/ 3024 w 10000"/>
              <a:gd name="connsiteY79" fmla="*/ 9975 h 10000"/>
              <a:gd name="connsiteX80" fmla="*/ 3195 w 10000"/>
              <a:gd name="connsiteY80" fmla="*/ 9953 h 10000"/>
              <a:gd name="connsiteX81" fmla="*/ 3368 w 10000"/>
              <a:gd name="connsiteY81" fmla="*/ 9931 h 10000"/>
              <a:gd name="connsiteX82" fmla="*/ 3538 w 10000"/>
              <a:gd name="connsiteY82" fmla="*/ 9898 h 10000"/>
              <a:gd name="connsiteX83" fmla="*/ 3709 w 10000"/>
              <a:gd name="connsiteY83" fmla="*/ 9866 h 10000"/>
              <a:gd name="connsiteX84" fmla="*/ 3877 w 10000"/>
              <a:gd name="connsiteY84" fmla="*/ 9824 h 10000"/>
              <a:gd name="connsiteX85" fmla="*/ 4042 w 10000"/>
              <a:gd name="connsiteY85" fmla="*/ 9779 h 10000"/>
              <a:gd name="connsiteX86" fmla="*/ 4210 w 10000"/>
              <a:gd name="connsiteY86" fmla="*/ 9730 h 10000"/>
              <a:gd name="connsiteX87" fmla="*/ 4372 w 10000"/>
              <a:gd name="connsiteY87" fmla="*/ 9673 h 10000"/>
              <a:gd name="connsiteX88" fmla="*/ 4536 w 10000"/>
              <a:gd name="connsiteY88" fmla="*/ 9616 h 10000"/>
              <a:gd name="connsiteX89" fmla="*/ 4697 w 10000"/>
              <a:gd name="connsiteY89" fmla="*/ 9552 h 10000"/>
              <a:gd name="connsiteX90" fmla="*/ 4857 w 10000"/>
              <a:gd name="connsiteY90" fmla="*/ 9482 h 10000"/>
              <a:gd name="connsiteX91" fmla="*/ 5014 w 10000"/>
              <a:gd name="connsiteY91" fmla="*/ 9405 h 10000"/>
              <a:gd name="connsiteX92" fmla="*/ 5171 w 10000"/>
              <a:gd name="connsiteY92" fmla="*/ 9329 h 10000"/>
              <a:gd name="connsiteX93" fmla="*/ 5326 w 10000"/>
              <a:gd name="connsiteY93" fmla="*/ 9244 h 10000"/>
              <a:gd name="connsiteX94" fmla="*/ 5480 w 10000"/>
              <a:gd name="connsiteY94" fmla="*/ 9158 h 10000"/>
              <a:gd name="connsiteX95" fmla="*/ 5631 w 10000"/>
              <a:gd name="connsiteY95" fmla="*/ 9063 h 10000"/>
              <a:gd name="connsiteX96" fmla="*/ 5781 w 10000"/>
              <a:gd name="connsiteY96" fmla="*/ 8967 h 10000"/>
              <a:gd name="connsiteX97" fmla="*/ 5931 w 10000"/>
              <a:gd name="connsiteY97" fmla="*/ 8865 h 10000"/>
              <a:gd name="connsiteX98" fmla="*/ 6075 w 10000"/>
              <a:gd name="connsiteY98" fmla="*/ 8759 h 10000"/>
              <a:gd name="connsiteX99" fmla="*/ 6221 w 10000"/>
              <a:gd name="connsiteY99" fmla="*/ 8652 h 10000"/>
              <a:gd name="connsiteX100" fmla="*/ 6364 w 10000"/>
              <a:gd name="connsiteY100" fmla="*/ 8536 h 10000"/>
              <a:gd name="connsiteX101" fmla="*/ 6505 w 10000"/>
              <a:gd name="connsiteY101" fmla="*/ 8417 h 10000"/>
              <a:gd name="connsiteX102" fmla="*/ 6642 w 10000"/>
              <a:gd name="connsiteY102" fmla="*/ 8295 h 10000"/>
              <a:gd name="connsiteX103" fmla="*/ 6780 w 10000"/>
              <a:gd name="connsiteY103" fmla="*/ 8169 h 10000"/>
              <a:gd name="connsiteX104" fmla="*/ 6913 w 10000"/>
              <a:gd name="connsiteY104" fmla="*/ 8040 h 10000"/>
              <a:gd name="connsiteX105" fmla="*/ 7045 w 10000"/>
              <a:gd name="connsiteY105" fmla="*/ 7904 h 10000"/>
              <a:gd name="connsiteX106" fmla="*/ 7175 w 10000"/>
              <a:gd name="connsiteY106" fmla="*/ 7768 h 10000"/>
              <a:gd name="connsiteX107" fmla="*/ 7304 w 10000"/>
              <a:gd name="connsiteY107" fmla="*/ 7624 h 10000"/>
              <a:gd name="connsiteX108" fmla="*/ 7429 w 10000"/>
              <a:gd name="connsiteY108" fmla="*/ 7480 h 10000"/>
              <a:gd name="connsiteX109" fmla="*/ 7552 w 10000"/>
              <a:gd name="connsiteY109" fmla="*/ 7329 h 10000"/>
              <a:gd name="connsiteX110" fmla="*/ 7673 w 10000"/>
              <a:gd name="connsiteY110" fmla="*/ 7178 h 10000"/>
              <a:gd name="connsiteX111" fmla="*/ 7792 w 10000"/>
              <a:gd name="connsiteY111" fmla="*/ 7024 h 10000"/>
              <a:gd name="connsiteX112" fmla="*/ 7907 w 10000"/>
              <a:gd name="connsiteY112" fmla="*/ 6861 h 10000"/>
              <a:gd name="connsiteX113" fmla="*/ 8022 w 10000"/>
              <a:gd name="connsiteY113" fmla="*/ 6697 h 10000"/>
              <a:gd name="connsiteX114" fmla="*/ 8133 w 10000"/>
              <a:gd name="connsiteY114" fmla="*/ 6534 h 10000"/>
              <a:gd name="connsiteX115" fmla="*/ 8240 w 10000"/>
              <a:gd name="connsiteY115" fmla="*/ 6365 h 10000"/>
              <a:gd name="connsiteX116" fmla="*/ 8347 w 10000"/>
              <a:gd name="connsiteY116" fmla="*/ 6189 h 10000"/>
              <a:gd name="connsiteX117" fmla="*/ 8450 w 10000"/>
              <a:gd name="connsiteY117" fmla="*/ 6016 h 10000"/>
              <a:gd name="connsiteX118" fmla="*/ 8552 w 10000"/>
              <a:gd name="connsiteY118" fmla="*/ 5835 h 10000"/>
              <a:gd name="connsiteX119" fmla="*/ 8650 w 10000"/>
              <a:gd name="connsiteY119" fmla="*/ 5652 h 10000"/>
              <a:gd name="connsiteX120" fmla="*/ 8745 w 10000"/>
              <a:gd name="connsiteY120" fmla="*/ 5468 h 10000"/>
              <a:gd name="connsiteX121" fmla="*/ 8837 w 10000"/>
              <a:gd name="connsiteY121" fmla="*/ 5278 h 10000"/>
              <a:gd name="connsiteX122" fmla="*/ 8927 w 10000"/>
              <a:gd name="connsiteY122" fmla="*/ 5089 h 10000"/>
              <a:gd name="connsiteX123" fmla="*/ 9014 w 10000"/>
              <a:gd name="connsiteY123" fmla="*/ 4893 h 10000"/>
              <a:gd name="connsiteX124" fmla="*/ 9098 w 10000"/>
              <a:gd name="connsiteY124" fmla="*/ 4698 h 10000"/>
              <a:gd name="connsiteX125" fmla="*/ 9178 w 10000"/>
              <a:gd name="connsiteY125" fmla="*/ 4500 h 10000"/>
              <a:gd name="connsiteX126" fmla="*/ 9256 w 10000"/>
              <a:gd name="connsiteY126" fmla="*/ 4294 h 10000"/>
              <a:gd name="connsiteX127" fmla="*/ 9330 w 10000"/>
              <a:gd name="connsiteY127" fmla="*/ 4091 h 10000"/>
              <a:gd name="connsiteX128" fmla="*/ 9401 w 10000"/>
              <a:gd name="connsiteY128" fmla="*/ 3885 h 10000"/>
              <a:gd name="connsiteX129" fmla="*/ 9470 w 10000"/>
              <a:gd name="connsiteY129" fmla="*/ 3674 h 10000"/>
              <a:gd name="connsiteX130" fmla="*/ 9535 w 10000"/>
              <a:gd name="connsiteY130" fmla="*/ 3464 h 10000"/>
              <a:gd name="connsiteX131" fmla="*/ 9599 w 10000"/>
              <a:gd name="connsiteY131" fmla="*/ 3248 h 10000"/>
              <a:gd name="connsiteX132" fmla="*/ 9656 w 10000"/>
              <a:gd name="connsiteY132" fmla="*/ 3030 h 10000"/>
              <a:gd name="connsiteX133" fmla="*/ 9711 w 10000"/>
              <a:gd name="connsiteY133" fmla="*/ 2815 h 10000"/>
              <a:gd name="connsiteX134" fmla="*/ 9763 w 10000"/>
              <a:gd name="connsiteY134" fmla="*/ 2592 h 10000"/>
              <a:gd name="connsiteX135" fmla="*/ 9813 w 10000"/>
              <a:gd name="connsiteY135" fmla="*/ 2369 h 10000"/>
              <a:gd name="connsiteX136" fmla="*/ 9856 w 10000"/>
              <a:gd name="connsiteY136" fmla="*/ 2143 h 10000"/>
              <a:gd name="connsiteX137" fmla="*/ 9898 w 10000"/>
              <a:gd name="connsiteY137" fmla="*/ 1918 h 10000"/>
              <a:gd name="connsiteX138" fmla="*/ 9936 w 10000"/>
              <a:gd name="connsiteY138" fmla="*/ 1690 h 10000"/>
              <a:gd name="connsiteX139" fmla="*/ 9970 w 10000"/>
              <a:gd name="connsiteY139" fmla="*/ 1457 h 10000"/>
              <a:gd name="connsiteX140" fmla="*/ 10000 w 10000"/>
              <a:gd name="connsiteY140" fmla="*/ 1222 h 10000"/>
              <a:gd name="connsiteX141" fmla="*/ 7611 w 10000"/>
              <a:gd name="connsiteY141" fmla="*/ 1876 h 10000"/>
              <a:gd name="connsiteX142" fmla="*/ 5615 w 10000"/>
              <a:gd name="connsiteY14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0 w 10000"/>
              <a:gd name="connsiteY58" fmla="*/ 6085 h 10000"/>
              <a:gd name="connsiteX59" fmla="*/ 209 w 10000"/>
              <a:gd name="connsiteY59" fmla="*/ 9512 h 10000"/>
              <a:gd name="connsiteX60" fmla="*/ 344 w 10000"/>
              <a:gd name="connsiteY60" fmla="*/ 9569 h 10000"/>
              <a:gd name="connsiteX61" fmla="*/ 481 w 10000"/>
              <a:gd name="connsiteY61" fmla="*/ 9623 h 10000"/>
              <a:gd name="connsiteX62" fmla="*/ 621 w 10000"/>
              <a:gd name="connsiteY62" fmla="*/ 9673 h 10000"/>
              <a:gd name="connsiteX63" fmla="*/ 758 w 10000"/>
              <a:gd name="connsiteY63" fmla="*/ 9720 h 10000"/>
              <a:gd name="connsiteX64" fmla="*/ 899 w 10000"/>
              <a:gd name="connsiteY64" fmla="*/ 9765 h 10000"/>
              <a:gd name="connsiteX65" fmla="*/ 1040 w 10000"/>
              <a:gd name="connsiteY65" fmla="*/ 9804 h 10000"/>
              <a:gd name="connsiteX66" fmla="*/ 1182 w 10000"/>
              <a:gd name="connsiteY66" fmla="*/ 9839 h 10000"/>
              <a:gd name="connsiteX67" fmla="*/ 1325 w 10000"/>
              <a:gd name="connsiteY67" fmla="*/ 9874 h 10000"/>
              <a:gd name="connsiteX68" fmla="*/ 1471 w 10000"/>
              <a:gd name="connsiteY68" fmla="*/ 9903 h 10000"/>
              <a:gd name="connsiteX69" fmla="*/ 1614 w 10000"/>
              <a:gd name="connsiteY69" fmla="*/ 9926 h 10000"/>
              <a:gd name="connsiteX70" fmla="*/ 1760 w 10000"/>
              <a:gd name="connsiteY70" fmla="*/ 9948 h 10000"/>
              <a:gd name="connsiteX71" fmla="*/ 1906 w 10000"/>
              <a:gd name="connsiteY71" fmla="*/ 9965 h 10000"/>
              <a:gd name="connsiteX72" fmla="*/ 2052 w 10000"/>
              <a:gd name="connsiteY72" fmla="*/ 9980 h 10000"/>
              <a:gd name="connsiteX73" fmla="*/ 2202 w 10000"/>
              <a:gd name="connsiteY73" fmla="*/ 9990 h 10000"/>
              <a:gd name="connsiteX74" fmla="*/ 2350 w 10000"/>
              <a:gd name="connsiteY74" fmla="*/ 9995 h 10000"/>
              <a:gd name="connsiteX75" fmla="*/ 2498 w 10000"/>
              <a:gd name="connsiteY75" fmla="*/ 10000 h 10000"/>
              <a:gd name="connsiteX76" fmla="*/ 2677 w 10000"/>
              <a:gd name="connsiteY76" fmla="*/ 9995 h 10000"/>
              <a:gd name="connsiteX77" fmla="*/ 2850 w 10000"/>
              <a:gd name="connsiteY77" fmla="*/ 9988 h 10000"/>
              <a:gd name="connsiteX78" fmla="*/ 3024 w 10000"/>
              <a:gd name="connsiteY78" fmla="*/ 9975 h 10000"/>
              <a:gd name="connsiteX79" fmla="*/ 3195 w 10000"/>
              <a:gd name="connsiteY79" fmla="*/ 9953 h 10000"/>
              <a:gd name="connsiteX80" fmla="*/ 3368 w 10000"/>
              <a:gd name="connsiteY80" fmla="*/ 9931 h 10000"/>
              <a:gd name="connsiteX81" fmla="*/ 3538 w 10000"/>
              <a:gd name="connsiteY81" fmla="*/ 9898 h 10000"/>
              <a:gd name="connsiteX82" fmla="*/ 3709 w 10000"/>
              <a:gd name="connsiteY82" fmla="*/ 9866 h 10000"/>
              <a:gd name="connsiteX83" fmla="*/ 3877 w 10000"/>
              <a:gd name="connsiteY83" fmla="*/ 9824 h 10000"/>
              <a:gd name="connsiteX84" fmla="*/ 4042 w 10000"/>
              <a:gd name="connsiteY84" fmla="*/ 9779 h 10000"/>
              <a:gd name="connsiteX85" fmla="*/ 4210 w 10000"/>
              <a:gd name="connsiteY85" fmla="*/ 9730 h 10000"/>
              <a:gd name="connsiteX86" fmla="*/ 4372 w 10000"/>
              <a:gd name="connsiteY86" fmla="*/ 9673 h 10000"/>
              <a:gd name="connsiteX87" fmla="*/ 4536 w 10000"/>
              <a:gd name="connsiteY87" fmla="*/ 9616 h 10000"/>
              <a:gd name="connsiteX88" fmla="*/ 4697 w 10000"/>
              <a:gd name="connsiteY88" fmla="*/ 9552 h 10000"/>
              <a:gd name="connsiteX89" fmla="*/ 4857 w 10000"/>
              <a:gd name="connsiteY89" fmla="*/ 9482 h 10000"/>
              <a:gd name="connsiteX90" fmla="*/ 5014 w 10000"/>
              <a:gd name="connsiteY90" fmla="*/ 9405 h 10000"/>
              <a:gd name="connsiteX91" fmla="*/ 5171 w 10000"/>
              <a:gd name="connsiteY91" fmla="*/ 9329 h 10000"/>
              <a:gd name="connsiteX92" fmla="*/ 5326 w 10000"/>
              <a:gd name="connsiteY92" fmla="*/ 9244 h 10000"/>
              <a:gd name="connsiteX93" fmla="*/ 5480 w 10000"/>
              <a:gd name="connsiteY93" fmla="*/ 9158 h 10000"/>
              <a:gd name="connsiteX94" fmla="*/ 5631 w 10000"/>
              <a:gd name="connsiteY94" fmla="*/ 9063 h 10000"/>
              <a:gd name="connsiteX95" fmla="*/ 5781 w 10000"/>
              <a:gd name="connsiteY95" fmla="*/ 8967 h 10000"/>
              <a:gd name="connsiteX96" fmla="*/ 5931 w 10000"/>
              <a:gd name="connsiteY96" fmla="*/ 8865 h 10000"/>
              <a:gd name="connsiteX97" fmla="*/ 6075 w 10000"/>
              <a:gd name="connsiteY97" fmla="*/ 8759 h 10000"/>
              <a:gd name="connsiteX98" fmla="*/ 6221 w 10000"/>
              <a:gd name="connsiteY98" fmla="*/ 8652 h 10000"/>
              <a:gd name="connsiteX99" fmla="*/ 6364 w 10000"/>
              <a:gd name="connsiteY99" fmla="*/ 8536 h 10000"/>
              <a:gd name="connsiteX100" fmla="*/ 6505 w 10000"/>
              <a:gd name="connsiteY100" fmla="*/ 8417 h 10000"/>
              <a:gd name="connsiteX101" fmla="*/ 6642 w 10000"/>
              <a:gd name="connsiteY101" fmla="*/ 8295 h 10000"/>
              <a:gd name="connsiteX102" fmla="*/ 6780 w 10000"/>
              <a:gd name="connsiteY102" fmla="*/ 8169 h 10000"/>
              <a:gd name="connsiteX103" fmla="*/ 6913 w 10000"/>
              <a:gd name="connsiteY103" fmla="*/ 8040 h 10000"/>
              <a:gd name="connsiteX104" fmla="*/ 7045 w 10000"/>
              <a:gd name="connsiteY104" fmla="*/ 7904 h 10000"/>
              <a:gd name="connsiteX105" fmla="*/ 7175 w 10000"/>
              <a:gd name="connsiteY105" fmla="*/ 7768 h 10000"/>
              <a:gd name="connsiteX106" fmla="*/ 7304 w 10000"/>
              <a:gd name="connsiteY106" fmla="*/ 7624 h 10000"/>
              <a:gd name="connsiteX107" fmla="*/ 7429 w 10000"/>
              <a:gd name="connsiteY107" fmla="*/ 7480 h 10000"/>
              <a:gd name="connsiteX108" fmla="*/ 7552 w 10000"/>
              <a:gd name="connsiteY108" fmla="*/ 7329 h 10000"/>
              <a:gd name="connsiteX109" fmla="*/ 7673 w 10000"/>
              <a:gd name="connsiteY109" fmla="*/ 7178 h 10000"/>
              <a:gd name="connsiteX110" fmla="*/ 7792 w 10000"/>
              <a:gd name="connsiteY110" fmla="*/ 7024 h 10000"/>
              <a:gd name="connsiteX111" fmla="*/ 7907 w 10000"/>
              <a:gd name="connsiteY111" fmla="*/ 6861 h 10000"/>
              <a:gd name="connsiteX112" fmla="*/ 8022 w 10000"/>
              <a:gd name="connsiteY112" fmla="*/ 6697 h 10000"/>
              <a:gd name="connsiteX113" fmla="*/ 8133 w 10000"/>
              <a:gd name="connsiteY113" fmla="*/ 6534 h 10000"/>
              <a:gd name="connsiteX114" fmla="*/ 8240 w 10000"/>
              <a:gd name="connsiteY114" fmla="*/ 6365 h 10000"/>
              <a:gd name="connsiteX115" fmla="*/ 8347 w 10000"/>
              <a:gd name="connsiteY115" fmla="*/ 6189 h 10000"/>
              <a:gd name="connsiteX116" fmla="*/ 8450 w 10000"/>
              <a:gd name="connsiteY116" fmla="*/ 6016 h 10000"/>
              <a:gd name="connsiteX117" fmla="*/ 8552 w 10000"/>
              <a:gd name="connsiteY117" fmla="*/ 5835 h 10000"/>
              <a:gd name="connsiteX118" fmla="*/ 8650 w 10000"/>
              <a:gd name="connsiteY118" fmla="*/ 5652 h 10000"/>
              <a:gd name="connsiteX119" fmla="*/ 8745 w 10000"/>
              <a:gd name="connsiteY119" fmla="*/ 5468 h 10000"/>
              <a:gd name="connsiteX120" fmla="*/ 8837 w 10000"/>
              <a:gd name="connsiteY120" fmla="*/ 5278 h 10000"/>
              <a:gd name="connsiteX121" fmla="*/ 8927 w 10000"/>
              <a:gd name="connsiteY121" fmla="*/ 5089 h 10000"/>
              <a:gd name="connsiteX122" fmla="*/ 9014 w 10000"/>
              <a:gd name="connsiteY122" fmla="*/ 4893 h 10000"/>
              <a:gd name="connsiteX123" fmla="*/ 9098 w 10000"/>
              <a:gd name="connsiteY123" fmla="*/ 4698 h 10000"/>
              <a:gd name="connsiteX124" fmla="*/ 9178 w 10000"/>
              <a:gd name="connsiteY124" fmla="*/ 4500 h 10000"/>
              <a:gd name="connsiteX125" fmla="*/ 9256 w 10000"/>
              <a:gd name="connsiteY125" fmla="*/ 4294 h 10000"/>
              <a:gd name="connsiteX126" fmla="*/ 9330 w 10000"/>
              <a:gd name="connsiteY126" fmla="*/ 4091 h 10000"/>
              <a:gd name="connsiteX127" fmla="*/ 9401 w 10000"/>
              <a:gd name="connsiteY127" fmla="*/ 3885 h 10000"/>
              <a:gd name="connsiteX128" fmla="*/ 9470 w 10000"/>
              <a:gd name="connsiteY128" fmla="*/ 3674 h 10000"/>
              <a:gd name="connsiteX129" fmla="*/ 9535 w 10000"/>
              <a:gd name="connsiteY129" fmla="*/ 3464 h 10000"/>
              <a:gd name="connsiteX130" fmla="*/ 9599 w 10000"/>
              <a:gd name="connsiteY130" fmla="*/ 3248 h 10000"/>
              <a:gd name="connsiteX131" fmla="*/ 9656 w 10000"/>
              <a:gd name="connsiteY131" fmla="*/ 3030 h 10000"/>
              <a:gd name="connsiteX132" fmla="*/ 9711 w 10000"/>
              <a:gd name="connsiteY132" fmla="*/ 2815 h 10000"/>
              <a:gd name="connsiteX133" fmla="*/ 9763 w 10000"/>
              <a:gd name="connsiteY133" fmla="*/ 2592 h 10000"/>
              <a:gd name="connsiteX134" fmla="*/ 9813 w 10000"/>
              <a:gd name="connsiteY134" fmla="*/ 2369 h 10000"/>
              <a:gd name="connsiteX135" fmla="*/ 9856 w 10000"/>
              <a:gd name="connsiteY135" fmla="*/ 2143 h 10000"/>
              <a:gd name="connsiteX136" fmla="*/ 9898 w 10000"/>
              <a:gd name="connsiteY136" fmla="*/ 1918 h 10000"/>
              <a:gd name="connsiteX137" fmla="*/ 9936 w 10000"/>
              <a:gd name="connsiteY137" fmla="*/ 1690 h 10000"/>
              <a:gd name="connsiteX138" fmla="*/ 9970 w 10000"/>
              <a:gd name="connsiteY138" fmla="*/ 1457 h 10000"/>
              <a:gd name="connsiteX139" fmla="*/ 10000 w 10000"/>
              <a:gd name="connsiteY139" fmla="*/ 1222 h 10000"/>
              <a:gd name="connsiteX140" fmla="*/ 7611 w 10000"/>
              <a:gd name="connsiteY140" fmla="*/ 1876 h 10000"/>
              <a:gd name="connsiteX141" fmla="*/ 5615 w 10000"/>
              <a:gd name="connsiteY14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0 w 10000"/>
              <a:gd name="connsiteY57" fmla="*/ 6085 h 10000"/>
              <a:gd name="connsiteX58" fmla="*/ 209 w 10000"/>
              <a:gd name="connsiteY58" fmla="*/ 9512 h 10000"/>
              <a:gd name="connsiteX59" fmla="*/ 344 w 10000"/>
              <a:gd name="connsiteY59" fmla="*/ 9569 h 10000"/>
              <a:gd name="connsiteX60" fmla="*/ 481 w 10000"/>
              <a:gd name="connsiteY60" fmla="*/ 9623 h 10000"/>
              <a:gd name="connsiteX61" fmla="*/ 621 w 10000"/>
              <a:gd name="connsiteY61" fmla="*/ 9673 h 10000"/>
              <a:gd name="connsiteX62" fmla="*/ 758 w 10000"/>
              <a:gd name="connsiteY62" fmla="*/ 9720 h 10000"/>
              <a:gd name="connsiteX63" fmla="*/ 899 w 10000"/>
              <a:gd name="connsiteY63" fmla="*/ 9765 h 10000"/>
              <a:gd name="connsiteX64" fmla="*/ 1040 w 10000"/>
              <a:gd name="connsiteY64" fmla="*/ 9804 h 10000"/>
              <a:gd name="connsiteX65" fmla="*/ 1182 w 10000"/>
              <a:gd name="connsiteY65" fmla="*/ 9839 h 10000"/>
              <a:gd name="connsiteX66" fmla="*/ 1325 w 10000"/>
              <a:gd name="connsiteY66" fmla="*/ 9874 h 10000"/>
              <a:gd name="connsiteX67" fmla="*/ 1471 w 10000"/>
              <a:gd name="connsiteY67" fmla="*/ 9903 h 10000"/>
              <a:gd name="connsiteX68" fmla="*/ 1614 w 10000"/>
              <a:gd name="connsiteY68" fmla="*/ 9926 h 10000"/>
              <a:gd name="connsiteX69" fmla="*/ 1760 w 10000"/>
              <a:gd name="connsiteY69" fmla="*/ 9948 h 10000"/>
              <a:gd name="connsiteX70" fmla="*/ 1906 w 10000"/>
              <a:gd name="connsiteY70" fmla="*/ 9965 h 10000"/>
              <a:gd name="connsiteX71" fmla="*/ 2052 w 10000"/>
              <a:gd name="connsiteY71" fmla="*/ 9980 h 10000"/>
              <a:gd name="connsiteX72" fmla="*/ 2202 w 10000"/>
              <a:gd name="connsiteY72" fmla="*/ 9990 h 10000"/>
              <a:gd name="connsiteX73" fmla="*/ 2350 w 10000"/>
              <a:gd name="connsiteY73" fmla="*/ 9995 h 10000"/>
              <a:gd name="connsiteX74" fmla="*/ 2498 w 10000"/>
              <a:gd name="connsiteY74" fmla="*/ 10000 h 10000"/>
              <a:gd name="connsiteX75" fmla="*/ 2677 w 10000"/>
              <a:gd name="connsiteY75" fmla="*/ 9995 h 10000"/>
              <a:gd name="connsiteX76" fmla="*/ 2850 w 10000"/>
              <a:gd name="connsiteY76" fmla="*/ 9988 h 10000"/>
              <a:gd name="connsiteX77" fmla="*/ 3024 w 10000"/>
              <a:gd name="connsiteY77" fmla="*/ 9975 h 10000"/>
              <a:gd name="connsiteX78" fmla="*/ 3195 w 10000"/>
              <a:gd name="connsiteY78" fmla="*/ 9953 h 10000"/>
              <a:gd name="connsiteX79" fmla="*/ 3368 w 10000"/>
              <a:gd name="connsiteY79" fmla="*/ 9931 h 10000"/>
              <a:gd name="connsiteX80" fmla="*/ 3538 w 10000"/>
              <a:gd name="connsiteY80" fmla="*/ 9898 h 10000"/>
              <a:gd name="connsiteX81" fmla="*/ 3709 w 10000"/>
              <a:gd name="connsiteY81" fmla="*/ 9866 h 10000"/>
              <a:gd name="connsiteX82" fmla="*/ 3877 w 10000"/>
              <a:gd name="connsiteY82" fmla="*/ 9824 h 10000"/>
              <a:gd name="connsiteX83" fmla="*/ 4042 w 10000"/>
              <a:gd name="connsiteY83" fmla="*/ 9779 h 10000"/>
              <a:gd name="connsiteX84" fmla="*/ 4210 w 10000"/>
              <a:gd name="connsiteY84" fmla="*/ 9730 h 10000"/>
              <a:gd name="connsiteX85" fmla="*/ 4372 w 10000"/>
              <a:gd name="connsiteY85" fmla="*/ 9673 h 10000"/>
              <a:gd name="connsiteX86" fmla="*/ 4536 w 10000"/>
              <a:gd name="connsiteY86" fmla="*/ 9616 h 10000"/>
              <a:gd name="connsiteX87" fmla="*/ 4697 w 10000"/>
              <a:gd name="connsiteY87" fmla="*/ 9552 h 10000"/>
              <a:gd name="connsiteX88" fmla="*/ 4857 w 10000"/>
              <a:gd name="connsiteY88" fmla="*/ 9482 h 10000"/>
              <a:gd name="connsiteX89" fmla="*/ 5014 w 10000"/>
              <a:gd name="connsiteY89" fmla="*/ 9405 h 10000"/>
              <a:gd name="connsiteX90" fmla="*/ 5171 w 10000"/>
              <a:gd name="connsiteY90" fmla="*/ 9329 h 10000"/>
              <a:gd name="connsiteX91" fmla="*/ 5326 w 10000"/>
              <a:gd name="connsiteY91" fmla="*/ 9244 h 10000"/>
              <a:gd name="connsiteX92" fmla="*/ 5480 w 10000"/>
              <a:gd name="connsiteY92" fmla="*/ 9158 h 10000"/>
              <a:gd name="connsiteX93" fmla="*/ 5631 w 10000"/>
              <a:gd name="connsiteY93" fmla="*/ 9063 h 10000"/>
              <a:gd name="connsiteX94" fmla="*/ 5781 w 10000"/>
              <a:gd name="connsiteY94" fmla="*/ 8967 h 10000"/>
              <a:gd name="connsiteX95" fmla="*/ 5931 w 10000"/>
              <a:gd name="connsiteY95" fmla="*/ 8865 h 10000"/>
              <a:gd name="connsiteX96" fmla="*/ 6075 w 10000"/>
              <a:gd name="connsiteY96" fmla="*/ 8759 h 10000"/>
              <a:gd name="connsiteX97" fmla="*/ 6221 w 10000"/>
              <a:gd name="connsiteY97" fmla="*/ 8652 h 10000"/>
              <a:gd name="connsiteX98" fmla="*/ 6364 w 10000"/>
              <a:gd name="connsiteY98" fmla="*/ 8536 h 10000"/>
              <a:gd name="connsiteX99" fmla="*/ 6505 w 10000"/>
              <a:gd name="connsiteY99" fmla="*/ 8417 h 10000"/>
              <a:gd name="connsiteX100" fmla="*/ 6642 w 10000"/>
              <a:gd name="connsiteY100" fmla="*/ 8295 h 10000"/>
              <a:gd name="connsiteX101" fmla="*/ 6780 w 10000"/>
              <a:gd name="connsiteY101" fmla="*/ 8169 h 10000"/>
              <a:gd name="connsiteX102" fmla="*/ 6913 w 10000"/>
              <a:gd name="connsiteY102" fmla="*/ 8040 h 10000"/>
              <a:gd name="connsiteX103" fmla="*/ 7045 w 10000"/>
              <a:gd name="connsiteY103" fmla="*/ 7904 h 10000"/>
              <a:gd name="connsiteX104" fmla="*/ 7175 w 10000"/>
              <a:gd name="connsiteY104" fmla="*/ 7768 h 10000"/>
              <a:gd name="connsiteX105" fmla="*/ 7304 w 10000"/>
              <a:gd name="connsiteY105" fmla="*/ 7624 h 10000"/>
              <a:gd name="connsiteX106" fmla="*/ 7429 w 10000"/>
              <a:gd name="connsiteY106" fmla="*/ 7480 h 10000"/>
              <a:gd name="connsiteX107" fmla="*/ 7552 w 10000"/>
              <a:gd name="connsiteY107" fmla="*/ 7329 h 10000"/>
              <a:gd name="connsiteX108" fmla="*/ 7673 w 10000"/>
              <a:gd name="connsiteY108" fmla="*/ 7178 h 10000"/>
              <a:gd name="connsiteX109" fmla="*/ 7792 w 10000"/>
              <a:gd name="connsiteY109" fmla="*/ 7024 h 10000"/>
              <a:gd name="connsiteX110" fmla="*/ 7907 w 10000"/>
              <a:gd name="connsiteY110" fmla="*/ 6861 h 10000"/>
              <a:gd name="connsiteX111" fmla="*/ 8022 w 10000"/>
              <a:gd name="connsiteY111" fmla="*/ 6697 h 10000"/>
              <a:gd name="connsiteX112" fmla="*/ 8133 w 10000"/>
              <a:gd name="connsiteY112" fmla="*/ 6534 h 10000"/>
              <a:gd name="connsiteX113" fmla="*/ 8240 w 10000"/>
              <a:gd name="connsiteY113" fmla="*/ 6365 h 10000"/>
              <a:gd name="connsiteX114" fmla="*/ 8347 w 10000"/>
              <a:gd name="connsiteY114" fmla="*/ 6189 h 10000"/>
              <a:gd name="connsiteX115" fmla="*/ 8450 w 10000"/>
              <a:gd name="connsiteY115" fmla="*/ 6016 h 10000"/>
              <a:gd name="connsiteX116" fmla="*/ 8552 w 10000"/>
              <a:gd name="connsiteY116" fmla="*/ 5835 h 10000"/>
              <a:gd name="connsiteX117" fmla="*/ 8650 w 10000"/>
              <a:gd name="connsiteY117" fmla="*/ 5652 h 10000"/>
              <a:gd name="connsiteX118" fmla="*/ 8745 w 10000"/>
              <a:gd name="connsiteY118" fmla="*/ 5468 h 10000"/>
              <a:gd name="connsiteX119" fmla="*/ 8837 w 10000"/>
              <a:gd name="connsiteY119" fmla="*/ 5278 h 10000"/>
              <a:gd name="connsiteX120" fmla="*/ 8927 w 10000"/>
              <a:gd name="connsiteY120" fmla="*/ 5089 h 10000"/>
              <a:gd name="connsiteX121" fmla="*/ 9014 w 10000"/>
              <a:gd name="connsiteY121" fmla="*/ 4893 h 10000"/>
              <a:gd name="connsiteX122" fmla="*/ 9098 w 10000"/>
              <a:gd name="connsiteY122" fmla="*/ 4698 h 10000"/>
              <a:gd name="connsiteX123" fmla="*/ 9178 w 10000"/>
              <a:gd name="connsiteY123" fmla="*/ 4500 h 10000"/>
              <a:gd name="connsiteX124" fmla="*/ 9256 w 10000"/>
              <a:gd name="connsiteY124" fmla="*/ 4294 h 10000"/>
              <a:gd name="connsiteX125" fmla="*/ 9330 w 10000"/>
              <a:gd name="connsiteY125" fmla="*/ 4091 h 10000"/>
              <a:gd name="connsiteX126" fmla="*/ 9401 w 10000"/>
              <a:gd name="connsiteY126" fmla="*/ 3885 h 10000"/>
              <a:gd name="connsiteX127" fmla="*/ 9470 w 10000"/>
              <a:gd name="connsiteY127" fmla="*/ 3674 h 10000"/>
              <a:gd name="connsiteX128" fmla="*/ 9535 w 10000"/>
              <a:gd name="connsiteY128" fmla="*/ 3464 h 10000"/>
              <a:gd name="connsiteX129" fmla="*/ 9599 w 10000"/>
              <a:gd name="connsiteY129" fmla="*/ 3248 h 10000"/>
              <a:gd name="connsiteX130" fmla="*/ 9656 w 10000"/>
              <a:gd name="connsiteY130" fmla="*/ 3030 h 10000"/>
              <a:gd name="connsiteX131" fmla="*/ 9711 w 10000"/>
              <a:gd name="connsiteY131" fmla="*/ 2815 h 10000"/>
              <a:gd name="connsiteX132" fmla="*/ 9763 w 10000"/>
              <a:gd name="connsiteY132" fmla="*/ 2592 h 10000"/>
              <a:gd name="connsiteX133" fmla="*/ 9813 w 10000"/>
              <a:gd name="connsiteY133" fmla="*/ 2369 h 10000"/>
              <a:gd name="connsiteX134" fmla="*/ 9856 w 10000"/>
              <a:gd name="connsiteY134" fmla="*/ 2143 h 10000"/>
              <a:gd name="connsiteX135" fmla="*/ 9898 w 10000"/>
              <a:gd name="connsiteY135" fmla="*/ 1918 h 10000"/>
              <a:gd name="connsiteX136" fmla="*/ 9936 w 10000"/>
              <a:gd name="connsiteY136" fmla="*/ 1690 h 10000"/>
              <a:gd name="connsiteX137" fmla="*/ 9970 w 10000"/>
              <a:gd name="connsiteY137" fmla="*/ 1457 h 10000"/>
              <a:gd name="connsiteX138" fmla="*/ 10000 w 10000"/>
              <a:gd name="connsiteY138" fmla="*/ 1222 h 10000"/>
              <a:gd name="connsiteX139" fmla="*/ 7611 w 10000"/>
              <a:gd name="connsiteY139" fmla="*/ 1876 h 10000"/>
              <a:gd name="connsiteX140" fmla="*/ 5615 w 10000"/>
              <a:gd name="connsiteY14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0 w 10000"/>
              <a:gd name="connsiteY56" fmla="*/ 6085 h 10000"/>
              <a:gd name="connsiteX57" fmla="*/ 209 w 10000"/>
              <a:gd name="connsiteY57" fmla="*/ 9512 h 10000"/>
              <a:gd name="connsiteX58" fmla="*/ 344 w 10000"/>
              <a:gd name="connsiteY58" fmla="*/ 9569 h 10000"/>
              <a:gd name="connsiteX59" fmla="*/ 481 w 10000"/>
              <a:gd name="connsiteY59" fmla="*/ 9623 h 10000"/>
              <a:gd name="connsiteX60" fmla="*/ 621 w 10000"/>
              <a:gd name="connsiteY60" fmla="*/ 9673 h 10000"/>
              <a:gd name="connsiteX61" fmla="*/ 758 w 10000"/>
              <a:gd name="connsiteY61" fmla="*/ 9720 h 10000"/>
              <a:gd name="connsiteX62" fmla="*/ 899 w 10000"/>
              <a:gd name="connsiteY62" fmla="*/ 9765 h 10000"/>
              <a:gd name="connsiteX63" fmla="*/ 1040 w 10000"/>
              <a:gd name="connsiteY63" fmla="*/ 9804 h 10000"/>
              <a:gd name="connsiteX64" fmla="*/ 1182 w 10000"/>
              <a:gd name="connsiteY64" fmla="*/ 9839 h 10000"/>
              <a:gd name="connsiteX65" fmla="*/ 1325 w 10000"/>
              <a:gd name="connsiteY65" fmla="*/ 9874 h 10000"/>
              <a:gd name="connsiteX66" fmla="*/ 1471 w 10000"/>
              <a:gd name="connsiteY66" fmla="*/ 9903 h 10000"/>
              <a:gd name="connsiteX67" fmla="*/ 1614 w 10000"/>
              <a:gd name="connsiteY67" fmla="*/ 9926 h 10000"/>
              <a:gd name="connsiteX68" fmla="*/ 1760 w 10000"/>
              <a:gd name="connsiteY68" fmla="*/ 9948 h 10000"/>
              <a:gd name="connsiteX69" fmla="*/ 1906 w 10000"/>
              <a:gd name="connsiteY69" fmla="*/ 9965 h 10000"/>
              <a:gd name="connsiteX70" fmla="*/ 2052 w 10000"/>
              <a:gd name="connsiteY70" fmla="*/ 9980 h 10000"/>
              <a:gd name="connsiteX71" fmla="*/ 2202 w 10000"/>
              <a:gd name="connsiteY71" fmla="*/ 9990 h 10000"/>
              <a:gd name="connsiteX72" fmla="*/ 2350 w 10000"/>
              <a:gd name="connsiteY72" fmla="*/ 9995 h 10000"/>
              <a:gd name="connsiteX73" fmla="*/ 2498 w 10000"/>
              <a:gd name="connsiteY73" fmla="*/ 10000 h 10000"/>
              <a:gd name="connsiteX74" fmla="*/ 2677 w 10000"/>
              <a:gd name="connsiteY74" fmla="*/ 9995 h 10000"/>
              <a:gd name="connsiteX75" fmla="*/ 2850 w 10000"/>
              <a:gd name="connsiteY75" fmla="*/ 9988 h 10000"/>
              <a:gd name="connsiteX76" fmla="*/ 3024 w 10000"/>
              <a:gd name="connsiteY76" fmla="*/ 9975 h 10000"/>
              <a:gd name="connsiteX77" fmla="*/ 3195 w 10000"/>
              <a:gd name="connsiteY77" fmla="*/ 9953 h 10000"/>
              <a:gd name="connsiteX78" fmla="*/ 3368 w 10000"/>
              <a:gd name="connsiteY78" fmla="*/ 9931 h 10000"/>
              <a:gd name="connsiteX79" fmla="*/ 3538 w 10000"/>
              <a:gd name="connsiteY79" fmla="*/ 9898 h 10000"/>
              <a:gd name="connsiteX80" fmla="*/ 3709 w 10000"/>
              <a:gd name="connsiteY80" fmla="*/ 9866 h 10000"/>
              <a:gd name="connsiteX81" fmla="*/ 3877 w 10000"/>
              <a:gd name="connsiteY81" fmla="*/ 9824 h 10000"/>
              <a:gd name="connsiteX82" fmla="*/ 4042 w 10000"/>
              <a:gd name="connsiteY82" fmla="*/ 9779 h 10000"/>
              <a:gd name="connsiteX83" fmla="*/ 4210 w 10000"/>
              <a:gd name="connsiteY83" fmla="*/ 9730 h 10000"/>
              <a:gd name="connsiteX84" fmla="*/ 4372 w 10000"/>
              <a:gd name="connsiteY84" fmla="*/ 9673 h 10000"/>
              <a:gd name="connsiteX85" fmla="*/ 4536 w 10000"/>
              <a:gd name="connsiteY85" fmla="*/ 9616 h 10000"/>
              <a:gd name="connsiteX86" fmla="*/ 4697 w 10000"/>
              <a:gd name="connsiteY86" fmla="*/ 9552 h 10000"/>
              <a:gd name="connsiteX87" fmla="*/ 4857 w 10000"/>
              <a:gd name="connsiteY87" fmla="*/ 9482 h 10000"/>
              <a:gd name="connsiteX88" fmla="*/ 5014 w 10000"/>
              <a:gd name="connsiteY88" fmla="*/ 9405 h 10000"/>
              <a:gd name="connsiteX89" fmla="*/ 5171 w 10000"/>
              <a:gd name="connsiteY89" fmla="*/ 9329 h 10000"/>
              <a:gd name="connsiteX90" fmla="*/ 5326 w 10000"/>
              <a:gd name="connsiteY90" fmla="*/ 9244 h 10000"/>
              <a:gd name="connsiteX91" fmla="*/ 5480 w 10000"/>
              <a:gd name="connsiteY91" fmla="*/ 9158 h 10000"/>
              <a:gd name="connsiteX92" fmla="*/ 5631 w 10000"/>
              <a:gd name="connsiteY92" fmla="*/ 9063 h 10000"/>
              <a:gd name="connsiteX93" fmla="*/ 5781 w 10000"/>
              <a:gd name="connsiteY93" fmla="*/ 8967 h 10000"/>
              <a:gd name="connsiteX94" fmla="*/ 5931 w 10000"/>
              <a:gd name="connsiteY94" fmla="*/ 8865 h 10000"/>
              <a:gd name="connsiteX95" fmla="*/ 6075 w 10000"/>
              <a:gd name="connsiteY95" fmla="*/ 8759 h 10000"/>
              <a:gd name="connsiteX96" fmla="*/ 6221 w 10000"/>
              <a:gd name="connsiteY96" fmla="*/ 8652 h 10000"/>
              <a:gd name="connsiteX97" fmla="*/ 6364 w 10000"/>
              <a:gd name="connsiteY97" fmla="*/ 8536 h 10000"/>
              <a:gd name="connsiteX98" fmla="*/ 6505 w 10000"/>
              <a:gd name="connsiteY98" fmla="*/ 8417 h 10000"/>
              <a:gd name="connsiteX99" fmla="*/ 6642 w 10000"/>
              <a:gd name="connsiteY99" fmla="*/ 8295 h 10000"/>
              <a:gd name="connsiteX100" fmla="*/ 6780 w 10000"/>
              <a:gd name="connsiteY100" fmla="*/ 8169 h 10000"/>
              <a:gd name="connsiteX101" fmla="*/ 6913 w 10000"/>
              <a:gd name="connsiteY101" fmla="*/ 8040 h 10000"/>
              <a:gd name="connsiteX102" fmla="*/ 7045 w 10000"/>
              <a:gd name="connsiteY102" fmla="*/ 7904 h 10000"/>
              <a:gd name="connsiteX103" fmla="*/ 7175 w 10000"/>
              <a:gd name="connsiteY103" fmla="*/ 7768 h 10000"/>
              <a:gd name="connsiteX104" fmla="*/ 7304 w 10000"/>
              <a:gd name="connsiteY104" fmla="*/ 7624 h 10000"/>
              <a:gd name="connsiteX105" fmla="*/ 7429 w 10000"/>
              <a:gd name="connsiteY105" fmla="*/ 7480 h 10000"/>
              <a:gd name="connsiteX106" fmla="*/ 7552 w 10000"/>
              <a:gd name="connsiteY106" fmla="*/ 7329 h 10000"/>
              <a:gd name="connsiteX107" fmla="*/ 7673 w 10000"/>
              <a:gd name="connsiteY107" fmla="*/ 7178 h 10000"/>
              <a:gd name="connsiteX108" fmla="*/ 7792 w 10000"/>
              <a:gd name="connsiteY108" fmla="*/ 7024 h 10000"/>
              <a:gd name="connsiteX109" fmla="*/ 7907 w 10000"/>
              <a:gd name="connsiteY109" fmla="*/ 6861 h 10000"/>
              <a:gd name="connsiteX110" fmla="*/ 8022 w 10000"/>
              <a:gd name="connsiteY110" fmla="*/ 6697 h 10000"/>
              <a:gd name="connsiteX111" fmla="*/ 8133 w 10000"/>
              <a:gd name="connsiteY111" fmla="*/ 6534 h 10000"/>
              <a:gd name="connsiteX112" fmla="*/ 8240 w 10000"/>
              <a:gd name="connsiteY112" fmla="*/ 6365 h 10000"/>
              <a:gd name="connsiteX113" fmla="*/ 8347 w 10000"/>
              <a:gd name="connsiteY113" fmla="*/ 6189 h 10000"/>
              <a:gd name="connsiteX114" fmla="*/ 8450 w 10000"/>
              <a:gd name="connsiteY114" fmla="*/ 6016 h 10000"/>
              <a:gd name="connsiteX115" fmla="*/ 8552 w 10000"/>
              <a:gd name="connsiteY115" fmla="*/ 5835 h 10000"/>
              <a:gd name="connsiteX116" fmla="*/ 8650 w 10000"/>
              <a:gd name="connsiteY116" fmla="*/ 5652 h 10000"/>
              <a:gd name="connsiteX117" fmla="*/ 8745 w 10000"/>
              <a:gd name="connsiteY117" fmla="*/ 5468 h 10000"/>
              <a:gd name="connsiteX118" fmla="*/ 8837 w 10000"/>
              <a:gd name="connsiteY118" fmla="*/ 5278 h 10000"/>
              <a:gd name="connsiteX119" fmla="*/ 8927 w 10000"/>
              <a:gd name="connsiteY119" fmla="*/ 5089 h 10000"/>
              <a:gd name="connsiteX120" fmla="*/ 9014 w 10000"/>
              <a:gd name="connsiteY120" fmla="*/ 4893 h 10000"/>
              <a:gd name="connsiteX121" fmla="*/ 9098 w 10000"/>
              <a:gd name="connsiteY121" fmla="*/ 4698 h 10000"/>
              <a:gd name="connsiteX122" fmla="*/ 9178 w 10000"/>
              <a:gd name="connsiteY122" fmla="*/ 4500 h 10000"/>
              <a:gd name="connsiteX123" fmla="*/ 9256 w 10000"/>
              <a:gd name="connsiteY123" fmla="*/ 4294 h 10000"/>
              <a:gd name="connsiteX124" fmla="*/ 9330 w 10000"/>
              <a:gd name="connsiteY124" fmla="*/ 4091 h 10000"/>
              <a:gd name="connsiteX125" fmla="*/ 9401 w 10000"/>
              <a:gd name="connsiteY125" fmla="*/ 3885 h 10000"/>
              <a:gd name="connsiteX126" fmla="*/ 9470 w 10000"/>
              <a:gd name="connsiteY126" fmla="*/ 3674 h 10000"/>
              <a:gd name="connsiteX127" fmla="*/ 9535 w 10000"/>
              <a:gd name="connsiteY127" fmla="*/ 3464 h 10000"/>
              <a:gd name="connsiteX128" fmla="*/ 9599 w 10000"/>
              <a:gd name="connsiteY128" fmla="*/ 3248 h 10000"/>
              <a:gd name="connsiteX129" fmla="*/ 9656 w 10000"/>
              <a:gd name="connsiteY129" fmla="*/ 3030 h 10000"/>
              <a:gd name="connsiteX130" fmla="*/ 9711 w 10000"/>
              <a:gd name="connsiteY130" fmla="*/ 2815 h 10000"/>
              <a:gd name="connsiteX131" fmla="*/ 9763 w 10000"/>
              <a:gd name="connsiteY131" fmla="*/ 2592 h 10000"/>
              <a:gd name="connsiteX132" fmla="*/ 9813 w 10000"/>
              <a:gd name="connsiteY132" fmla="*/ 2369 h 10000"/>
              <a:gd name="connsiteX133" fmla="*/ 9856 w 10000"/>
              <a:gd name="connsiteY133" fmla="*/ 2143 h 10000"/>
              <a:gd name="connsiteX134" fmla="*/ 9898 w 10000"/>
              <a:gd name="connsiteY134" fmla="*/ 1918 h 10000"/>
              <a:gd name="connsiteX135" fmla="*/ 9936 w 10000"/>
              <a:gd name="connsiteY135" fmla="*/ 1690 h 10000"/>
              <a:gd name="connsiteX136" fmla="*/ 9970 w 10000"/>
              <a:gd name="connsiteY136" fmla="*/ 1457 h 10000"/>
              <a:gd name="connsiteX137" fmla="*/ 10000 w 10000"/>
              <a:gd name="connsiteY137" fmla="*/ 1222 h 10000"/>
              <a:gd name="connsiteX138" fmla="*/ 7611 w 10000"/>
              <a:gd name="connsiteY138" fmla="*/ 1876 h 10000"/>
              <a:gd name="connsiteX139" fmla="*/ 5615 w 10000"/>
              <a:gd name="connsiteY13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0 w 10000"/>
              <a:gd name="connsiteY55" fmla="*/ 6085 h 10000"/>
              <a:gd name="connsiteX56" fmla="*/ 209 w 10000"/>
              <a:gd name="connsiteY56" fmla="*/ 9512 h 10000"/>
              <a:gd name="connsiteX57" fmla="*/ 344 w 10000"/>
              <a:gd name="connsiteY57" fmla="*/ 9569 h 10000"/>
              <a:gd name="connsiteX58" fmla="*/ 481 w 10000"/>
              <a:gd name="connsiteY58" fmla="*/ 9623 h 10000"/>
              <a:gd name="connsiteX59" fmla="*/ 621 w 10000"/>
              <a:gd name="connsiteY59" fmla="*/ 9673 h 10000"/>
              <a:gd name="connsiteX60" fmla="*/ 758 w 10000"/>
              <a:gd name="connsiteY60" fmla="*/ 9720 h 10000"/>
              <a:gd name="connsiteX61" fmla="*/ 899 w 10000"/>
              <a:gd name="connsiteY61" fmla="*/ 9765 h 10000"/>
              <a:gd name="connsiteX62" fmla="*/ 1040 w 10000"/>
              <a:gd name="connsiteY62" fmla="*/ 9804 h 10000"/>
              <a:gd name="connsiteX63" fmla="*/ 1182 w 10000"/>
              <a:gd name="connsiteY63" fmla="*/ 9839 h 10000"/>
              <a:gd name="connsiteX64" fmla="*/ 1325 w 10000"/>
              <a:gd name="connsiteY64" fmla="*/ 9874 h 10000"/>
              <a:gd name="connsiteX65" fmla="*/ 1471 w 10000"/>
              <a:gd name="connsiteY65" fmla="*/ 9903 h 10000"/>
              <a:gd name="connsiteX66" fmla="*/ 1614 w 10000"/>
              <a:gd name="connsiteY66" fmla="*/ 9926 h 10000"/>
              <a:gd name="connsiteX67" fmla="*/ 1760 w 10000"/>
              <a:gd name="connsiteY67" fmla="*/ 9948 h 10000"/>
              <a:gd name="connsiteX68" fmla="*/ 1906 w 10000"/>
              <a:gd name="connsiteY68" fmla="*/ 9965 h 10000"/>
              <a:gd name="connsiteX69" fmla="*/ 2052 w 10000"/>
              <a:gd name="connsiteY69" fmla="*/ 9980 h 10000"/>
              <a:gd name="connsiteX70" fmla="*/ 2202 w 10000"/>
              <a:gd name="connsiteY70" fmla="*/ 9990 h 10000"/>
              <a:gd name="connsiteX71" fmla="*/ 2350 w 10000"/>
              <a:gd name="connsiteY71" fmla="*/ 9995 h 10000"/>
              <a:gd name="connsiteX72" fmla="*/ 2498 w 10000"/>
              <a:gd name="connsiteY72" fmla="*/ 10000 h 10000"/>
              <a:gd name="connsiteX73" fmla="*/ 2677 w 10000"/>
              <a:gd name="connsiteY73" fmla="*/ 9995 h 10000"/>
              <a:gd name="connsiteX74" fmla="*/ 2850 w 10000"/>
              <a:gd name="connsiteY74" fmla="*/ 9988 h 10000"/>
              <a:gd name="connsiteX75" fmla="*/ 3024 w 10000"/>
              <a:gd name="connsiteY75" fmla="*/ 9975 h 10000"/>
              <a:gd name="connsiteX76" fmla="*/ 3195 w 10000"/>
              <a:gd name="connsiteY76" fmla="*/ 9953 h 10000"/>
              <a:gd name="connsiteX77" fmla="*/ 3368 w 10000"/>
              <a:gd name="connsiteY77" fmla="*/ 9931 h 10000"/>
              <a:gd name="connsiteX78" fmla="*/ 3538 w 10000"/>
              <a:gd name="connsiteY78" fmla="*/ 9898 h 10000"/>
              <a:gd name="connsiteX79" fmla="*/ 3709 w 10000"/>
              <a:gd name="connsiteY79" fmla="*/ 9866 h 10000"/>
              <a:gd name="connsiteX80" fmla="*/ 3877 w 10000"/>
              <a:gd name="connsiteY80" fmla="*/ 9824 h 10000"/>
              <a:gd name="connsiteX81" fmla="*/ 4042 w 10000"/>
              <a:gd name="connsiteY81" fmla="*/ 9779 h 10000"/>
              <a:gd name="connsiteX82" fmla="*/ 4210 w 10000"/>
              <a:gd name="connsiteY82" fmla="*/ 9730 h 10000"/>
              <a:gd name="connsiteX83" fmla="*/ 4372 w 10000"/>
              <a:gd name="connsiteY83" fmla="*/ 9673 h 10000"/>
              <a:gd name="connsiteX84" fmla="*/ 4536 w 10000"/>
              <a:gd name="connsiteY84" fmla="*/ 9616 h 10000"/>
              <a:gd name="connsiteX85" fmla="*/ 4697 w 10000"/>
              <a:gd name="connsiteY85" fmla="*/ 9552 h 10000"/>
              <a:gd name="connsiteX86" fmla="*/ 4857 w 10000"/>
              <a:gd name="connsiteY86" fmla="*/ 9482 h 10000"/>
              <a:gd name="connsiteX87" fmla="*/ 5014 w 10000"/>
              <a:gd name="connsiteY87" fmla="*/ 9405 h 10000"/>
              <a:gd name="connsiteX88" fmla="*/ 5171 w 10000"/>
              <a:gd name="connsiteY88" fmla="*/ 9329 h 10000"/>
              <a:gd name="connsiteX89" fmla="*/ 5326 w 10000"/>
              <a:gd name="connsiteY89" fmla="*/ 9244 h 10000"/>
              <a:gd name="connsiteX90" fmla="*/ 5480 w 10000"/>
              <a:gd name="connsiteY90" fmla="*/ 9158 h 10000"/>
              <a:gd name="connsiteX91" fmla="*/ 5631 w 10000"/>
              <a:gd name="connsiteY91" fmla="*/ 9063 h 10000"/>
              <a:gd name="connsiteX92" fmla="*/ 5781 w 10000"/>
              <a:gd name="connsiteY92" fmla="*/ 8967 h 10000"/>
              <a:gd name="connsiteX93" fmla="*/ 5931 w 10000"/>
              <a:gd name="connsiteY93" fmla="*/ 8865 h 10000"/>
              <a:gd name="connsiteX94" fmla="*/ 6075 w 10000"/>
              <a:gd name="connsiteY94" fmla="*/ 8759 h 10000"/>
              <a:gd name="connsiteX95" fmla="*/ 6221 w 10000"/>
              <a:gd name="connsiteY95" fmla="*/ 8652 h 10000"/>
              <a:gd name="connsiteX96" fmla="*/ 6364 w 10000"/>
              <a:gd name="connsiteY96" fmla="*/ 8536 h 10000"/>
              <a:gd name="connsiteX97" fmla="*/ 6505 w 10000"/>
              <a:gd name="connsiteY97" fmla="*/ 8417 h 10000"/>
              <a:gd name="connsiteX98" fmla="*/ 6642 w 10000"/>
              <a:gd name="connsiteY98" fmla="*/ 8295 h 10000"/>
              <a:gd name="connsiteX99" fmla="*/ 6780 w 10000"/>
              <a:gd name="connsiteY99" fmla="*/ 8169 h 10000"/>
              <a:gd name="connsiteX100" fmla="*/ 6913 w 10000"/>
              <a:gd name="connsiteY100" fmla="*/ 8040 h 10000"/>
              <a:gd name="connsiteX101" fmla="*/ 7045 w 10000"/>
              <a:gd name="connsiteY101" fmla="*/ 7904 h 10000"/>
              <a:gd name="connsiteX102" fmla="*/ 7175 w 10000"/>
              <a:gd name="connsiteY102" fmla="*/ 7768 h 10000"/>
              <a:gd name="connsiteX103" fmla="*/ 7304 w 10000"/>
              <a:gd name="connsiteY103" fmla="*/ 7624 h 10000"/>
              <a:gd name="connsiteX104" fmla="*/ 7429 w 10000"/>
              <a:gd name="connsiteY104" fmla="*/ 7480 h 10000"/>
              <a:gd name="connsiteX105" fmla="*/ 7552 w 10000"/>
              <a:gd name="connsiteY105" fmla="*/ 7329 h 10000"/>
              <a:gd name="connsiteX106" fmla="*/ 7673 w 10000"/>
              <a:gd name="connsiteY106" fmla="*/ 7178 h 10000"/>
              <a:gd name="connsiteX107" fmla="*/ 7792 w 10000"/>
              <a:gd name="connsiteY107" fmla="*/ 7024 h 10000"/>
              <a:gd name="connsiteX108" fmla="*/ 7907 w 10000"/>
              <a:gd name="connsiteY108" fmla="*/ 6861 h 10000"/>
              <a:gd name="connsiteX109" fmla="*/ 8022 w 10000"/>
              <a:gd name="connsiteY109" fmla="*/ 6697 h 10000"/>
              <a:gd name="connsiteX110" fmla="*/ 8133 w 10000"/>
              <a:gd name="connsiteY110" fmla="*/ 6534 h 10000"/>
              <a:gd name="connsiteX111" fmla="*/ 8240 w 10000"/>
              <a:gd name="connsiteY111" fmla="*/ 6365 h 10000"/>
              <a:gd name="connsiteX112" fmla="*/ 8347 w 10000"/>
              <a:gd name="connsiteY112" fmla="*/ 6189 h 10000"/>
              <a:gd name="connsiteX113" fmla="*/ 8450 w 10000"/>
              <a:gd name="connsiteY113" fmla="*/ 6016 h 10000"/>
              <a:gd name="connsiteX114" fmla="*/ 8552 w 10000"/>
              <a:gd name="connsiteY114" fmla="*/ 5835 h 10000"/>
              <a:gd name="connsiteX115" fmla="*/ 8650 w 10000"/>
              <a:gd name="connsiteY115" fmla="*/ 5652 h 10000"/>
              <a:gd name="connsiteX116" fmla="*/ 8745 w 10000"/>
              <a:gd name="connsiteY116" fmla="*/ 5468 h 10000"/>
              <a:gd name="connsiteX117" fmla="*/ 8837 w 10000"/>
              <a:gd name="connsiteY117" fmla="*/ 5278 h 10000"/>
              <a:gd name="connsiteX118" fmla="*/ 8927 w 10000"/>
              <a:gd name="connsiteY118" fmla="*/ 5089 h 10000"/>
              <a:gd name="connsiteX119" fmla="*/ 9014 w 10000"/>
              <a:gd name="connsiteY119" fmla="*/ 4893 h 10000"/>
              <a:gd name="connsiteX120" fmla="*/ 9098 w 10000"/>
              <a:gd name="connsiteY120" fmla="*/ 4698 h 10000"/>
              <a:gd name="connsiteX121" fmla="*/ 9178 w 10000"/>
              <a:gd name="connsiteY121" fmla="*/ 4500 h 10000"/>
              <a:gd name="connsiteX122" fmla="*/ 9256 w 10000"/>
              <a:gd name="connsiteY122" fmla="*/ 4294 h 10000"/>
              <a:gd name="connsiteX123" fmla="*/ 9330 w 10000"/>
              <a:gd name="connsiteY123" fmla="*/ 4091 h 10000"/>
              <a:gd name="connsiteX124" fmla="*/ 9401 w 10000"/>
              <a:gd name="connsiteY124" fmla="*/ 3885 h 10000"/>
              <a:gd name="connsiteX125" fmla="*/ 9470 w 10000"/>
              <a:gd name="connsiteY125" fmla="*/ 3674 h 10000"/>
              <a:gd name="connsiteX126" fmla="*/ 9535 w 10000"/>
              <a:gd name="connsiteY126" fmla="*/ 3464 h 10000"/>
              <a:gd name="connsiteX127" fmla="*/ 9599 w 10000"/>
              <a:gd name="connsiteY127" fmla="*/ 3248 h 10000"/>
              <a:gd name="connsiteX128" fmla="*/ 9656 w 10000"/>
              <a:gd name="connsiteY128" fmla="*/ 3030 h 10000"/>
              <a:gd name="connsiteX129" fmla="*/ 9711 w 10000"/>
              <a:gd name="connsiteY129" fmla="*/ 2815 h 10000"/>
              <a:gd name="connsiteX130" fmla="*/ 9763 w 10000"/>
              <a:gd name="connsiteY130" fmla="*/ 2592 h 10000"/>
              <a:gd name="connsiteX131" fmla="*/ 9813 w 10000"/>
              <a:gd name="connsiteY131" fmla="*/ 2369 h 10000"/>
              <a:gd name="connsiteX132" fmla="*/ 9856 w 10000"/>
              <a:gd name="connsiteY132" fmla="*/ 2143 h 10000"/>
              <a:gd name="connsiteX133" fmla="*/ 9898 w 10000"/>
              <a:gd name="connsiteY133" fmla="*/ 1918 h 10000"/>
              <a:gd name="connsiteX134" fmla="*/ 9936 w 10000"/>
              <a:gd name="connsiteY134" fmla="*/ 1690 h 10000"/>
              <a:gd name="connsiteX135" fmla="*/ 9970 w 10000"/>
              <a:gd name="connsiteY135" fmla="*/ 1457 h 10000"/>
              <a:gd name="connsiteX136" fmla="*/ 10000 w 10000"/>
              <a:gd name="connsiteY136" fmla="*/ 1222 h 10000"/>
              <a:gd name="connsiteX137" fmla="*/ 7611 w 10000"/>
              <a:gd name="connsiteY137" fmla="*/ 1876 h 10000"/>
              <a:gd name="connsiteX138" fmla="*/ 5615 w 10000"/>
              <a:gd name="connsiteY13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58 w 10000"/>
              <a:gd name="connsiteY53" fmla="*/ 3583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0 w 10000"/>
              <a:gd name="connsiteY52" fmla="*/ 6085 h 10000"/>
              <a:gd name="connsiteX53" fmla="*/ 209 w 10000"/>
              <a:gd name="connsiteY53" fmla="*/ 9512 h 10000"/>
              <a:gd name="connsiteX54" fmla="*/ 344 w 10000"/>
              <a:gd name="connsiteY54" fmla="*/ 9569 h 10000"/>
              <a:gd name="connsiteX55" fmla="*/ 481 w 10000"/>
              <a:gd name="connsiteY55" fmla="*/ 9623 h 10000"/>
              <a:gd name="connsiteX56" fmla="*/ 621 w 10000"/>
              <a:gd name="connsiteY56" fmla="*/ 9673 h 10000"/>
              <a:gd name="connsiteX57" fmla="*/ 758 w 10000"/>
              <a:gd name="connsiteY57" fmla="*/ 9720 h 10000"/>
              <a:gd name="connsiteX58" fmla="*/ 899 w 10000"/>
              <a:gd name="connsiteY58" fmla="*/ 9765 h 10000"/>
              <a:gd name="connsiteX59" fmla="*/ 1040 w 10000"/>
              <a:gd name="connsiteY59" fmla="*/ 9804 h 10000"/>
              <a:gd name="connsiteX60" fmla="*/ 1182 w 10000"/>
              <a:gd name="connsiteY60" fmla="*/ 9839 h 10000"/>
              <a:gd name="connsiteX61" fmla="*/ 1325 w 10000"/>
              <a:gd name="connsiteY61" fmla="*/ 9874 h 10000"/>
              <a:gd name="connsiteX62" fmla="*/ 1471 w 10000"/>
              <a:gd name="connsiteY62" fmla="*/ 9903 h 10000"/>
              <a:gd name="connsiteX63" fmla="*/ 1614 w 10000"/>
              <a:gd name="connsiteY63" fmla="*/ 9926 h 10000"/>
              <a:gd name="connsiteX64" fmla="*/ 1760 w 10000"/>
              <a:gd name="connsiteY64" fmla="*/ 9948 h 10000"/>
              <a:gd name="connsiteX65" fmla="*/ 1906 w 10000"/>
              <a:gd name="connsiteY65" fmla="*/ 9965 h 10000"/>
              <a:gd name="connsiteX66" fmla="*/ 2052 w 10000"/>
              <a:gd name="connsiteY66" fmla="*/ 9980 h 10000"/>
              <a:gd name="connsiteX67" fmla="*/ 2202 w 10000"/>
              <a:gd name="connsiteY67" fmla="*/ 9990 h 10000"/>
              <a:gd name="connsiteX68" fmla="*/ 2350 w 10000"/>
              <a:gd name="connsiteY68" fmla="*/ 9995 h 10000"/>
              <a:gd name="connsiteX69" fmla="*/ 2498 w 10000"/>
              <a:gd name="connsiteY69" fmla="*/ 10000 h 10000"/>
              <a:gd name="connsiteX70" fmla="*/ 2677 w 10000"/>
              <a:gd name="connsiteY70" fmla="*/ 9995 h 10000"/>
              <a:gd name="connsiteX71" fmla="*/ 2850 w 10000"/>
              <a:gd name="connsiteY71" fmla="*/ 9988 h 10000"/>
              <a:gd name="connsiteX72" fmla="*/ 3024 w 10000"/>
              <a:gd name="connsiteY72" fmla="*/ 9975 h 10000"/>
              <a:gd name="connsiteX73" fmla="*/ 3195 w 10000"/>
              <a:gd name="connsiteY73" fmla="*/ 9953 h 10000"/>
              <a:gd name="connsiteX74" fmla="*/ 3368 w 10000"/>
              <a:gd name="connsiteY74" fmla="*/ 9931 h 10000"/>
              <a:gd name="connsiteX75" fmla="*/ 3538 w 10000"/>
              <a:gd name="connsiteY75" fmla="*/ 9898 h 10000"/>
              <a:gd name="connsiteX76" fmla="*/ 3709 w 10000"/>
              <a:gd name="connsiteY76" fmla="*/ 9866 h 10000"/>
              <a:gd name="connsiteX77" fmla="*/ 3877 w 10000"/>
              <a:gd name="connsiteY77" fmla="*/ 9824 h 10000"/>
              <a:gd name="connsiteX78" fmla="*/ 4042 w 10000"/>
              <a:gd name="connsiteY78" fmla="*/ 9779 h 10000"/>
              <a:gd name="connsiteX79" fmla="*/ 4210 w 10000"/>
              <a:gd name="connsiteY79" fmla="*/ 9730 h 10000"/>
              <a:gd name="connsiteX80" fmla="*/ 4372 w 10000"/>
              <a:gd name="connsiteY80" fmla="*/ 9673 h 10000"/>
              <a:gd name="connsiteX81" fmla="*/ 4536 w 10000"/>
              <a:gd name="connsiteY81" fmla="*/ 9616 h 10000"/>
              <a:gd name="connsiteX82" fmla="*/ 4697 w 10000"/>
              <a:gd name="connsiteY82" fmla="*/ 9552 h 10000"/>
              <a:gd name="connsiteX83" fmla="*/ 4857 w 10000"/>
              <a:gd name="connsiteY83" fmla="*/ 9482 h 10000"/>
              <a:gd name="connsiteX84" fmla="*/ 5014 w 10000"/>
              <a:gd name="connsiteY84" fmla="*/ 9405 h 10000"/>
              <a:gd name="connsiteX85" fmla="*/ 5171 w 10000"/>
              <a:gd name="connsiteY85" fmla="*/ 9329 h 10000"/>
              <a:gd name="connsiteX86" fmla="*/ 5326 w 10000"/>
              <a:gd name="connsiteY86" fmla="*/ 9244 h 10000"/>
              <a:gd name="connsiteX87" fmla="*/ 5480 w 10000"/>
              <a:gd name="connsiteY87" fmla="*/ 9158 h 10000"/>
              <a:gd name="connsiteX88" fmla="*/ 5631 w 10000"/>
              <a:gd name="connsiteY88" fmla="*/ 9063 h 10000"/>
              <a:gd name="connsiteX89" fmla="*/ 5781 w 10000"/>
              <a:gd name="connsiteY89" fmla="*/ 8967 h 10000"/>
              <a:gd name="connsiteX90" fmla="*/ 5931 w 10000"/>
              <a:gd name="connsiteY90" fmla="*/ 8865 h 10000"/>
              <a:gd name="connsiteX91" fmla="*/ 6075 w 10000"/>
              <a:gd name="connsiteY91" fmla="*/ 8759 h 10000"/>
              <a:gd name="connsiteX92" fmla="*/ 6221 w 10000"/>
              <a:gd name="connsiteY92" fmla="*/ 8652 h 10000"/>
              <a:gd name="connsiteX93" fmla="*/ 6364 w 10000"/>
              <a:gd name="connsiteY93" fmla="*/ 8536 h 10000"/>
              <a:gd name="connsiteX94" fmla="*/ 6505 w 10000"/>
              <a:gd name="connsiteY94" fmla="*/ 8417 h 10000"/>
              <a:gd name="connsiteX95" fmla="*/ 6642 w 10000"/>
              <a:gd name="connsiteY95" fmla="*/ 8295 h 10000"/>
              <a:gd name="connsiteX96" fmla="*/ 6780 w 10000"/>
              <a:gd name="connsiteY96" fmla="*/ 8169 h 10000"/>
              <a:gd name="connsiteX97" fmla="*/ 6913 w 10000"/>
              <a:gd name="connsiteY97" fmla="*/ 8040 h 10000"/>
              <a:gd name="connsiteX98" fmla="*/ 7045 w 10000"/>
              <a:gd name="connsiteY98" fmla="*/ 7904 h 10000"/>
              <a:gd name="connsiteX99" fmla="*/ 7175 w 10000"/>
              <a:gd name="connsiteY99" fmla="*/ 7768 h 10000"/>
              <a:gd name="connsiteX100" fmla="*/ 7304 w 10000"/>
              <a:gd name="connsiteY100" fmla="*/ 7624 h 10000"/>
              <a:gd name="connsiteX101" fmla="*/ 7429 w 10000"/>
              <a:gd name="connsiteY101" fmla="*/ 7480 h 10000"/>
              <a:gd name="connsiteX102" fmla="*/ 7552 w 10000"/>
              <a:gd name="connsiteY102" fmla="*/ 7329 h 10000"/>
              <a:gd name="connsiteX103" fmla="*/ 7673 w 10000"/>
              <a:gd name="connsiteY103" fmla="*/ 7178 h 10000"/>
              <a:gd name="connsiteX104" fmla="*/ 7792 w 10000"/>
              <a:gd name="connsiteY104" fmla="*/ 7024 h 10000"/>
              <a:gd name="connsiteX105" fmla="*/ 7907 w 10000"/>
              <a:gd name="connsiteY105" fmla="*/ 6861 h 10000"/>
              <a:gd name="connsiteX106" fmla="*/ 8022 w 10000"/>
              <a:gd name="connsiteY106" fmla="*/ 6697 h 10000"/>
              <a:gd name="connsiteX107" fmla="*/ 8133 w 10000"/>
              <a:gd name="connsiteY107" fmla="*/ 6534 h 10000"/>
              <a:gd name="connsiteX108" fmla="*/ 8240 w 10000"/>
              <a:gd name="connsiteY108" fmla="*/ 6365 h 10000"/>
              <a:gd name="connsiteX109" fmla="*/ 8347 w 10000"/>
              <a:gd name="connsiteY109" fmla="*/ 6189 h 10000"/>
              <a:gd name="connsiteX110" fmla="*/ 8450 w 10000"/>
              <a:gd name="connsiteY110" fmla="*/ 6016 h 10000"/>
              <a:gd name="connsiteX111" fmla="*/ 8552 w 10000"/>
              <a:gd name="connsiteY111" fmla="*/ 5835 h 10000"/>
              <a:gd name="connsiteX112" fmla="*/ 8650 w 10000"/>
              <a:gd name="connsiteY112" fmla="*/ 5652 h 10000"/>
              <a:gd name="connsiteX113" fmla="*/ 8745 w 10000"/>
              <a:gd name="connsiteY113" fmla="*/ 5468 h 10000"/>
              <a:gd name="connsiteX114" fmla="*/ 8837 w 10000"/>
              <a:gd name="connsiteY114" fmla="*/ 5278 h 10000"/>
              <a:gd name="connsiteX115" fmla="*/ 8927 w 10000"/>
              <a:gd name="connsiteY115" fmla="*/ 5089 h 10000"/>
              <a:gd name="connsiteX116" fmla="*/ 9014 w 10000"/>
              <a:gd name="connsiteY116" fmla="*/ 4893 h 10000"/>
              <a:gd name="connsiteX117" fmla="*/ 9098 w 10000"/>
              <a:gd name="connsiteY117" fmla="*/ 4698 h 10000"/>
              <a:gd name="connsiteX118" fmla="*/ 9178 w 10000"/>
              <a:gd name="connsiteY118" fmla="*/ 4500 h 10000"/>
              <a:gd name="connsiteX119" fmla="*/ 9256 w 10000"/>
              <a:gd name="connsiteY119" fmla="*/ 4294 h 10000"/>
              <a:gd name="connsiteX120" fmla="*/ 9330 w 10000"/>
              <a:gd name="connsiteY120" fmla="*/ 4091 h 10000"/>
              <a:gd name="connsiteX121" fmla="*/ 9401 w 10000"/>
              <a:gd name="connsiteY121" fmla="*/ 3885 h 10000"/>
              <a:gd name="connsiteX122" fmla="*/ 9470 w 10000"/>
              <a:gd name="connsiteY122" fmla="*/ 3674 h 10000"/>
              <a:gd name="connsiteX123" fmla="*/ 9535 w 10000"/>
              <a:gd name="connsiteY123" fmla="*/ 3464 h 10000"/>
              <a:gd name="connsiteX124" fmla="*/ 9599 w 10000"/>
              <a:gd name="connsiteY124" fmla="*/ 3248 h 10000"/>
              <a:gd name="connsiteX125" fmla="*/ 9656 w 10000"/>
              <a:gd name="connsiteY125" fmla="*/ 3030 h 10000"/>
              <a:gd name="connsiteX126" fmla="*/ 9711 w 10000"/>
              <a:gd name="connsiteY126" fmla="*/ 2815 h 10000"/>
              <a:gd name="connsiteX127" fmla="*/ 9763 w 10000"/>
              <a:gd name="connsiteY127" fmla="*/ 2592 h 10000"/>
              <a:gd name="connsiteX128" fmla="*/ 9813 w 10000"/>
              <a:gd name="connsiteY128" fmla="*/ 2369 h 10000"/>
              <a:gd name="connsiteX129" fmla="*/ 9856 w 10000"/>
              <a:gd name="connsiteY129" fmla="*/ 2143 h 10000"/>
              <a:gd name="connsiteX130" fmla="*/ 9898 w 10000"/>
              <a:gd name="connsiteY130" fmla="*/ 1918 h 10000"/>
              <a:gd name="connsiteX131" fmla="*/ 9936 w 10000"/>
              <a:gd name="connsiteY131" fmla="*/ 1690 h 10000"/>
              <a:gd name="connsiteX132" fmla="*/ 9970 w 10000"/>
              <a:gd name="connsiteY132" fmla="*/ 1457 h 10000"/>
              <a:gd name="connsiteX133" fmla="*/ 10000 w 10000"/>
              <a:gd name="connsiteY133" fmla="*/ 1222 h 10000"/>
              <a:gd name="connsiteX134" fmla="*/ 7611 w 10000"/>
              <a:gd name="connsiteY134" fmla="*/ 1876 h 10000"/>
              <a:gd name="connsiteX135" fmla="*/ 5615 w 10000"/>
              <a:gd name="connsiteY13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0 w 10000"/>
              <a:gd name="connsiteY51" fmla="*/ 6085 h 10000"/>
              <a:gd name="connsiteX52" fmla="*/ 209 w 10000"/>
              <a:gd name="connsiteY52" fmla="*/ 9512 h 10000"/>
              <a:gd name="connsiteX53" fmla="*/ 344 w 10000"/>
              <a:gd name="connsiteY53" fmla="*/ 9569 h 10000"/>
              <a:gd name="connsiteX54" fmla="*/ 481 w 10000"/>
              <a:gd name="connsiteY54" fmla="*/ 9623 h 10000"/>
              <a:gd name="connsiteX55" fmla="*/ 621 w 10000"/>
              <a:gd name="connsiteY55" fmla="*/ 9673 h 10000"/>
              <a:gd name="connsiteX56" fmla="*/ 758 w 10000"/>
              <a:gd name="connsiteY56" fmla="*/ 9720 h 10000"/>
              <a:gd name="connsiteX57" fmla="*/ 899 w 10000"/>
              <a:gd name="connsiteY57" fmla="*/ 9765 h 10000"/>
              <a:gd name="connsiteX58" fmla="*/ 1040 w 10000"/>
              <a:gd name="connsiteY58" fmla="*/ 9804 h 10000"/>
              <a:gd name="connsiteX59" fmla="*/ 1182 w 10000"/>
              <a:gd name="connsiteY59" fmla="*/ 9839 h 10000"/>
              <a:gd name="connsiteX60" fmla="*/ 1325 w 10000"/>
              <a:gd name="connsiteY60" fmla="*/ 9874 h 10000"/>
              <a:gd name="connsiteX61" fmla="*/ 1471 w 10000"/>
              <a:gd name="connsiteY61" fmla="*/ 9903 h 10000"/>
              <a:gd name="connsiteX62" fmla="*/ 1614 w 10000"/>
              <a:gd name="connsiteY62" fmla="*/ 9926 h 10000"/>
              <a:gd name="connsiteX63" fmla="*/ 1760 w 10000"/>
              <a:gd name="connsiteY63" fmla="*/ 9948 h 10000"/>
              <a:gd name="connsiteX64" fmla="*/ 1906 w 10000"/>
              <a:gd name="connsiteY64" fmla="*/ 9965 h 10000"/>
              <a:gd name="connsiteX65" fmla="*/ 2052 w 10000"/>
              <a:gd name="connsiteY65" fmla="*/ 9980 h 10000"/>
              <a:gd name="connsiteX66" fmla="*/ 2202 w 10000"/>
              <a:gd name="connsiteY66" fmla="*/ 9990 h 10000"/>
              <a:gd name="connsiteX67" fmla="*/ 2350 w 10000"/>
              <a:gd name="connsiteY67" fmla="*/ 9995 h 10000"/>
              <a:gd name="connsiteX68" fmla="*/ 2498 w 10000"/>
              <a:gd name="connsiteY68" fmla="*/ 10000 h 10000"/>
              <a:gd name="connsiteX69" fmla="*/ 2677 w 10000"/>
              <a:gd name="connsiteY69" fmla="*/ 9995 h 10000"/>
              <a:gd name="connsiteX70" fmla="*/ 2850 w 10000"/>
              <a:gd name="connsiteY70" fmla="*/ 9988 h 10000"/>
              <a:gd name="connsiteX71" fmla="*/ 3024 w 10000"/>
              <a:gd name="connsiteY71" fmla="*/ 9975 h 10000"/>
              <a:gd name="connsiteX72" fmla="*/ 3195 w 10000"/>
              <a:gd name="connsiteY72" fmla="*/ 9953 h 10000"/>
              <a:gd name="connsiteX73" fmla="*/ 3368 w 10000"/>
              <a:gd name="connsiteY73" fmla="*/ 9931 h 10000"/>
              <a:gd name="connsiteX74" fmla="*/ 3538 w 10000"/>
              <a:gd name="connsiteY74" fmla="*/ 9898 h 10000"/>
              <a:gd name="connsiteX75" fmla="*/ 3709 w 10000"/>
              <a:gd name="connsiteY75" fmla="*/ 9866 h 10000"/>
              <a:gd name="connsiteX76" fmla="*/ 3877 w 10000"/>
              <a:gd name="connsiteY76" fmla="*/ 9824 h 10000"/>
              <a:gd name="connsiteX77" fmla="*/ 4042 w 10000"/>
              <a:gd name="connsiteY77" fmla="*/ 9779 h 10000"/>
              <a:gd name="connsiteX78" fmla="*/ 4210 w 10000"/>
              <a:gd name="connsiteY78" fmla="*/ 9730 h 10000"/>
              <a:gd name="connsiteX79" fmla="*/ 4372 w 10000"/>
              <a:gd name="connsiteY79" fmla="*/ 9673 h 10000"/>
              <a:gd name="connsiteX80" fmla="*/ 4536 w 10000"/>
              <a:gd name="connsiteY80" fmla="*/ 9616 h 10000"/>
              <a:gd name="connsiteX81" fmla="*/ 4697 w 10000"/>
              <a:gd name="connsiteY81" fmla="*/ 9552 h 10000"/>
              <a:gd name="connsiteX82" fmla="*/ 4857 w 10000"/>
              <a:gd name="connsiteY82" fmla="*/ 9482 h 10000"/>
              <a:gd name="connsiteX83" fmla="*/ 5014 w 10000"/>
              <a:gd name="connsiteY83" fmla="*/ 9405 h 10000"/>
              <a:gd name="connsiteX84" fmla="*/ 5171 w 10000"/>
              <a:gd name="connsiteY84" fmla="*/ 9329 h 10000"/>
              <a:gd name="connsiteX85" fmla="*/ 5326 w 10000"/>
              <a:gd name="connsiteY85" fmla="*/ 9244 h 10000"/>
              <a:gd name="connsiteX86" fmla="*/ 5480 w 10000"/>
              <a:gd name="connsiteY86" fmla="*/ 9158 h 10000"/>
              <a:gd name="connsiteX87" fmla="*/ 5631 w 10000"/>
              <a:gd name="connsiteY87" fmla="*/ 9063 h 10000"/>
              <a:gd name="connsiteX88" fmla="*/ 5781 w 10000"/>
              <a:gd name="connsiteY88" fmla="*/ 8967 h 10000"/>
              <a:gd name="connsiteX89" fmla="*/ 5931 w 10000"/>
              <a:gd name="connsiteY89" fmla="*/ 8865 h 10000"/>
              <a:gd name="connsiteX90" fmla="*/ 6075 w 10000"/>
              <a:gd name="connsiteY90" fmla="*/ 8759 h 10000"/>
              <a:gd name="connsiteX91" fmla="*/ 6221 w 10000"/>
              <a:gd name="connsiteY91" fmla="*/ 8652 h 10000"/>
              <a:gd name="connsiteX92" fmla="*/ 6364 w 10000"/>
              <a:gd name="connsiteY92" fmla="*/ 8536 h 10000"/>
              <a:gd name="connsiteX93" fmla="*/ 6505 w 10000"/>
              <a:gd name="connsiteY93" fmla="*/ 8417 h 10000"/>
              <a:gd name="connsiteX94" fmla="*/ 6642 w 10000"/>
              <a:gd name="connsiteY94" fmla="*/ 8295 h 10000"/>
              <a:gd name="connsiteX95" fmla="*/ 6780 w 10000"/>
              <a:gd name="connsiteY95" fmla="*/ 8169 h 10000"/>
              <a:gd name="connsiteX96" fmla="*/ 6913 w 10000"/>
              <a:gd name="connsiteY96" fmla="*/ 8040 h 10000"/>
              <a:gd name="connsiteX97" fmla="*/ 7045 w 10000"/>
              <a:gd name="connsiteY97" fmla="*/ 7904 h 10000"/>
              <a:gd name="connsiteX98" fmla="*/ 7175 w 10000"/>
              <a:gd name="connsiteY98" fmla="*/ 7768 h 10000"/>
              <a:gd name="connsiteX99" fmla="*/ 7304 w 10000"/>
              <a:gd name="connsiteY99" fmla="*/ 7624 h 10000"/>
              <a:gd name="connsiteX100" fmla="*/ 7429 w 10000"/>
              <a:gd name="connsiteY100" fmla="*/ 7480 h 10000"/>
              <a:gd name="connsiteX101" fmla="*/ 7552 w 10000"/>
              <a:gd name="connsiteY101" fmla="*/ 7329 h 10000"/>
              <a:gd name="connsiteX102" fmla="*/ 7673 w 10000"/>
              <a:gd name="connsiteY102" fmla="*/ 7178 h 10000"/>
              <a:gd name="connsiteX103" fmla="*/ 7792 w 10000"/>
              <a:gd name="connsiteY103" fmla="*/ 7024 h 10000"/>
              <a:gd name="connsiteX104" fmla="*/ 7907 w 10000"/>
              <a:gd name="connsiteY104" fmla="*/ 6861 h 10000"/>
              <a:gd name="connsiteX105" fmla="*/ 8022 w 10000"/>
              <a:gd name="connsiteY105" fmla="*/ 6697 h 10000"/>
              <a:gd name="connsiteX106" fmla="*/ 8133 w 10000"/>
              <a:gd name="connsiteY106" fmla="*/ 6534 h 10000"/>
              <a:gd name="connsiteX107" fmla="*/ 8240 w 10000"/>
              <a:gd name="connsiteY107" fmla="*/ 6365 h 10000"/>
              <a:gd name="connsiteX108" fmla="*/ 8347 w 10000"/>
              <a:gd name="connsiteY108" fmla="*/ 6189 h 10000"/>
              <a:gd name="connsiteX109" fmla="*/ 8450 w 10000"/>
              <a:gd name="connsiteY109" fmla="*/ 6016 h 10000"/>
              <a:gd name="connsiteX110" fmla="*/ 8552 w 10000"/>
              <a:gd name="connsiteY110" fmla="*/ 5835 h 10000"/>
              <a:gd name="connsiteX111" fmla="*/ 8650 w 10000"/>
              <a:gd name="connsiteY111" fmla="*/ 5652 h 10000"/>
              <a:gd name="connsiteX112" fmla="*/ 8745 w 10000"/>
              <a:gd name="connsiteY112" fmla="*/ 5468 h 10000"/>
              <a:gd name="connsiteX113" fmla="*/ 8837 w 10000"/>
              <a:gd name="connsiteY113" fmla="*/ 5278 h 10000"/>
              <a:gd name="connsiteX114" fmla="*/ 8927 w 10000"/>
              <a:gd name="connsiteY114" fmla="*/ 5089 h 10000"/>
              <a:gd name="connsiteX115" fmla="*/ 9014 w 10000"/>
              <a:gd name="connsiteY115" fmla="*/ 4893 h 10000"/>
              <a:gd name="connsiteX116" fmla="*/ 9098 w 10000"/>
              <a:gd name="connsiteY116" fmla="*/ 4698 h 10000"/>
              <a:gd name="connsiteX117" fmla="*/ 9178 w 10000"/>
              <a:gd name="connsiteY117" fmla="*/ 4500 h 10000"/>
              <a:gd name="connsiteX118" fmla="*/ 9256 w 10000"/>
              <a:gd name="connsiteY118" fmla="*/ 4294 h 10000"/>
              <a:gd name="connsiteX119" fmla="*/ 9330 w 10000"/>
              <a:gd name="connsiteY119" fmla="*/ 4091 h 10000"/>
              <a:gd name="connsiteX120" fmla="*/ 9401 w 10000"/>
              <a:gd name="connsiteY120" fmla="*/ 3885 h 10000"/>
              <a:gd name="connsiteX121" fmla="*/ 9470 w 10000"/>
              <a:gd name="connsiteY121" fmla="*/ 3674 h 10000"/>
              <a:gd name="connsiteX122" fmla="*/ 9535 w 10000"/>
              <a:gd name="connsiteY122" fmla="*/ 3464 h 10000"/>
              <a:gd name="connsiteX123" fmla="*/ 9599 w 10000"/>
              <a:gd name="connsiteY123" fmla="*/ 3248 h 10000"/>
              <a:gd name="connsiteX124" fmla="*/ 9656 w 10000"/>
              <a:gd name="connsiteY124" fmla="*/ 3030 h 10000"/>
              <a:gd name="connsiteX125" fmla="*/ 9711 w 10000"/>
              <a:gd name="connsiteY125" fmla="*/ 2815 h 10000"/>
              <a:gd name="connsiteX126" fmla="*/ 9763 w 10000"/>
              <a:gd name="connsiteY126" fmla="*/ 2592 h 10000"/>
              <a:gd name="connsiteX127" fmla="*/ 9813 w 10000"/>
              <a:gd name="connsiteY127" fmla="*/ 2369 h 10000"/>
              <a:gd name="connsiteX128" fmla="*/ 9856 w 10000"/>
              <a:gd name="connsiteY128" fmla="*/ 2143 h 10000"/>
              <a:gd name="connsiteX129" fmla="*/ 9898 w 10000"/>
              <a:gd name="connsiteY129" fmla="*/ 1918 h 10000"/>
              <a:gd name="connsiteX130" fmla="*/ 9936 w 10000"/>
              <a:gd name="connsiteY130" fmla="*/ 1690 h 10000"/>
              <a:gd name="connsiteX131" fmla="*/ 9970 w 10000"/>
              <a:gd name="connsiteY131" fmla="*/ 1457 h 10000"/>
              <a:gd name="connsiteX132" fmla="*/ 10000 w 10000"/>
              <a:gd name="connsiteY132" fmla="*/ 1222 h 10000"/>
              <a:gd name="connsiteX133" fmla="*/ 7611 w 10000"/>
              <a:gd name="connsiteY133" fmla="*/ 1876 h 10000"/>
              <a:gd name="connsiteX134" fmla="*/ 5615 w 10000"/>
              <a:gd name="connsiteY13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0 w 10000"/>
              <a:gd name="connsiteY50" fmla="*/ 6085 h 10000"/>
              <a:gd name="connsiteX51" fmla="*/ 209 w 10000"/>
              <a:gd name="connsiteY51" fmla="*/ 9512 h 10000"/>
              <a:gd name="connsiteX52" fmla="*/ 344 w 10000"/>
              <a:gd name="connsiteY52" fmla="*/ 9569 h 10000"/>
              <a:gd name="connsiteX53" fmla="*/ 481 w 10000"/>
              <a:gd name="connsiteY53" fmla="*/ 9623 h 10000"/>
              <a:gd name="connsiteX54" fmla="*/ 621 w 10000"/>
              <a:gd name="connsiteY54" fmla="*/ 9673 h 10000"/>
              <a:gd name="connsiteX55" fmla="*/ 758 w 10000"/>
              <a:gd name="connsiteY55" fmla="*/ 9720 h 10000"/>
              <a:gd name="connsiteX56" fmla="*/ 899 w 10000"/>
              <a:gd name="connsiteY56" fmla="*/ 9765 h 10000"/>
              <a:gd name="connsiteX57" fmla="*/ 1040 w 10000"/>
              <a:gd name="connsiteY57" fmla="*/ 9804 h 10000"/>
              <a:gd name="connsiteX58" fmla="*/ 1182 w 10000"/>
              <a:gd name="connsiteY58" fmla="*/ 9839 h 10000"/>
              <a:gd name="connsiteX59" fmla="*/ 1325 w 10000"/>
              <a:gd name="connsiteY59" fmla="*/ 9874 h 10000"/>
              <a:gd name="connsiteX60" fmla="*/ 1471 w 10000"/>
              <a:gd name="connsiteY60" fmla="*/ 9903 h 10000"/>
              <a:gd name="connsiteX61" fmla="*/ 1614 w 10000"/>
              <a:gd name="connsiteY61" fmla="*/ 9926 h 10000"/>
              <a:gd name="connsiteX62" fmla="*/ 1760 w 10000"/>
              <a:gd name="connsiteY62" fmla="*/ 9948 h 10000"/>
              <a:gd name="connsiteX63" fmla="*/ 1906 w 10000"/>
              <a:gd name="connsiteY63" fmla="*/ 9965 h 10000"/>
              <a:gd name="connsiteX64" fmla="*/ 2052 w 10000"/>
              <a:gd name="connsiteY64" fmla="*/ 9980 h 10000"/>
              <a:gd name="connsiteX65" fmla="*/ 2202 w 10000"/>
              <a:gd name="connsiteY65" fmla="*/ 9990 h 10000"/>
              <a:gd name="connsiteX66" fmla="*/ 2350 w 10000"/>
              <a:gd name="connsiteY66" fmla="*/ 9995 h 10000"/>
              <a:gd name="connsiteX67" fmla="*/ 2498 w 10000"/>
              <a:gd name="connsiteY67" fmla="*/ 10000 h 10000"/>
              <a:gd name="connsiteX68" fmla="*/ 2677 w 10000"/>
              <a:gd name="connsiteY68" fmla="*/ 9995 h 10000"/>
              <a:gd name="connsiteX69" fmla="*/ 2850 w 10000"/>
              <a:gd name="connsiteY69" fmla="*/ 9988 h 10000"/>
              <a:gd name="connsiteX70" fmla="*/ 3024 w 10000"/>
              <a:gd name="connsiteY70" fmla="*/ 9975 h 10000"/>
              <a:gd name="connsiteX71" fmla="*/ 3195 w 10000"/>
              <a:gd name="connsiteY71" fmla="*/ 9953 h 10000"/>
              <a:gd name="connsiteX72" fmla="*/ 3368 w 10000"/>
              <a:gd name="connsiteY72" fmla="*/ 9931 h 10000"/>
              <a:gd name="connsiteX73" fmla="*/ 3538 w 10000"/>
              <a:gd name="connsiteY73" fmla="*/ 9898 h 10000"/>
              <a:gd name="connsiteX74" fmla="*/ 3709 w 10000"/>
              <a:gd name="connsiteY74" fmla="*/ 9866 h 10000"/>
              <a:gd name="connsiteX75" fmla="*/ 3877 w 10000"/>
              <a:gd name="connsiteY75" fmla="*/ 9824 h 10000"/>
              <a:gd name="connsiteX76" fmla="*/ 4042 w 10000"/>
              <a:gd name="connsiteY76" fmla="*/ 9779 h 10000"/>
              <a:gd name="connsiteX77" fmla="*/ 4210 w 10000"/>
              <a:gd name="connsiteY77" fmla="*/ 9730 h 10000"/>
              <a:gd name="connsiteX78" fmla="*/ 4372 w 10000"/>
              <a:gd name="connsiteY78" fmla="*/ 9673 h 10000"/>
              <a:gd name="connsiteX79" fmla="*/ 4536 w 10000"/>
              <a:gd name="connsiteY79" fmla="*/ 9616 h 10000"/>
              <a:gd name="connsiteX80" fmla="*/ 4697 w 10000"/>
              <a:gd name="connsiteY80" fmla="*/ 9552 h 10000"/>
              <a:gd name="connsiteX81" fmla="*/ 4857 w 10000"/>
              <a:gd name="connsiteY81" fmla="*/ 9482 h 10000"/>
              <a:gd name="connsiteX82" fmla="*/ 5014 w 10000"/>
              <a:gd name="connsiteY82" fmla="*/ 9405 h 10000"/>
              <a:gd name="connsiteX83" fmla="*/ 5171 w 10000"/>
              <a:gd name="connsiteY83" fmla="*/ 9329 h 10000"/>
              <a:gd name="connsiteX84" fmla="*/ 5326 w 10000"/>
              <a:gd name="connsiteY84" fmla="*/ 9244 h 10000"/>
              <a:gd name="connsiteX85" fmla="*/ 5480 w 10000"/>
              <a:gd name="connsiteY85" fmla="*/ 9158 h 10000"/>
              <a:gd name="connsiteX86" fmla="*/ 5631 w 10000"/>
              <a:gd name="connsiteY86" fmla="*/ 9063 h 10000"/>
              <a:gd name="connsiteX87" fmla="*/ 5781 w 10000"/>
              <a:gd name="connsiteY87" fmla="*/ 8967 h 10000"/>
              <a:gd name="connsiteX88" fmla="*/ 5931 w 10000"/>
              <a:gd name="connsiteY88" fmla="*/ 8865 h 10000"/>
              <a:gd name="connsiteX89" fmla="*/ 6075 w 10000"/>
              <a:gd name="connsiteY89" fmla="*/ 8759 h 10000"/>
              <a:gd name="connsiteX90" fmla="*/ 6221 w 10000"/>
              <a:gd name="connsiteY90" fmla="*/ 8652 h 10000"/>
              <a:gd name="connsiteX91" fmla="*/ 6364 w 10000"/>
              <a:gd name="connsiteY91" fmla="*/ 8536 h 10000"/>
              <a:gd name="connsiteX92" fmla="*/ 6505 w 10000"/>
              <a:gd name="connsiteY92" fmla="*/ 8417 h 10000"/>
              <a:gd name="connsiteX93" fmla="*/ 6642 w 10000"/>
              <a:gd name="connsiteY93" fmla="*/ 8295 h 10000"/>
              <a:gd name="connsiteX94" fmla="*/ 6780 w 10000"/>
              <a:gd name="connsiteY94" fmla="*/ 8169 h 10000"/>
              <a:gd name="connsiteX95" fmla="*/ 6913 w 10000"/>
              <a:gd name="connsiteY95" fmla="*/ 8040 h 10000"/>
              <a:gd name="connsiteX96" fmla="*/ 7045 w 10000"/>
              <a:gd name="connsiteY96" fmla="*/ 7904 h 10000"/>
              <a:gd name="connsiteX97" fmla="*/ 7175 w 10000"/>
              <a:gd name="connsiteY97" fmla="*/ 7768 h 10000"/>
              <a:gd name="connsiteX98" fmla="*/ 7304 w 10000"/>
              <a:gd name="connsiteY98" fmla="*/ 7624 h 10000"/>
              <a:gd name="connsiteX99" fmla="*/ 7429 w 10000"/>
              <a:gd name="connsiteY99" fmla="*/ 7480 h 10000"/>
              <a:gd name="connsiteX100" fmla="*/ 7552 w 10000"/>
              <a:gd name="connsiteY100" fmla="*/ 7329 h 10000"/>
              <a:gd name="connsiteX101" fmla="*/ 7673 w 10000"/>
              <a:gd name="connsiteY101" fmla="*/ 7178 h 10000"/>
              <a:gd name="connsiteX102" fmla="*/ 7792 w 10000"/>
              <a:gd name="connsiteY102" fmla="*/ 7024 h 10000"/>
              <a:gd name="connsiteX103" fmla="*/ 7907 w 10000"/>
              <a:gd name="connsiteY103" fmla="*/ 6861 h 10000"/>
              <a:gd name="connsiteX104" fmla="*/ 8022 w 10000"/>
              <a:gd name="connsiteY104" fmla="*/ 6697 h 10000"/>
              <a:gd name="connsiteX105" fmla="*/ 8133 w 10000"/>
              <a:gd name="connsiteY105" fmla="*/ 6534 h 10000"/>
              <a:gd name="connsiteX106" fmla="*/ 8240 w 10000"/>
              <a:gd name="connsiteY106" fmla="*/ 6365 h 10000"/>
              <a:gd name="connsiteX107" fmla="*/ 8347 w 10000"/>
              <a:gd name="connsiteY107" fmla="*/ 6189 h 10000"/>
              <a:gd name="connsiteX108" fmla="*/ 8450 w 10000"/>
              <a:gd name="connsiteY108" fmla="*/ 6016 h 10000"/>
              <a:gd name="connsiteX109" fmla="*/ 8552 w 10000"/>
              <a:gd name="connsiteY109" fmla="*/ 5835 h 10000"/>
              <a:gd name="connsiteX110" fmla="*/ 8650 w 10000"/>
              <a:gd name="connsiteY110" fmla="*/ 5652 h 10000"/>
              <a:gd name="connsiteX111" fmla="*/ 8745 w 10000"/>
              <a:gd name="connsiteY111" fmla="*/ 5468 h 10000"/>
              <a:gd name="connsiteX112" fmla="*/ 8837 w 10000"/>
              <a:gd name="connsiteY112" fmla="*/ 5278 h 10000"/>
              <a:gd name="connsiteX113" fmla="*/ 8927 w 10000"/>
              <a:gd name="connsiteY113" fmla="*/ 5089 h 10000"/>
              <a:gd name="connsiteX114" fmla="*/ 9014 w 10000"/>
              <a:gd name="connsiteY114" fmla="*/ 4893 h 10000"/>
              <a:gd name="connsiteX115" fmla="*/ 9098 w 10000"/>
              <a:gd name="connsiteY115" fmla="*/ 4698 h 10000"/>
              <a:gd name="connsiteX116" fmla="*/ 9178 w 10000"/>
              <a:gd name="connsiteY116" fmla="*/ 4500 h 10000"/>
              <a:gd name="connsiteX117" fmla="*/ 9256 w 10000"/>
              <a:gd name="connsiteY117" fmla="*/ 4294 h 10000"/>
              <a:gd name="connsiteX118" fmla="*/ 9330 w 10000"/>
              <a:gd name="connsiteY118" fmla="*/ 4091 h 10000"/>
              <a:gd name="connsiteX119" fmla="*/ 9401 w 10000"/>
              <a:gd name="connsiteY119" fmla="*/ 3885 h 10000"/>
              <a:gd name="connsiteX120" fmla="*/ 9470 w 10000"/>
              <a:gd name="connsiteY120" fmla="*/ 3674 h 10000"/>
              <a:gd name="connsiteX121" fmla="*/ 9535 w 10000"/>
              <a:gd name="connsiteY121" fmla="*/ 3464 h 10000"/>
              <a:gd name="connsiteX122" fmla="*/ 9599 w 10000"/>
              <a:gd name="connsiteY122" fmla="*/ 3248 h 10000"/>
              <a:gd name="connsiteX123" fmla="*/ 9656 w 10000"/>
              <a:gd name="connsiteY123" fmla="*/ 3030 h 10000"/>
              <a:gd name="connsiteX124" fmla="*/ 9711 w 10000"/>
              <a:gd name="connsiteY124" fmla="*/ 2815 h 10000"/>
              <a:gd name="connsiteX125" fmla="*/ 9763 w 10000"/>
              <a:gd name="connsiteY125" fmla="*/ 2592 h 10000"/>
              <a:gd name="connsiteX126" fmla="*/ 9813 w 10000"/>
              <a:gd name="connsiteY126" fmla="*/ 2369 h 10000"/>
              <a:gd name="connsiteX127" fmla="*/ 9856 w 10000"/>
              <a:gd name="connsiteY127" fmla="*/ 2143 h 10000"/>
              <a:gd name="connsiteX128" fmla="*/ 9898 w 10000"/>
              <a:gd name="connsiteY128" fmla="*/ 1918 h 10000"/>
              <a:gd name="connsiteX129" fmla="*/ 9936 w 10000"/>
              <a:gd name="connsiteY129" fmla="*/ 1690 h 10000"/>
              <a:gd name="connsiteX130" fmla="*/ 9970 w 10000"/>
              <a:gd name="connsiteY130" fmla="*/ 1457 h 10000"/>
              <a:gd name="connsiteX131" fmla="*/ 10000 w 10000"/>
              <a:gd name="connsiteY131" fmla="*/ 1222 h 10000"/>
              <a:gd name="connsiteX132" fmla="*/ 7611 w 10000"/>
              <a:gd name="connsiteY132" fmla="*/ 1876 h 10000"/>
              <a:gd name="connsiteX133" fmla="*/ 5615 w 10000"/>
              <a:gd name="connsiteY13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0 w 10000"/>
              <a:gd name="connsiteY49" fmla="*/ 6085 h 10000"/>
              <a:gd name="connsiteX50" fmla="*/ 209 w 10000"/>
              <a:gd name="connsiteY50" fmla="*/ 9512 h 10000"/>
              <a:gd name="connsiteX51" fmla="*/ 344 w 10000"/>
              <a:gd name="connsiteY51" fmla="*/ 9569 h 10000"/>
              <a:gd name="connsiteX52" fmla="*/ 481 w 10000"/>
              <a:gd name="connsiteY52" fmla="*/ 9623 h 10000"/>
              <a:gd name="connsiteX53" fmla="*/ 621 w 10000"/>
              <a:gd name="connsiteY53" fmla="*/ 9673 h 10000"/>
              <a:gd name="connsiteX54" fmla="*/ 758 w 10000"/>
              <a:gd name="connsiteY54" fmla="*/ 9720 h 10000"/>
              <a:gd name="connsiteX55" fmla="*/ 899 w 10000"/>
              <a:gd name="connsiteY55" fmla="*/ 9765 h 10000"/>
              <a:gd name="connsiteX56" fmla="*/ 1040 w 10000"/>
              <a:gd name="connsiteY56" fmla="*/ 9804 h 10000"/>
              <a:gd name="connsiteX57" fmla="*/ 1182 w 10000"/>
              <a:gd name="connsiteY57" fmla="*/ 9839 h 10000"/>
              <a:gd name="connsiteX58" fmla="*/ 1325 w 10000"/>
              <a:gd name="connsiteY58" fmla="*/ 9874 h 10000"/>
              <a:gd name="connsiteX59" fmla="*/ 1471 w 10000"/>
              <a:gd name="connsiteY59" fmla="*/ 9903 h 10000"/>
              <a:gd name="connsiteX60" fmla="*/ 1614 w 10000"/>
              <a:gd name="connsiteY60" fmla="*/ 9926 h 10000"/>
              <a:gd name="connsiteX61" fmla="*/ 1760 w 10000"/>
              <a:gd name="connsiteY61" fmla="*/ 9948 h 10000"/>
              <a:gd name="connsiteX62" fmla="*/ 1906 w 10000"/>
              <a:gd name="connsiteY62" fmla="*/ 9965 h 10000"/>
              <a:gd name="connsiteX63" fmla="*/ 2052 w 10000"/>
              <a:gd name="connsiteY63" fmla="*/ 9980 h 10000"/>
              <a:gd name="connsiteX64" fmla="*/ 2202 w 10000"/>
              <a:gd name="connsiteY64" fmla="*/ 9990 h 10000"/>
              <a:gd name="connsiteX65" fmla="*/ 2350 w 10000"/>
              <a:gd name="connsiteY65" fmla="*/ 9995 h 10000"/>
              <a:gd name="connsiteX66" fmla="*/ 2498 w 10000"/>
              <a:gd name="connsiteY66" fmla="*/ 10000 h 10000"/>
              <a:gd name="connsiteX67" fmla="*/ 2677 w 10000"/>
              <a:gd name="connsiteY67" fmla="*/ 9995 h 10000"/>
              <a:gd name="connsiteX68" fmla="*/ 2850 w 10000"/>
              <a:gd name="connsiteY68" fmla="*/ 9988 h 10000"/>
              <a:gd name="connsiteX69" fmla="*/ 3024 w 10000"/>
              <a:gd name="connsiteY69" fmla="*/ 9975 h 10000"/>
              <a:gd name="connsiteX70" fmla="*/ 3195 w 10000"/>
              <a:gd name="connsiteY70" fmla="*/ 9953 h 10000"/>
              <a:gd name="connsiteX71" fmla="*/ 3368 w 10000"/>
              <a:gd name="connsiteY71" fmla="*/ 9931 h 10000"/>
              <a:gd name="connsiteX72" fmla="*/ 3538 w 10000"/>
              <a:gd name="connsiteY72" fmla="*/ 9898 h 10000"/>
              <a:gd name="connsiteX73" fmla="*/ 3709 w 10000"/>
              <a:gd name="connsiteY73" fmla="*/ 9866 h 10000"/>
              <a:gd name="connsiteX74" fmla="*/ 3877 w 10000"/>
              <a:gd name="connsiteY74" fmla="*/ 9824 h 10000"/>
              <a:gd name="connsiteX75" fmla="*/ 4042 w 10000"/>
              <a:gd name="connsiteY75" fmla="*/ 9779 h 10000"/>
              <a:gd name="connsiteX76" fmla="*/ 4210 w 10000"/>
              <a:gd name="connsiteY76" fmla="*/ 9730 h 10000"/>
              <a:gd name="connsiteX77" fmla="*/ 4372 w 10000"/>
              <a:gd name="connsiteY77" fmla="*/ 9673 h 10000"/>
              <a:gd name="connsiteX78" fmla="*/ 4536 w 10000"/>
              <a:gd name="connsiteY78" fmla="*/ 9616 h 10000"/>
              <a:gd name="connsiteX79" fmla="*/ 4697 w 10000"/>
              <a:gd name="connsiteY79" fmla="*/ 9552 h 10000"/>
              <a:gd name="connsiteX80" fmla="*/ 4857 w 10000"/>
              <a:gd name="connsiteY80" fmla="*/ 9482 h 10000"/>
              <a:gd name="connsiteX81" fmla="*/ 5014 w 10000"/>
              <a:gd name="connsiteY81" fmla="*/ 9405 h 10000"/>
              <a:gd name="connsiteX82" fmla="*/ 5171 w 10000"/>
              <a:gd name="connsiteY82" fmla="*/ 9329 h 10000"/>
              <a:gd name="connsiteX83" fmla="*/ 5326 w 10000"/>
              <a:gd name="connsiteY83" fmla="*/ 9244 h 10000"/>
              <a:gd name="connsiteX84" fmla="*/ 5480 w 10000"/>
              <a:gd name="connsiteY84" fmla="*/ 9158 h 10000"/>
              <a:gd name="connsiteX85" fmla="*/ 5631 w 10000"/>
              <a:gd name="connsiteY85" fmla="*/ 9063 h 10000"/>
              <a:gd name="connsiteX86" fmla="*/ 5781 w 10000"/>
              <a:gd name="connsiteY86" fmla="*/ 8967 h 10000"/>
              <a:gd name="connsiteX87" fmla="*/ 5931 w 10000"/>
              <a:gd name="connsiteY87" fmla="*/ 8865 h 10000"/>
              <a:gd name="connsiteX88" fmla="*/ 6075 w 10000"/>
              <a:gd name="connsiteY88" fmla="*/ 8759 h 10000"/>
              <a:gd name="connsiteX89" fmla="*/ 6221 w 10000"/>
              <a:gd name="connsiteY89" fmla="*/ 8652 h 10000"/>
              <a:gd name="connsiteX90" fmla="*/ 6364 w 10000"/>
              <a:gd name="connsiteY90" fmla="*/ 8536 h 10000"/>
              <a:gd name="connsiteX91" fmla="*/ 6505 w 10000"/>
              <a:gd name="connsiteY91" fmla="*/ 8417 h 10000"/>
              <a:gd name="connsiteX92" fmla="*/ 6642 w 10000"/>
              <a:gd name="connsiteY92" fmla="*/ 8295 h 10000"/>
              <a:gd name="connsiteX93" fmla="*/ 6780 w 10000"/>
              <a:gd name="connsiteY93" fmla="*/ 8169 h 10000"/>
              <a:gd name="connsiteX94" fmla="*/ 6913 w 10000"/>
              <a:gd name="connsiteY94" fmla="*/ 8040 h 10000"/>
              <a:gd name="connsiteX95" fmla="*/ 7045 w 10000"/>
              <a:gd name="connsiteY95" fmla="*/ 7904 h 10000"/>
              <a:gd name="connsiteX96" fmla="*/ 7175 w 10000"/>
              <a:gd name="connsiteY96" fmla="*/ 7768 h 10000"/>
              <a:gd name="connsiteX97" fmla="*/ 7304 w 10000"/>
              <a:gd name="connsiteY97" fmla="*/ 7624 h 10000"/>
              <a:gd name="connsiteX98" fmla="*/ 7429 w 10000"/>
              <a:gd name="connsiteY98" fmla="*/ 7480 h 10000"/>
              <a:gd name="connsiteX99" fmla="*/ 7552 w 10000"/>
              <a:gd name="connsiteY99" fmla="*/ 7329 h 10000"/>
              <a:gd name="connsiteX100" fmla="*/ 7673 w 10000"/>
              <a:gd name="connsiteY100" fmla="*/ 7178 h 10000"/>
              <a:gd name="connsiteX101" fmla="*/ 7792 w 10000"/>
              <a:gd name="connsiteY101" fmla="*/ 7024 h 10000"/>
              <a:gd name="connsiteX102" fmla="*/ 7907 w 10000"/>
              <a:gd name="connsiteY102" fmla="*/ 6861 h 10000"/>
              <a:gd name="connsiteX103" fmla="*/ 8022 w 10000"/>
              <a:gd name="connsiteY103" fmla="*/ 6697 h 10000"/>
              <a:gd name="connsiteX104" fmla="*/ 8133 w 10000"/>
              <a:gd name="connsiteY104" fmla="*/ 6534 h 10000"/>
              <a:gd name="connsiteX105" fmla="*/ 8240 w 10000"/>
              <a:gd name="connsiteY105" fmla="*/ 6365 h 10000"/>
              <a:gd name="connsiteX106" fmla="*/ 8347 w 10000"/>
              <a:gd name="connsiteY106" fmla="*/ 6189 h 10000"/>
              <a:gd name="connsiteX107" fmla="*/ 8450 w 10000"/>
              <a:gd name="connsiteY107" fmla="*/ 6016 h 10000"/>
              <a:gd name="connsiteX108" fmla="*/ 8552 w 10000"/>
              <a:gd name="connsiteY108" fmla="*/ 5835 h 10000"/>
              <a:gd name="connsiteX109" fmla="*/ 8650 w 10000"/>
              <a:gd name="connsiteY109" fmla="*/ 5652 h 10000"/>
              <a:gd name="connsiteX110" fmla="*/ 8745 w 10000"/>
              <a:gd name="connsiteY110" fmla="*/ 5468 h 10000"/>
              <a:gd name="connsiteX111" fmla="*/ 8837 w 10000"/>
              <a:gd name="connsiteY111" fmla="*/ 5278 h 10000"/>
              <a:gd name="connsiteX112" fmla="*/ 8927 w 10000"/>
              <a:gd name="connsiteY112" fmla="*/ 5089 h 10000"/>
              <a:gd name="connsiteX113" fmla="*/ 9014 w 10000"/>
              <a:gd name="connsiteY113" fmla="*/ 4893 h 10000"/>
              <a:gd name="connsiteX114" fmla="*/ 9098 w 10000"/>
              <a:gd name="connsiteY114" fmla="*/ 4698 h 10000"/>
              <a:gd name="connsiteX115" fmla="*/ 9178 w 10000"/>
              <a:gd name="connsiteY115" fmla="*/ 4500 h 10000"/>
              <a:gd name="connsiteX116" fmla="*/ 9256 w 10000"/>
              <a:gd name="connsiteY116" fmla="*/ 4294 h 10000"/>
              <a:gd name="connsiteX117" fmla="*/ 9330 w 10000"/>
              <a:gd name="connsiteY117" fmla="*/ 4091 h 10000"/>
              <a:gd name="connsiteX118" fmla="*/ 9401 w 10000"/>
              <a:gd name="connsiteY118" fmla="*/ 3885 h 10000"/>
              <a:gd name="connsiteX119" fmla="*/ 9470 w 10000"/>
              <a:gd name="connsiteY119" fmla="*/ 3674 h 10000"/>
              <a:gd name="connsiteX120" fmla="*/ 9535 w 10000"/>
              <a:gd name="connsiteY120" fmla="*/ 3464 h 10000"/>
              <a:gd name="connsiteX121" fmla="*/ 9599 w 10000"/>
              <a:gd name="connsiteY121" fmla="*/ 3248 h 10000"/>
              <a:gd name="connsiteX122" fmla="*/ 9656 w 10000"/>
              <a:gd name="connsiteY122" fmla="*/ 3030 h 10000"/>
              <a:gd name="connsiteX123" fmla="*/ 9711 w 10000"/>
              <a:gd name="connsiteY123" fmla="*/ 2815 h 10000"/>
              <a:gd name="connsiteX124" fmla="*/ 9763 w 10000"/>
              <a:gd name="connsiteY124" fmla="*/ 2592 h 10000"/>
              <a:gd name="connsiteX125" fmla="*/ 9813 w 10000"/>
              <a:gd name="connsiteY125" fmla="*/ 2369 h 10000"/>
              <a:gd name="connsiteX126" fmla="*/ 9856 w 10000"/>
              <a:gd name="connsiteY126" fmla="*/ 2143 h 10000"/>
              <a:gd name="connsiteX127" fmla="*/ 9898 w 10000"/>
              <a:gd name="connsiteY127" fmla="*/ 1918 h 10000"/>
              <a:gd name="connsiteX128" fmla="*/ 9936 w 10000"/>
              <a:gd name="connsiteY128" fmla="*/ 1690 h 10000"/>
              <a:gd name="connsiteX129" fmla="*/ 9970 w 10000"/>
              <a:gd name="connsiteY129" fmla="*/ 1457 h 10000"/>
              <a:gd name="connsiteX130" fmla="*/ 10000 w 10000"/>
              <a:gd name="connsiteY130" fmla="*/ 1222 h 10000"/>
              <a:gd name="connsiteX131" fmla="*/ 7611 w 10000"/>
              <a:gd name="connsiteY131" fmla="*/ 1876 h 10000"/>
              <a:gd name="connsiteX132" fmla="*/ 5615 w 10000"/>
              <a:gd name="connsiteY13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0 w 10000"/>
              <a:gd name="connsiteY48" fmla="*/ 6085 h 10000"/>
              <a:gd name="connsiteX49" fmla="*/ 209 w 10000"/>
              <a:gd name="connsiteY49" fmla="*/ 9512 h 10000"/>
              <a:gd name="connsiteX50" fmla="*/ 344 w 10000"/>
              <a:gd name="connsiteY50" fmla="*/ 9569 h 10000"/>
              <a:gd name="connsiteX51" fmla="*/ 481 w 10000"/>
              <a:gd name="connsiteY51" fmla="*/ 9623 h 10000"/>
              <a:gd name="connsiteX52" fmla="*/ 621 w 10000"/>
              <a:gd name="connsiteY52" fmla="*/ 9673 h 10000"/>
              <a:gd name="connsiteX53" fmla="*/ 758 w 10000"/>
              <a:gd name="connsiteY53" fmla="*/ 9720 h 10000"/>
              <a:gd name="connsiteX54" fmla="*/ 899 w 10000"/>
              <a:gd name="connsiteY54" fmla="*/ 9765 h 10000"/>
              <a:gd name="connsiteX55" fmla="*/ 1040 w 10000"/>
              <a:gd name="connsiteY55" fmla="*/ 9804 h 10000"/>
              <a:gd name="connsiteX56" fmla="*/ 1182 w 10000"/>
              <a:gd name="connsiteY56" fmla="*/ 9839 h 10000"/>
              <a:gd name="connsiteX57" fmla="*/ 1325 w 10000"/>
              <a:gd name="connsiteY57" fmla="*/ 9874 h 10000"/>
              <a:gd name="connsiteX58" fmla="*/ 1471 w 10000"/>
              <a:gd name="connsiteY58" fmla="*/ 9903 h 10000"/>
              <a:gd name="connsiteX59" fmla="*/ 1614 w 10000"/>
              <a:gd name="connsiteY59" fmla="*/ 9926 h 10000"/>
              <a:gd name="connsiteX60" fmla="*/ 1760 w 10000"/>
              <a:gd name="connsiteY60" fmla="*/ 9948 h 10000"/>
              <a:gd name="connsiteX61" fmla="*/ 1906 w 10000"/>
              <a:gd name="connsiteY61" fmla="*/ 9965 h 10000"/>
              <a:gd name="connsiteX62" fmla="*/ 2052 w 10000"/>
              <a:gd name="connsiteY62" fmla="*/ 9980 h 10000"/>
              <a:gd name="connsiteX63" fmla="*/ 2202 w 10000"/>
              <a:gd name="connsiteY63" fmla="*/ 9990 h 10000"/>
              <a:gd name="connsiteX64" fmla="*/ 2350 w 10000"/>
              <a:gd name="connsiteY64" fmla="*/ 9995 h 10000"/>
              <a:gd name="connsiteX65" fmla="*/ 2498 w 10000"/>
              <a:gd name="connsiteY65" fmla="*/ 10000 h 10000"/>
              <a:gd name="connsiteX66" fmla="*/ 2677 w 10000"/>
              <a:gd name="connsiteY66" fmla="*/ 9995 h 10000"/>
              <a:gd name="connsiteX67" fmla="*/ 2850 w 10000"/>
              <a:gd name="connsiteY67" fmla="*/ 9988 h 10000"/>
              <a:gd name="connsiteX68" fmla="*/ 3024 w 10000"/>
              <a:gd name="connsiteY68" fmla="*/ 9975 h 10000"/>
              <a:gd name="connsiteX69" fmla="*/ 3195 w 10000"/>
              <a:gd name="connsiteY69" fmla="*/ 9953 h 10000"/>
              <a:gd name="connsiteX70" fmla="*/ 3368 w 10000"/>
              <a:gd name="connsiteY70" fmla="*/ 9931 h 10000"/>
              <a:gd name="connsiteX71" fmla="*/ 3538 w 10000"/>
              <a:gd name="connsiteY71" fmla="*/ 9898 h 10000"/>
              <a:gd name="connsiteX72" fmla="*/ 3709 w 10000"/>
              <a:gd name="connsiteY72" fmla="*/ 9866 h 10000"/>
              <a:gd name="connsiteX73" fmla="*/ 3877 w 10000"/>
              <a:gd name="connsiteY73" fmla="*/ 9824 h 10000"/>
              <a:gd name="connsiteX74" fmla="*/ 4042 w 10000"/>
              <a:gd name="connsiteY74" fmla="*/ 9779 h 10000"/>
              <a:gd name="connsiteX75" fmla="*/ 4210 w 10000"/>
              <a:gd name="connsiteY75" fmla="*/ 9730 h 10000"/>
              <a:gd name="connsiteX76" fmla="*/ 4372 w 10000"/>
              <a:gd name="connsiteY76" fmla="*/ 9673 h 10000"/>
              <a:gd name="connsiteX77" fmla="*/ 4536 w 10000"/>
              <a:gd name="connsiteY77" fmla="*/ 9616 h 10000"/>
              <a:gd name="connsiteX78" fmla="*/ 4697 w 10000"/>
              <a:gd name="connsiteY78" fmla="*/ 9552 h 10000"/>
              <a:gd name="connsiteX79" fmla="*/ 4857 w 10000"/>
              <a:gd name="connsiteY79" fmla="*/ 9482 h 10000"/>
              <a:gd name="connsiteX80" fmla="*/ 5014 w 10000"/>
              <a:gd name="connsiteY80" fmla="*/ 9405 h 10000"/>
              <a:gd name="connsiteX81" fmla="*/ 5171 w 10000"/>
              <a:gd name="connsiteY81" fmla="*/ 9329 h 10000"/>
              <a:gd name="connsiteX82" fmla="*/ 5326 w 10000"/>
              <a:gd name="connsiteY82" fmla="*/ 9244 h 10000"/>
              <a:gd name="connsiteX83" fmla="*/ 5480 w 10000"/>
              <a:gd name="connsiteY83" fmla="*/ 9158 h 10000"/>
              <a:gd name="connsiteX84" fmla="*/ 5631 w 10000"/>
              <a:gd name="connsiteY84" fmla="*/ 9063 h 10000"/>
              <a:gd name="connsiteX85" fmla="*/ 5781 w 10000"/>
              <a:gd name="connsiteY85" fmla="*/ 8967 h 10000"/>
              <a:gd name="connsiteX86" fmla="*/ 5931 w 10000"/>
              <a:gd name="connsiteY86" fmla="*/ 8865 h 10000"/>
              <a:gd name="connsiteX87" fmla="*/ 6075 w 10000"/>
              <a:gd name="connsiteY87" fmla="*/ 8759 h 10000"/>
              <a:gd name="connsiteX88" fmla="*/ 6221 w 10000"/>
              <a:gd name="connsiteY88" fmla="*/ 8652 h 10000"/>
              <a:gd name="connsiteX89" fmla="*/ 6364 w 10000"/>
              <a:gd name="connsiteY89" fmla="*/ 8536 h 10000"/>
              <a:gd name="connsiteX90" fmla="*/ 6505 w 10000"/>
              <a:gd name="connsiteY90" fmla="*/ 8417 h 10000"/>
              <a:gd name="connsiteX91" fmla="*/ 6642 w 10000"/>
              <a:gd name="connsiteY91" fmla="*/ 8295 h 10000"/>
              <a:gd name="connsiteX92" fmla="*/ 6780 w 10000"/>
              <a:gd name="connsiteY92" fmla="*/ 8169 h 10000"/>
              <a:gd name="connsiteX93" fmla="*/ 6913 w 10000"/>
              <a:gd name="connsiteY93" fmla="*/ 8040 h 10000"/>
              <a:gd name="connsiteX94" fmla="*/ 7045 w 10000"/>
              <a:gd name="connsiteY94" fmla="*/ 7904 h 10000"/>
              <a:gd name="connsiteX95" fmla="*/ 7175 w 10000"/>
              <a:gd name="connsiteY95" fmla="*/ 7768 h 10000"/>
              <a:gd name="connsiteX96" fmla="*/ 7304 w 10000"/>
              <a:gd name="connsiteY96" fmla="*/ 7624 h 10000"/>
              <a:gd name="connsiteX97" fmla="*/ 7429 w 10000"/>
              <a:gd name="connsiteY97" fmla="*/ 7480 h 10000"/>
              <a:gd name="connsiteX98" fmla="*/ 7552 w 10000"/>
              <a:gd name="connsiteY98" fmla="*/ 7329 h 10000"/>
              <a:gd name="connsiteX99" fmla="*/ 7673 w 10000"/>
              <a:gd name="connsiteY99" fmla="*/ 7178 h 10000"/>
              <a:gd name="connsiteX100" fmla="*/ 7792 w 10000"/>
              <a:gd name="connsiteY100" fmla="*/ 7024 h 10000"/>
              <a:gd name="connsiteX101" fmla="*/ 7907 w 10000"/>
              <a:gd name="connsiteY101" fmla="*/ 6861 h 10000"/>
              <a:gd name="connsiteX102" fmla="*/ 8022 w 10000"/>
              <a:gd name="connsiteY102" fmla="*/ 6697 h 10000"/>
              <a:gd name="connsiteX103" fmla="*/ 8133 w 10000"/>
              <a:gd name="connsiteY103" fmla="*/ 6534 h 10000"/>
              <a:gd name="connsiteX104" fmla="*/ 8240 w 10000"/>
              <a:gd name="connsiteY104" fmla="*/ 6365 h 10000"/>
              <a:gd name="connsiteX105" fmla="*/ 8347 w 10000"/>
              <a:gd name="connsiteY105" fmla="*/ 6189 h 10000"/>
              <a:gd name="connsiteX106" fmla="*/ 8450 w 10000"/>
              <a:gd name="connsiteY106" fmla="*/ 6016 h 10000"/>
              <a:gd name="connsiteX107" fmla="*/ 8552 w 10000"/>
              <a:gd name="connsiteY107" fmla="*/ 5835 h 10000"/>
              <a:gd name="connsiteX108" fmla="*/ 8650 w 10000"/>
              <a:gd name="connsiteY108" fmla="*/ 5652 h 10000"/>
              <a:gd name="connsiteX109" fmla="*/ 8745 w 10000"/>
              <a:gd name="connsiteY109" fmla="*/ 5468 h 10000"/>
              <a:gd name="connsiteX110" fmla="*/ 8837 w 10000"/>
              <a:gd name="connsiteY110" fmla="*/ 5278 h 10000"/>
              <a:gd name="connsiteX111" fmla="*/ 8927 w 10000"/>
              <a:gd name="connsiteY111" fmla="*/ 5089 h 10000"/>
              <a:gd name="connsiteX112" fmla="*/ 9014 w 10000"/>
              <a:gd name="connsiteY112" fmla="*/ 4893 h 10000"/>
              <a:gd name="connsiteX113" fmla="*/ 9098 w 10000"/>
              <a:gd name="connsiteY113" fmla="*/ 4698 h 10000"/>
              <a:gd name="connsiteX114" fmla="*/ 9178 w 10000"/>
              <a:gd name="connsiteY114" fmla="*/ 4500 h 10000"/>
              <a:gd name="connsiteX115" fmla="*/ 9256 w 10000"/>
              <a:gd name="connsiteY115" fmla="*/ 4294 h 10000"/>
              <a:gd name="connsiteX116" fmla="*/ 9330 w 10000"/>
              <a:gd name="connsiteY116" fmla="*/ 4091 h 10000"/>
              <a:gd name="connsiteX117" fmla="*/ 9401 w 10000"/>
              <a:gd name="connsiteY117" fmla="*/ 3885 h 10000"/>
              <a:gd name="connsiteX118" fmla="*/ 9470 w 10000"/>
              <a:gd name="connsiteY118" fmla="*/ 3674 h 10000"/>
              <a:gd name="connsiteX119" fmla="*/ 9535 w 10000"/>
              <a:gd name="connsiteY119" fmla="*/ 3464 h 10000"/>
              <a:gd name="connsiteX120" fmla="*/ 9599 w 10000"/>
              <a:gd name="connsiteY120" fmla="*/ 3248 h 10000"/>
              <a:gd name="connsiteX121" fmla="*/ 9656 w 10000"/>
              <a:gd name="connsiteY121" fmla="*/ 3030 h 10000"/>
              <a:gd name="connsiteX122" fmla="*/ 9711 w 10000"/>
              <a:gd name="connsiteY122" fmla="*/ 2815 h 10000"/>
              <a:gd name="connsiteX123" fmla="*/ 9763 w 10000"/>
              <a:gd name="connsiteY123" fmla="*/ 2592 h 10000"/>
              <a:gd name="connsiteX124" fmla="*/ 9813 w 10000"/>
              <a:gd name="connsiteY124" fmla="*/ 2369 h 10000"/>
              <a:gd name="connsiteX125" fmla="*/ 9856 w 10000"/>
              <a:gd name="connsiteY125" fmla="*/ 2143 h 10000"/>
              <a:gd name="connsiteX126" fmla="*/ 9898 w 10000"/>
              <a:gd name="connsiteY126" fmla="*/ 1918 h 10000"/>
              <a:gd name="connsiteX127" fmla="*/ 9936 w 10000"/>
              <a:gd name="connsiteY127" fmla="*/ 1690 h 10000"/>
              <a:gd name="connsiteX128" fmla="*/ 9970 w 10000"/>
              <a:gd name="connsiteY128" fmla="*/ 1457 h 10000"/>
              <a:gd name="connsiteX129" fmla="*/ 10000 w 10000"/>
              <a:gd name="connsiteY129" fmla="*/ 1222 h 10000"/>
              <a:gd name="connsiteX130" fmla="*/ 7611 w 10000"/>
              <a:gd name="connsiteY130" fmla="*/ 1876 h 10000"/>
              <a:gd name="connsiteX131" fmla="*/ 5615 w 10000"/>
              <a:gd name="connsiteY13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0 w 10000"/>
              <a:gd name="connsiteY47" fmla="*/ 6085 h 10000"/>
              <a:gd name="connsiteX48" fmla="*/ 209 w 10000"/>
              <a:gd name="connsiteY48" fmla="*/ 9512 h 10000"/>
              <a:gd name="connsiteX49" fmla="*/ 344 w 10000"/>
              <a:gd name="connsiteY49" fmla="*/ 9569 h 10000"/>
              <a:gd name="connsiteX50" fmla="*/ 481 w 10000"/>
              <a:gd name="connsiteY50" fmla="*/ 9623 h 10000"/>
              <a:gd name="connsiteX51" fmla="*/ 621 w 10000"/>
              <a:gd name="connsiteY51" fmla="*/ 9673 h 10000"/>
              <a:gd name="connsiteX52" fmla="*/ 758 w 10000"/>
              <a:gd name="connsiteY52" fmla="*/ 9720 h 10000"/>
              <a:gd name="connsiteX53" fmla="*/ 899 w 10000"/>
              <a:gd name="connsiteY53" fmla="*/ 9765 h 10000"/>
              <a:gd name="connsiteX54" fmla="*/ 1040 w 10000"/>
              <a:gd name="connsiteY54" fmla="*/ 9804 h 10000"/>
              <a:gd name="connsiteX55" fmla="*/ 1182 w 10000"/>
              <a:gd name="connsiteY55" fmla="*/ 9839 h 10000"/>
              <a:gd name="connsiteX56" fmla="*/ 1325 w 10000"/>
              <a:gd name="connsiteY56" fmla="*/ 9874 h 10000"/>
              <a:gd name="connsiteX57" fmla="*/ 1471 w 10000"/>
              <a:gd name="connsiteY57" fmla="*/ 9903 h 10000"/>
              <a:gd name="connsiteX58" fmla="*/ 1614 w 10000"/>
              <a:gd name="connsiteY58" fmla="*/ 9926 h 10000"/>
              <a:gd name="connsiteX59" fmla="*/ 1760 w 10000"/>
              <a:gd name="connsiteY59" fmla="*/ 9948 h 10000"/>
              <a:gd name="connsiteX60" fmla="*/ 1906 w 10000"/>
              <a:gd name="connsiteY60" fmla="*/ 9965 h 10000"/>
              <a:gd name="connsiteX61" fmla="*/ 2052 w 10000"/>
              <a:gd name="connsiteY61" fmla="*/ 9980 h 10000"/>
              <a:gd name="connsiteX62" fmla="*/ 2202 w 10000"/>
              <a:gd name="connsiteY62" fmla="*/ 9990 h 10000"/>
              <a:gd name="connsiteX63" fmla="*/ 2350 w 10000"/>
              <a:gd name="connsiteY63" fmla="*/ 9995 h 10000"/>
              <a:gd name="connsiteX64" fmla="*/ 2498 w 10000"/>
              <a:gd name="connsiteY64" fmla="*/ 10000 h 10000"/>
              <a:gd name="connsiteX65" fmla="*/ 2677 w 10000"/>
              <a:gd name="connsiteY65" fmla="*/ 9995 h 10000"/>
              <a:gd name="connsiteX66" fmla="*/ 2850 w 10000"/>
              <a:gd name="connsiteY66" fmla="*/ 9988 h 10000"/>
              <a:gd name="connsiteX67" fmla="*/ 3024 w 10000"/>
              <a:gd name="connsiteY67" fmla="*/ 9975 h 10000"/>
              <a:gd name="connsiteX68" fmla="*/ 3195 w 10000"/>
              <a:gd name="connsiteY68" fmla="*/ 9953 h 10000"/>
              <a:gd name="connsiteX69" fmla="*/ 3368 w 10000"/>
              <a:gd name="connsiteY69" fmla="*/ 9931 h 10000"/>
              <a:gd name="connsiteX70" fmla="*/ 3538 w 10000"/>
              <a:gd name="connsiteY70" fmla="*/ 9898 h 10000"/>
              <a:gd name="connsiteX71" fmla="*/ 3709 w 10000"/>
              <a:gd name="connsiteY71" fmla="*/ 9866 h 10000"/>
              <a:gd name="connsiteX72" fmla="*/ 3877 w 10000"/>
              <a:gd name="connsiteY72" fmla="*/ 9824 h 10000"/>
              <a:gd name="connsiteX73" fmla="*/ 4042 w 10000"/>
              <a:gd name="connsiteY73" fmla="*/ 9779 h 10000"/>
              <a:gd name="connsiteX74" fmla="*/ 4210 w 10000"/>
              <a:gd name="connsiteY74" fmla="*/ 9730 h 10000"/>
              <a:gd name="connsiteX75" fmla="*/ 4372 w 10000"/>
              <a:gd name="connsiteY75" fmla="*/ 9673 h 10000"/>
              <a:gd name="connsiteX76" fmla="*/ 4536 w 10000"/>
              <a:gd name="connsiteY76" fmla="*/ 9616 h 10000"/>
              <a:gd name="connsiteX77" fmla="*/ 4697 w 10000"/>
              <a:gd name="connsiteY77" fmla="*/ 9552 h 10000"/>
              <a:gd name="connsiteX78" fmla="*/ 4857 w 10000"/>
              <a:gd name="connsiteY78" fmla="*/ 9482 h 10000"/>
              <a:gd name="connsiteX79" fmla="*/ 5014 w 10000"/>
              <a:gd name="connsiteY79" fmla="*/ 9405 h 10000"/>
              <a:gd name="connsiteX80" fmla="*/ 5171 w 10000"/>
              <a:gd name="connsiteY80" fmla="*/ 9329 h 10000"/>
              <a:gd name="connsiteX81" fmla="*/ 5326 w 10000"/>
              <a:gd name="connsiteY81" fmla="*/ 9244 h 10000"/>
              <a:gd name="connsiteX82" fmla="*/ 5480 w 10000"/>
              <a:gd name="connsiteY82" fmla="*/ 9158 h 10000"/>
              <a:gd name="connsiteX83" fmla="*/ 5631 w 10000"/>
              <a:gd name="connsiteY83" fmla="*/ 9063 h 10000"/>
              <a:gd name="connsiteX84" fmla="*/ 5781 w 10000"/>
              <a:gd name="connsiteY84" fmla="*/ 8967 h 10000"/>
              <a:gd name="connsiteX85" fmla="*/ 5931 w 10000"/>
              <a:gd name="connsiteY85" fmla="*/ 8865 h 10000"/>
              <a:gd name="connsiteX86" fmla="*/ 6075 w 10000"/>
              <a:gd name="connsiteY86" fmla="*/ 8759 h 10000"/>
              <a:gd name="connsiteX87" fmla="*/ 6221 w 10000"/>
              <a:gd name="connsiteY87" fmla="*/ 8652 h 10000"/>
              <a:gd name="connsiteX88" fmla="*/ 6364 w 10000"/>
              <a:gd name="connsiteY88" fmla="*/ 8536 h 10000"/>
              <a:gd name="connsiteX89" fmla="*/ 6505 w 10000"/>
              <a:gd name="connsiteY89" fmla="*/ 8417 h 10000"/>
              <a:gd name="connsiteX90" fmla="*/ 6642 w 10000"/>
              <a:gd name="connsiteY90" fmla="*/ 8295 h 10000"/>
              <a:gd name="connsiteX91" fmla="*/ 6780 w 10000"/>
              <a:gd name="connsiteY91" fmla="*/ 8169 h 10000"/>
              <a:gd name="connsiteX92" fmla="*/ 6913 w 10000"/>
              <a:gd name="connsiteY92" fmla="*/ 8040 h 10000"/>
              <a:gd name="connsiteX93" fmla="*/ 7045 w 10000"/>
              <a:gd name="connsiteY93" fmla="*/ 7904 h 10000"/>
              <a:gd name="connsiteX94" fmla="*/ 7175 w 10000"/>
              <a:gd name="connsiteY94" fmla="*/ 7768 h 10000"/>
              <a:gd name="connsiteX95" fmla="*/ 7304 w 10000"/>
              <a:gd name="connsiteY95" fmla="*/ 7624 h 10000"/>
              <a:gd name="connsiteX96" fmla="*/ 7429 w 10000"/>
              <a:gd name="connsiteY96" fmla="*/ 7480 h 10000"/>
              <a:gd name="connsiteX97" fmla="*/ 7552 w 10000"/>
              <a:gd name="connsiteY97" fmla="*/ 7329 h 10000"/>
              <a:gd name="connsiteX98" fmla="*/ 7673 w 10000"/>
              <a:gd name="connsiteY98" fmla="*/ 7178 h 10000"/>
              <a:gd name="connsiteX99" fmla="*/ 7792 w 10000"/>
              <a:gd name="connsiteY99" fmla="*/ 7024 h 10000"/>
              <a:gd name="connsiteX100" fmla="*/ 7907 w 10000"/>
              <a:gd name="connsiteY100" fmla="*/ 6861 h 10000"/>
              <a:gd name="connsiteX101" fmla="*/ 8022 w 10000"/>
              <a:gd name="connsiteY101" fmla="*/ 6697 h 10000"/>
              <a:gd name="connsiteX102" fmla="*/ 8133 w 10000"/>
              <a:gd name="connsiteY102" fmla="*/ 6534 h 10000"/>
              <a:gd name="connsiteX103" fmla="*/ 8240 w 10000"/>
              <a:gd name="connsiteY103" fmla="*/ 6365 h 10000"/>
              <a:gd name="connsiteX104" fmla="*/ 8347 w 10000"/>
              <a:gd name="connsiteY104" fmla="*/ 6189 h 10000"/>
              <a:gd name="connsiteX105" fmla="*/ 8450 w 10000"/>
              <a:gd name="connsiteY105" fmla="*/ 6016 h 10000"/>
              <a:gd name="connsiteX106" fmla="*/ 8552 w 10000"/>
              <a:gd name="connsiteY106" fmla="*/ 5835 h 10000"/>
              <a:gd name="connsiteX107" fmla="*/ 8650 w 10000"/>
              <a:gd name="connsiteY107" fmla="*/ 5652 h 10000"/>
              <a:gd name="connsiteX108" fmla="*/ 8745 w 10000"/>
              <a:gd name="connsiteY108" fmla="*/ 5468 h 10000"/>
              <a:gd name="connsiteX109" fmla="*/ 8837 w 10000"/>
              <a:gd name="connsiteY109" fmla="*/ 5278 h 10000"/>
              <a:gd name="connsiteX110" fmla="*/ 8927 w 10000"/>
              <a:gd name="connsiteY110" fmla="*/ 5089 h 10000"/>
              <a:gd name="connsiteX111" fmla="*/ 9014 w 10000"/>
              <a:gd name="connsiteY111" fmla="*/ 4893 h 10000"/>
              <a:gd name="connsiteX112" fmla="*/ 9098 w 10000"/>
              <a:gd name="connsiteY112" fmla="*/ 4698 h 10000"/>
              <a:gd name="connsiteX113" fmla="*/ 9178 w 10000"/>
              <a:gd name="connsiteY113" fmla="*/ 4500 h 10000"/>
              <a:gd name="connsiteX114" fmla="*/ 9256 w 10000"/>
              <a:gd name="connsiteY114" fmla="*/ 4294 h 10000"/>
              <a:gd name="connsiteX115" fmla="*/ 9330 w 10000"/>
              <a:gd name="connsiteY115" fmla="*/ 4091 h 10000"/>
              <a:gd name="connsiteX116" fmla="*/ 9401 w 10000"/>
              <a:gd name="connsiteY116" fmla="*/ 3885 h 10000"/>
              <a:gd name="connsiteX117" fmla="*/ 9470 w 10000"/>
              <a:gd name="connsiteY117" fmla="*/ 3674 h 10000"/>
              <a:gd name="connsiteX118" fmla="*/ 9535 w 10000"/>
              <a:gd name="connsiteY118" fmla="*/ 3464 h 10000"/>
              <a:gd name="connsiteX119" fmla="*/ 9599 w 10000"/>
              <a:gd name="connsiteY119" fmla="*/ 3248 h 10000"/>
              <a:gd name="connsiteX120" fmla="*/ 9656 w 10000"/>
              <a:gd name="connsiteY120" fmla="*/ 3030 h 10000"/>
              <a:gd name="connsiteX121" fmla="*/ 9711 w 10000"/>
              <a:gd name="connsiteY121" fmla="*/ 2815 h 10000"/>
              <a:gd name="connsiteX122" fmla="*/ 9763 w 10000"/>
              <a:gd name="connsiteY122" fmla="*/ 2592 h 10000"/>
              <a:gd name="connsiteX123" fmla="*/ 9813 w 10000"/>
              <a:gd name="connsiteY123" fmla="*/ 2369 h 10000"/>
              <a:gd name="connsiteX124" fmla="*/ 9856 w 10000"/>
              <a:gd name="connsiteY124" fmla="*/ 2143 h 10000"/>
              <a:gd name="connsiteX125" fmla="*/ 9898 w 10000"/>
              <a:gd name="connsiteY125" fmla="*/ 1918 h 10000"/>
              <a:gd name="connsiteX126" fmla="*/ 9936 w 10000"/>
              <a:gd name="connsiteY126" fmla="*/ 1690 h 10000"/>
              <a:gd name="connsiteX127" fmla="*/ 9970 w 10000"/>
              <a:gd name="connsiteY127" fmla="*/ 1457 h 10000"/>
              <a:gd name="connsiteX128" fmla="*/ 10000 w 10000"/>
              <a:gd name="connsiteY128" fmla="*/ 1222 h 10000"/>
              <a:gd name="connsiteX129" fmla="*/ 7611 w 10000"/>
              <a:gd name="connsiteY129" fmla="*/ 1876 h 10000"/>
              <a:gd name="connsiteX130" fmla="*/ 5615 w 10000"/>
              <a:gd name="connsiteY13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0 w 10000"/>
              <a:gd name="connsiteY46" fmla="*/ 6085 h 10000"/>
              <a:gd name="connsiteX47" fmla="*/ 209 w 10000"/>
              <a:gd name="connsiteY47" fmla="*/ 9512 h 10000"/>
              <a:gd name="connsiteX48" fmla="*/ 344 w 10000"/>
              <a:gd name="connsiteY48" fmla="*/ 9569 h 10000"/>
              <a:gd name="connsiteX49" fmla="*/ 481 w 10000"/>
              <a:gd name="connsiteY49" fmla="*/ 9623 h 10000"/>
              <a:gd name="connsiteX50" fmla="*/ 621 w 10000"/>
              <a:gd name="connsiteY50" fmla="*/ 9673 h 10000"/>
              <a:gd name="connsiteX51" fmla="*/ 758 w 10000"/>
              <a:gd name="connsiteY51" fmla="*/ 9720 h 10000"/>
              <a:gd name="connsiteX52" fmla="*/ 899 w 10000"/>
              <a:gd name="connsiteY52" fmla="*/ 9765 h 10000"/>
              <a:gd name="connsiteX53" fmla="*/ 1040 w 10000"/>
              <a:gd name="connsiteY53" fmla="*/ 9804 h 10000"/>
              <a:gd name="connsiteX54" fmla="*/ 1182 w 10000"/>
              <a:gd name="connsiteY54" fmla="*/ 9839 h 10000"/>
              <a:gd name="connsiteX55" fmla="*/ 1325 w 10000"/>
              <a:gd name="connsiteY55" fmla="*/ 9874 h 10000"/>
              <a:gd name="connsiteX56" fmla="*/ 1471 w 10000"/>
              <a:gd name="connsiteY56" fmla="*/ 9903 h 10000"/>
              <a:gd name="connsiteX57" fmla="*/ 1614 w 10000"/>
              <a:gd name="connsiteY57" fmla="*/ 9926 h 10000"/>
              <a:gd name="connsiteX58" fmla="*/ 1760 w 10000"/>
              <a:gd name="connsiteY58" fmla="*/ 9948 h 10000"/>
              <a:gd name="connsiteX59" fmla="*/ 1906 w 10000"/>
              <a:gd name="connsiteY59" fmla="*/ 9965 h 10000"/>
              <a:gd name="connsiteX60" fmla="*/ 2052 w 10000"/>
              <a:gd name="connsiteY60" fmla="*/ 9980 h 10000"/>
              <a:gd name="connsiteX61" fmla="*/ 2202 w 10000"/>
              <a:gd name="connsiteY61" fmla="*/ 9990 h 10000"/>
              <a:gd name="connsiteX62" fmla="*/ 2350 w 10000"/>
              <a:gd name="connsiteY62" fmla="*/ 9995 h 10000"/>
              <a:gd name="connsiteX63" fmla="*/ 2498 w 10000"/>
              <a:gd name="connsiteY63" fmla="*/ 10000 h 10000"/>
              <a:gd name="connsiteX64" fmla="*/ 2677 w 10000"/>
              <a:gd name="connsiteY64" fmla="*/ 9995 h 10000"/>
              <a:gd name="connsiteX65" fmla="*/ 2850 w 10000"/>
              <a:gd name="connsiteY65" fmla="*/ 9988 h 10000"/>
              <a:gd name="connsiteX66" fmla="*/ 3024 w 10000"/>
              <a:gd name="connsiteY66" fmla="*/ 9975 h 10000"/>
              <a:gd name="connsiteX67" fmla="*/ 3195 w 10000"/>
              <a:gd name="connsiteY67" fmla="*/ 9953 h 10000"/>
              <a:gd name="connsiteX68" fmla="*/ 3368 w 10000"/>
              <a:gd name="connsiteY68" fmla="*/ 9931 h 10000"/>
              <a:gd name="connsiteX69" fmla="*/ 3538 w 10000"/>
              <a:gd name="connsiteY69" fmla="*/ 9898 h 10000"/>
              <a:gd name="connsiteX70" fmla="*/ 3709 w 10000"/>
              <a:gd name="connsiteY70" fmla="*/ 9866 h 10000"/>
              <a:gd name="connsiteX71" fmla="*/ 3877 w 10000"/>
              <a:gd name="connsiteY71" fmla="*/ 9824 h 10000"/>
              <a:gd name="connsiteX72" fmla="*/ 4042 w 10000"/>
              <a:gd name="connsiteY72" fmla="*/ 9779 h 10000"/>
              <a:gd name="connsiteX73" fmla="*/ 4210 w 10000"/>
              <a:gd name="connsiteY73" fmla="*/ 9730 h 10000"/>
              <a:gd name="connsiteX74" fmla="*/ 4372 w 10000"/>
              <a:gd name="connsiteY74" fmla="*/ 9673 h 10000"/>
              <a:gd name="connsiteX75" fmla="*/ 4536 w 10000"/>
              <a:gd name="connsiteY75" fmla="*/ 9616 h 10000"/>
              <a:gd name="connsiteX76" fmla="*/ 4697 w 10000"/>
              <a:gd name="connsiteY76" fmla="*/ 9552 h 10000"/>
              <a:gd name="connsiteX77" fmla="*/ 4857 w 10000"/>
              <a:gd name="connsiteY77" fmla="*/ 9482 h 10000"/>
              <a:gd name="connsiteX78" fmla="*/ 5014 w 10000"/>
              <a:gd name="connsiteY78" fmla="*/ 9405 h 10000"/>
              <a:gd name="connsiteX79" fmla="*/ 5171 w 10000"/>
              <a:gd name="connsiteY79" fmla="*/ 9329 h 10000"/>
              <a:gd name="connsiteX80" fmla="*/ 5326 w 10000"/>
              <a:gd name="connsiteY80" fmla="*/ 9244 h 10000"/>
              <a:gd name="connsiteX81" fmla="*/ 5480 w 10000"/>
              <a:gd name="connsiteY81" fmla="*/ 9158 h 10000"/>
              <a:gd name="connsiteX82" fmla="*/ 5631 w 10000"/>
              <a:gd name="connsiteY82" fmla="*/ 9063 h 10000"/>
              <a:gd name="connsiteX83" fmla="*/ 5781 w 10000"/>
              <a:gd name="connsiteY83" fmla="*/ 8967 h 10000"/>
              <a:gd name="connsiteX84" fmla="*/ 5931 w 10000"/>
              <a:gd name="connsiteY84" fmla="*/ 8865 h 10000"/>
              <a:gd name="connsiteX85" fmla="*/ 6075 w 10000"/>
              <a:gd name="connsiteY85" fmla="*/ 8759 h 10000"/>
              <a:gd name="connsiteX86" fmla="*/ 6221 w 10000"/>
              <a:gd name="connsiteY86" fmla="*/ 8652 h 10000"/>
              <a:gd name="connsiteX87" fmla="*/ 6364 w 10000"/>
              <a:gd name="connsiteY87" fmla="*/ 8536 h 10000"/>
              <a:gd name="connsiteX88" fmla="*/ 6505 w 10000"/>
              <a:gd name="connsiteY88" fmla="*/ 8417 h 10000"/>
              <a:gd name="connsiteX89" fmla="*/ 6642 w 10000"/>
              <a:gd name="connsiteY89" fmla="*/ 8295 h 10000"/>
              <a:gd name="connsiteX90" fmla="*/ 6780 w 10000"/>
              <a:gd name="connsiteY90" fmla="*/ 8169 h 10000"/>
              <a:gd name="connsiteX91" fmla="*/ 6913 w 10000"/>
              <a:gd name="connsiteY91" fmla="*/ 8040 h 10000"/>
              <a:gd name="connsiteX92" fmla="*/ 7045 w 10000"/>
              <a:gd name="connsiteY92" fmla="*/ 7904 h 10000"/>
              <a:gd name="connsiteX93" fmla="*/ 7175 w 10000"/>
              <a:gd name="connsiteY93" fmla="*/ 7768 h 10000"/>
              <a:gd name="connsiteX94" fmla="*/ 7304 w 10000"/>
              <a:gd name="connsiteY94" fmla="*/ 7624 h 10000"/>
              <a:gd name="connsiteX95" fmla="*/ 7429 w 10000"/>
              <a:gd name="connsiteY95" fmla="*/ 7480 h 10000"/>
              <a:gd name="connsiteX96" fmla="*/ 7552 w 10000"/>
              <a:gd name="connsiteY96" fmla="*/ 7329 h 10000"/>
              <a:gd name="connsiteX97" fmla="*/ 7673 w 10000"/>
              <a:gd name="connsiteY97" fmla="*/ 7178 h 10000"/>
              <a:gd name="connsiteX98" fmla="*/ 7792 w 10000"/>
              <a:gd name="connsiteY98" fmla="*/ 7024 h 10000"/>
              <a:gd name="connsiteX99" fmla="*/ 7907 w 10000"/>
              <a:gd name="connsiteY99" fmla="*/ 6861 h 10000"/>
              <a:gd name="connsiteX100" fmla="*/ 8022 w 10000"/>
              <a:gd name="connsiteY100" fmla="*/ 6697 h 10000"/>
              <a:gd name="connsiteX101" fmla="*/ 8133 w 10000"/>
              <a:gd name="connsiteY101" fmla="*/ 6534 h 10000"/>
              <a:gd name="connsiteX102" fmla="*/ 8240 w 10000"/>
              <a:gd name="connsiteY102" fmla="*/ 6365 h 10000"/>
              <a:gd name="connsiteX103" fmla="*/ 8347 w 10000"/>
              <a:gd name="connsiteY103" fmla="*/ 6189 h 10000"/>
              <a:gd name="connsiteX104" fmla="*/ 8450 w 10000"/>
              <a:gd name="connsiteY104" fmla="*/ 6016 h 10000"/>
              <a:gd name="connsiteX105" fmla="*/ 8552 w 10000"/>
              <a:gd name="connsiteY105" fmla="*/ 5835 h 10000"/>
              <a:gd name="connsiteX106" fmla="*/ 8650 w 10000"/>
              <a:gd name="connsiteY106" fmla="*/ 5652 h 10000"/>
              <a:gd name="connsiteX107" fmla="*/ 8745 w 10000"/>
              <a:gd name="connsiteY107" fmla="*/ 5468 h 10000"/>
              <a:gd name="connsiteX108" fmla="*/ 8837 w 10000"/>
              <a:gd name="connsiteY108" fmla="*/ 5278 h 10000"/>
              <a:gd name="connsiteX109" fmla="*/ 8927 w 10000"/>
              <a:gd name="connsiteY109" fmla="*/ 5089 h 10000"/>
              <a:gd name="connsiteX110" fmla="*/ 9014 w 10000"/>
              <a:gd name="connsiteY110" fmla="*/ 4893 h 10000"/>
              <a:gd name="connsiteX111" fmla="*/ 9098 w 10000"/>
              <a:gd name="connsiteY111" fmla="*/ 4698 h 10000"/>
              <a:gd name="connsiteX112" fmla="*/ 9178 w 10000"/>
              <a:gd name="connsiteY112" fmla="*/ 4500 h 10000"/>
              <a:gd name="connsiteX113" fmla="*/ 9256 w 10000"/>
              <a:gd name="connsiteY113" fmla="*/ 4294 h 10000"/>
              <a:gd name="connsiteX114" fmla="*/ 9330 w 10000"/>
              <a:gd name="connsiteY114" fmla="*/ 4091 h 10000"/>
              <a:gd name="connsiteX115" fmla="*/ 9401 w 10000"/>
              <a:gd name="connsiteY115" fmla="*/ 3885 h 10000"/>
              <a:gd name="connsiteX116" fmla="*/ 9470 w 10000"/>
              <a:gd name="connsiteY116" fmla="*/ 3674 h 10000"/>
              <a:gd name="connsiteX117" fmla="*/ 9535 w 10000"/>
              <a:gd name="connsiteY117" fmla="*/ 3464 h 10000"/>
              <a:gd name="connsiteX118" fmla="*/ 9599 w 10000"/>
              <a:gd name="connsiteY118" fmla="*/ 3248 h 10000"/>
              <a:gd name="connsiteX119" fmla="*/ 9656 w 10000"/>
              <a:gd name="connsiteY119" fmla="*/ 3030 h 10000"/>
              <a:gd name="connsiteX120" fmla="*/ 9711 w 10000"/>
              <a:gd name="connsiteY120" fmla="*/ 2815 h 10000"/>
              <a:gd name="connsiteX121" fmla="*/ 9763 w 10000"/>
              <a:gd name="connsiteY121" fmla="*/ 2592 h 10000"/>
              <a:gd name="connsiteX122" fmla="*/ 9813 w 10000"/>
              <a:gd name="connsiteY122" fmla="*/ 2369 h 10000"/>
              <a:gd name="connsiteX123" fmla="*/ 9856 w 10000"/>
              <a:gd name="connsiteY123" fmla="*/ 2143 h 10000"/>
              <a:gd name="connsiteX124" fmla="*/ 9898 w 10000"/>
              <a:gd name="connsiteY124" fmla="*/ 1918 h 10000"/>
              <a:gd name="connsiteX125" fmla="*/ 9936 w 10000"/>
              <a:gd name="connsiteY125" fmla="*/ 1690 h 10000"/>
              <a:gd name="connsiteX126" fmla="*/ 9970 w 10000"/>
              <a:gd name="connsiteY126" fmla="*/ 1457 h 10000"/>
              <a:gd name="connsiteX127" fmla="*/ 10000 w 10000"/>
              <a:gd name="connsiteY127" fmla="*/ 1222 h 10000"/>
              <a:gd name="connsiteX128" fmla="*/ 7611 w 10000"/>
              <a:gd name="connsiteY128" fmla="*/ 1876 h 10000"/>
              <a:gd name="connsiteX129" fmla="*/ 5615 w 10000"/>
              <a:gd name="connsiteY12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0 w 10000"/>
              <a:gd name="connsiteY45" fmla="*/ 6085 h 10000"/>
              <a:gd name="connsiteX46" fmla="*/ 209 w 10000"/>
              <a:gd name="connsiteY46" fmla="*/ 9512 h 10000"/>
              <a:gd name="connsiteX47" fmla="*/ 344 w 10000"/>
              <a:gd name="connsiteY47" fmla="*/ 9569 h 10000"/>
              <a:gd name="connsiteX48" fmla="*/ 481 w 10000"/>
              <a:gd name="connsiteY48" fmla="*/ 9623 h 10000"/>
              <a:gd name="connsiteX49" fmla="*/ 621 w 10000"/>
              <a:gd name="connsiteY49" fmla="*/ 9673 h 10000"/>
              <a:gd name="connsiteX50" fmla="*/ 758 w 10000"/>
              <a:gd name="connsiteY50" fmla="*/ 9720 h 10000"/>
              <a:gd name="connsiteX51" fmla="*/ 899 w 10000"/>
              <a:gd name="connsiteY51" fmla="*/ 9765 h 10000"/>
              <a:gd name="connsiteX52" fmla="*/ 1040 w 10000"/>
              <a:gd name="connsiteY52" fmla="*/ 9804 h 10000"/>
              <a:gd name="connsiteX53" fmla="*/ 1182 w 10000"/>
              <a:gd name="connsiteY53" fmla="*/ 9839 h 10000"/>
              <a:gd name="connsiteX54" fmla="*/ 1325 w 10000"/>
              <a:gd name="connsiteY54" fmla="*/ 9874 h 10000"/>
              <a:gd name="connsiteX55" fmla="*/ 1471 w 10000"/>
              <a:gd name="connsiteY55" fmla="*/ 9903 h 10000"/>
              <a:gd name="connsiteX56" fmla="*/ 1614 w 10000"/>
              <a:gd name="connsiteY56" fmla="*/ 9926 h 10000"/>
              <a:gd name="connsiteX57" fmla="*/ 1760 w 10000"/>
              <a:gd name="connsiteY57" fmla="*/ 9948 h 10000"/>
              <a:gd name="connsiteX58" fmla="*/ 1906 w 10000"/>
              <a:gd name="connsiteY58" fmla="*/ 9965 h 10000"/>
              <a:gd name="connsiteX59" fmla="*/ 2052 w 10000"/>
              <a:gd name="connsiteY59" fmla="*/ 9980 h 10000"/>
              <a:gd name="connsiteX60" fmla="*/ 2202 w 10000"/>
              <a:gd name="connsiteY60" fmla="*/ 9990 h 10000"/>
              <a:gd name="connsiteX61" fmla="*/ 2350 w 10000"/>
              <a:gd name="connsiteY61" fmla="*/ 9995 h 10000"/>
              <a:gd name="connsiteX62" fmla="*/ 2498 w 10000"/>
              <a:gd name="connsiteY62" fmla="*/ 10000 h 10000"/>
              <a:gd name="connsiteX63" fmla="*/ 2677 w 10000"/>
              <a:gd name="connsiteY63" fmla="*/ 9995 h 10000"/>
              <a:gd name="connsiteX64" fmla="*/ 2850 w 10000"/>
              <a:gd name="connsiteY64" fmla="*/ 9988 h 10000"/>
              <a:gd name="connsiteX65" fmla="*/ 3024 w 10000"/>
              <a:gd name="connsiteY65" fmla="*/ 9975 h 10000"/>
              <a:gd name="connsiteX66" fmla="*/ 3195 w 10000"/>
              <a:gd name="connsiteY66" fmla="*/ 9953 h 10000"/>
              <a:gd name="connsiteX67" fmla="*/ 3368 w 10000"/>
              <a:gd name="connsiteY67" fmla="*/ 9931 h 10000"/>
              <a:gd name="connsiteX68" fmla="*/ 3538 w 10000"/>
              <a:gd name="connsiteY68" fmla="*/ 9898 h 10000"/>
              <a:gd name="connsiteX69" fmla="*/ 3709 w 10000"/>
              <a:gd name="connsiteY69" fmla="*/ 9866 h 10000"/>
              <a:gd name="connsiteX70" fmla="*/ 3877 w 10000"/>
              <a:gd name="connsiteY70" fmla="*/ 9824 h 10000"/>
              <a:gd name="connsiteX71" fmla="*/ 4042 w 10000"/>
              <a:gd name="connsiteY71" fmla="*/ 9779 h 10000"/>
              <a:gd name="connsiteX72" fmla="*/ 4210 w 10000"/>
              <a:gd name="connsiteY72" fmla="*/ 9730 h 10000"/>
              <a:gd name="connsiteX73" fmla="*/ 4372 w 10000"/>
              <a:gd name="connsiteY73" fmla="*/ 9673 h 10000"/>
              <a:gd name="connsiteX74" fmla="*/ 4536 w 10000"/>
              <a:gd name="connsiteY74" fmla="*/ 9616 h 10000"/>
              <a:gd name="connsiteX75" fmla="*/ 4697 w 10000"/>
              <a:gd name="connsiteY75" fmla="*/ 9552 h 10000"/>
              <a:gd name="connsiteX76" fmla="*/ 4857 w 10000"/>
              <a:gd name="connsiteY76" fmla="*/ 9482 h 10000"/>
              <a:gd name="connsiteX77" fmla="*/ 5014 w 10000"/>
              <a:gd name="connsiteY77" fmla="*/ 9405 h 10000"/>
              <a:gd name="connsiteX78" fmla="*/ 5171 w 10000"/>
              <a:gd name="connsiteY78" fmla="*/ 9329 h 10000"/>
              <a:gd name="connsiteX79" fmla="*/ 5326 w 10000"/>
              <a:gd name="connsiteY79" fmla="*/ 9244 h 10000"/>
              <a:gd name="connsiteX80" fmla="*/ 5480 w 10000"/>
              <a:gd name="connsiteY80" fmla="*/ 9158 h 10000"/>
              <a:gd name="connsiteX81" fmla="*/ 5631 w 10000"/>
              <a:gd name="connsiteY81" fmla="*/ 9063 h 10000"/>
              <a:gd name="connsiteX82" fmla="*/ 5781 w 10000"/>
              <a:gd name="connsiteY82" fmla="*/ 8967 h 10000"/>
              <a:gd name="connsiteX83" fmla="*/ 5931 w 10000"/>
              <a:gd name="connsiteY83" fmla="*/ 8865 h 10000"/>
              <a:gd name="connsiteX84" fmla="*/ 6075 w 10000"/>
              <a:gd name="connsiteY84" fmla="*/ 8759 h 10000"/>
              <a:gd name="connsiteX85" fmla="*/ 6221 w 10000"/>
              <a:gd name="connsiteY85" fmla="*/ 8652 h 10000"/>
              <a:gd name="connsiteX86" fmla="*/ 6364 w 10000"/>
              <a:gd name="connsiteY86" fmla="*/ 8536 h 10000"/>
              <a:gd name="connsiteX87" fmla="*/ 6505 w 10000"/>
              <a:gd name="connsiteY87" fmla="*/ 8417 h 10000"/>
              <a:gd name="connsiteX88" fmla="*/ 6642 w 10000"/>
              <a:gd name="connsiteY88" fmla="*/ 8295 h 10000"/>
              <a:gd name="connsiteX89" fmla="*/ 6780 w 10000"/>
              <a:gd name="connsiteY89" fmla="*/ 8169 h 10000"/>
              <a:gd name="connsiteX90" fmla="*/ 6913 w 10000"/>
              <a:gd name="connsiteY90" fmla="*/ 8040 h 10000"/>
              <a:gd name="connsiteX91" fmla="*/ 7045 w 10000"/>
              <a:gd name="connsiteY91" fmla="*/ 7904 h 10000"/>
              <a:gd name="connsiteX92" fmla="*/ 7175 w 10000"/>
              <a:gd name="connsiteY92" fmla="*/ 7768 h 10000"/>
              <a:gd name="connsiteX93" fmla="*/ 7304 w 10000"/>
              <a:gd name="connsiteY93" fmla="*/ 7624 h 10000"/>
              <a:gd name="connsiteX94" fmla="*/ 7429 w 10000"/>
              <a:gd name="connsiteY94" fmla="*/ 7480 h 10000"/>
              <a:gd name="connsiteX95" fmla="*/ 7552 w 10000"/>
              <a:gd name="connsiteY95" fmla="*/ 7329 h 10000"/>
              <a:gd name="connsiteX96" fmla="*/ 7673 w 10000"/>
              <a:gd name="connsiteY96" fmla="*/ 7178 h 10000"/>
              <a:gd name="connsiteX97" fmla="*/ 7792 w 10000"/>
              <a:gd name="connsiteY97" fmla="*/ 7024 h 10000"/>
              <a:gd name="connsiteX98" fmla="*/ 7907 w 10000"/>
              <a:gd name="connsiteY98" fmla="*/ 6861 h 10000"/>
              <a:gd name="connsiteX99" fmla="*/ 8022 w 10000"/>
              <a:gd name="connsiteY99" fmla="*/ 6697 h 10000"/>
              <a:gd name="connsiteX100" fmla="*/ 8133 w 10000"/>
              <a:gd name="connsiteY100" fmla="*/ 6534 h 10000"/>
              <a:gd name="connsiteX101" fmla="*/ 8240 w 10000"/>
              <a:gd name="connsiteY101" fmla="*/ 6365 h 10000"/>
              <a:gd name="connsiteX102" fmla="*/ 8347 w 10000"/>
              <a:gd name="connsiteY102" fmla="*/ 6189 h 10000"/>
              <a:gd name="connsiteX103" fmla="*/ 8450 w 10000"/>
              <a:gd name="connsiteY103" fmla="*/ 6016 h 10000"/>
              <a:gd name="connsiteX104" fmla="*/ 8552 w 10000"/>
              <a:gd name="connsiteY104" fmla="*/ 5835 h 10000"/>
              <a:gd name="connsiteX105" fmla="*/ 8650 w 10000"/>
              <a:gd name="connsiteY105" fmla="*/ 5652 h 10000"/>
              <a:gd name="connsiteX106" fmla="*/ 8745 w 10000"/>
              <a:gd name="connsiteY106" fmla="*/ 5468 h 10000"/>
              <a:gd name="connsiteX107" fmla="*/ 8837 w 10000"/>
              <a:gd name="connsiteY107" fmla="*/ 5278 h 10000"/>
              <a:gd name="connsiteX108" fmla="*/ 8927 w 10000"/>
              <a:gd name="connsiteY108" fmla="*/ 5089 h 10000"/>
              <a:gd name="connsiteX109" fmla="*/ 9014 w 10000"/>
              <a:gd name="connsiteY109" fmla="*/ 4893 h 10000"/>
              <a:gd name="connsiteX110" fmla="*/ 9098 w 10000"/>
              <a:gd name="connsiteY110" fmla="*/ 4698 h 10000"/>
              <a:gd name="connsiteX111" fmla="*/ 9178 w 10000"/>
              <a:gd name="connsiteY111" fmla="*/ 4500 h 10000"/>
              <a:gd name="connsiteX112" fmla="*/ 9256 w 10000"/>
              <a:gd name="connsiteY112" fmla="*/ 4294 h 10000"/>
              <a:gd name="connsiteX113" fmla="*/ 9330 w 10000"/>
              <a:gd name="connsiteY113" fmla="*/ 4091 h 10000"/>
              <a:gd name="connsiteX114" fmla="*/ 9401 w 10000"/>
              <a:gd name="connsiteY114" fmla="*/ 3885 h 10000"/>
              <a:gd name="connsiteX115" fmla="*/ 9470 w 10000"/>
              <a:gd name="connsiteY115" fmla="*/ 3674 h 10000"/>
              <a:gd name="connsiteX116" fmla="*/ 9535 w 10000"/>
              <a:gd name="connsiteY116" fmla="*/ 3464 h 10000"/>
              <a:gd name="connsiteX117" fmla="*/ 9599 w 10000"/>
              <a:gd name="connsiteY117" fmla="*/ 3248 h 10000"/>
              <a:gd name="connsiteX118" fmla="*/ 9656 w 10000"/>
              <a:gd name="connsiteY118" fmla="*/ 3030 h 10000"/>
              <a:gd name="connsiteX119" fmla="*/ 9711 w 10000"/>
              <a:gd name="connsiteY119" fmla="*/ 2815 h 10000"/>
              <a:gd name="connsiteX120" fmla="*/ 9763 w 10000"/>
              <a:gd name="connsiteY120" fmla="*/ 2592 h 10000"/>
              <a:gd name="connsiteX121" fmla="*/ 9813 w 10000"/>
              <a:gd name="connsiteY121" fmla="*/ 2369 h 10000"/>
              <a:gd name="connsiteX122" fmla="*/ 9856 w 10000"/>
              <a:gd name="connsiteY122" fmla="*/ 2143 h 10000"/>
              <a:gd name="connsiteX123" fmla="*/ 9898 w 10000"/>
              <a:gd name="connsiteY123" fmla="*/ 1918 h 10000"/>
              <a:gd name="connsiteX124" fmla="*/ 9936 w 10000"/>
              <a:gd name="connsiteY124" fmla="*/ 1690 h 10000"/>
              <a:gd name="connsiteX125" fmla="*/ 9970 w 10000"/>
              <a:gd name="connsiteY125" fmla="*/ 1457 h 10000"/>
              <a:gd name="connsiteX126" fmla="*/ 10000 w 10000"/>
              <a:gd name="connsiteY126" fmla="*/ 1222 h 10000"/>
              <a:gd name="connsiteX127" fmla="*/ 7611 w 10000"/>
              <a:gd name="connsiteY127" fmla="*/ 1876 h 10000"/>
              <a:gd name="connsiteX128" fmla="*/ 5615 w 10000"/>
              <a:gd name="connsiteY12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0 w 10000"/>
              <a:gd name="connsiteY44" fmla="*/ 6085 h 10000"/>
              <a:gd name="connsiteX45" fmla="*/ 209 w 10000"/>
              <a:gd name="connsiteY45" fmla="*/ 9512 h 10000"/>
              <a:gd name="connsiteX46" fmla="*/ 344 w 10000"/>
              <a:gd name="connsiteY46" fmla="*/ 9569 h 10000"/>
              <a:gd name="connsiteX47" fmla="*/ 481 w 10000"/>
              <a:gd name="connsiteY47" fmla="*/ 9623 h 10000"/>
              <a:gd name="connsiteX48" fmla="*/ 621 w 10000"/>
              <a:gd name="connsiteY48" fmla="*/ 9673 h 10000"/>
              <a:gd name="connsiteX49" fmla="*/ 758 w 10000"/>
              <a:gd name="connsiteY49" fmla="*/ 9720 h 10000"/>
              <a:gd name="connsiteX50" fmla="*/ 899 w 10000"/>
              <a:gd name="connsiteY50" fmla="*/ 9765 h 10000"/>
              <a:gd name="connsiteX51" fmla="*/ 1040 w 10000"/>
              <a:gd name="connsiteY51" fmla="*/ 9804 h 10000"/>
              <a:gd name="connsiteX52" fmla="*/ 1182 w 10000"/>
              <a:gd name="connsiteY52" fmla="*/ 9839 h 10000"/>
              <a:gd name="connsiteX53" fmla="*/ 1325 w 10000"/>
              <a:gd name="connsiteY53" fmla="*/ 9874 h 10000"/>
              <a:gd name="connsiteX54" fmla="*/ 1471 w 10000"/>
              <a:gd name="connsiteY54" fmla="*/ 9903 h 10000"/>
              <a:gd name="connsiteX55" fmla="*/ 1614 w 10000"/>
              <a:gd name="connsiteY55" fmla="*/ 9926 h 10000"/>
              <a:gd name="connsiteX56" fmla="*/ 1760 w 10000"/>
              <a:gd name="connsiteY56" fmla="*/ 9948 h 10000"/>
              <a:gd name="connsiteX57" fmla="*/ 1906 w 10000"/>
              <a:gd name="connsiteY57" fmla="*/ 9965 h 10000"/>
              <a:gd name="connsiteX58" fmla="*/ 2052 w 10000"/>
              <a:gd name="connsiteY58" fmla="*/ 9980 h 10000"/>
              <a:gd name="connsiteX59" fmla="*/ 2202 w 10000"/>
              <a:gd name="connsiteY59" fmla="*/ 9990 h 10000"/>
              <a:gd name="connsiteX60" fmla="*/ 2350 w 10000"/>
              <a:gd name="connsiteY60" fmla="*/ 9995 h 10000"/>
              <a:gd name="connsiteX61" fmla="*/ 2498 w 10000"/>
              <a:gd name="connsiteY61" fmla="*/ 10000 h 10000"/>
              <a:gd name="connsiteX62" fmla="*/ 2677 w 10000"/>
              <a:gd name="connsiteY62" fmla="*/ 9995 h 10000"/>
              <a:gd name="connsiteX63" fmla="*/ 2850 w 10000"/>
              <a:gd name="connsiteY63" fmla="*/ 9988 h 10000"/>
              <a:gd name="connsiteX64" fmla="*/ 3024 w 10000"/>
              <a:gd name="connsiteY64" fmla="*/ 9975 h 10000"/>
              <a:gd name="connsiteX65" fmla="*/ 3195 w 10000"/>
              <a:gd name="connsiteY65" fmla="*/ 9953 h 10000"/>
              <a:gd name="connsiteX66" fmla="*/ 3368 w 10000"/>
              <a:gd name="connsiteY66" fmla="*/ 9931 h 10000"/>
              <a:gd name="connsiteX67" fmla="*/ 3538 w 10000"/>
              <a:gd name="connsiteY67" fmla="*/ 9898 h 10000"/>
              <a:gd name="connsiteX68" fmla="*/ 3709 w 10000"/>
              <a:gd name="connsiteY68" fmla="*/ 9866 h 10000"/>
              <a:gd name="connsiteX69" fmla="*/ 3877 w 10000"/>
              <a:gd name="connsiteY69" fmla="*/ 9824 h 10000"/>
              <a:gd name="connsiteX70" fmla="*/ 4042 w 10000"/>
              <a:gd name="connsiteY70" fmla="*/ 9779 h 10000"/>
              <a:gd name="connsiteX71" fmla="*/ 4210 w 10000"/>
              <a:gd name="connsiteY71" fmla="*/ 9730 h 10000"/>
              <a:gd name="connsiteX72" fmla="*/ 4372 w 10000"/>
              <a:gd name="connsiteY72" fmla="*/ 9673 h 10000"/>
              <a:gd name="connsiteX73" fmla="*/ 4536 w 10000"/>
              <a:gd name="connsiteY73" fmla="*/ 9616 h 10000"/>
              <a:gd name="connsiteX74" fmla="*/ 4697 w 10000"/>
              <a:gd name="connsiteY74" fmla="*/ 9552 h 10000"/>
              <a:gd name="connsiteX75" fmla="*/ 4857 w 10000"/>
              <a:gd name="connsiteY75" fmla="*/ 9482 h 10000"/>
              <a:gd name="connsiteX76" fmla="*/ 5014 w 10000"/>
              <a:gd name="connsiteY76" fmla="*/ 9405 h 10000"/>
              <a:gd name="connsiteX77" fmla="*/ 5171 w 10000"/>
              <a:gd name="connsiteY77" fmla="*/ 9329 h 10000"/>
              <a:gd name="connsiteX78" fmla="*/ 5326 w 10000"/>
              <a:gd name="connsiteY78" fmla="*/ 9244 h 10000"/>
              <a:gd name="connsiteX79" fmla="*/ 5480 w 10000"/>
              <a:gd name="connsiteY79" fmla="*/ 9158 h 10000"/>
              <a:gd name="connsiteX80" fmla="*/ 5631 w 10000"/>
              <a:gd name="connsiteY80" fmla="*/ 9063 h 10000"/>
              <a:gd name="connsiteX81" fmla="*/ 5781 w 10000"/>
              <a:gd name="connsiteY81" fmla="*/ 8967 h 10000"/>
              <a:gd name="connsiteX82" fmla="*/ 5931 w 10000"/>
              <a:gd name="connsiteY82" fmla="*/ 8865 h 10000"/>
              <a:gd name="connsiteX83" fmla="*/ 6075 w 10000"/>
              <a:gd name="connsiteY83" fmla="*/ 8759 h 10000"/>
              <a:gd name="connsiteX84" fmla="*/ 6221 w 10000"/>
              <a:gd name="connsiteY84" fmla="*/ 8652 h 10000"/>
              <a:gd name="connsiteX85" fmla="*/ 6364 w 10000"/>
              <a:gd name="connsiteY85" fmla="*/ 8536 h 10000"/>
              <a:gd name="connsiteX86" fmla="*/ 6505 w 10000"/>
              <a:gd name="connsiteY86" fmla="*/ 8417 h 10000"/>
              <a:gd name="connsiteX87" fmla="*/ 6642 w 10000"/>
              <a:gd name="connsiteY87" fmla="*/ 8295 h 10000"/>
              <a:gd name="connsiteX88" fmla="*/ 6780 w 10000"/>
              <a:gd name="connsiteY88" fmla="*/ 8169 h 10000"/>
              <a:gd name="connsiteX89" fmla="*/ 6913 w 10000"/>
              <a:gd name="connsiteY89" fmla="*/ 8040 h 10000"/>
              <a:gd name="connsiteX90" fmla="*/ 7045 w 10000"/>
              <a:gd name="connsiteY90" fmla="*/ 7904 h 10000"/>
              <a:gd name="connsiteX91" fmla="*/ 7175 w 10000"/>
              <a:gd name="connsiteY91" fmla="*/ 7768 h 10000"/>
              <a:gd name="connsiteX92" fmla="*/ 7304 w 10000"/>
              <a:gd name="connsiteY92" fmla="*/ 7624 h 10000"/>
              <a:gd name="connsiteX93" fmla="*/ 7429 w 10000"/>
              <a:gd name="connsiteY93" fmla="*/ 7480 h 10000"/>
              <a:gd name="connsiteX94" fmla="*/ 7552 w 10000"/>
              <a:gd name="connsiteY94" fmla="*/ 7329 h 10000"/>
              <a:gd name="connsiteX95" fmla="*/ 7673 w 10000"/>
              <a:gd name="connsiteY95" fmla="*/ 7178 h 10000"/>
              <a:gd name="connsiteX96" fmla="*/ 7792 w 10000"/>
              <a:gd name="connsiteY96" fmla="*/ 7024 h 10000"/>
              <a:gd name="connsiteX97" fmla="*/ 7907 w 10000"/>
              <a:gd name="connsiteY97" fmla="*/ 6861 h 10000"/>
              <a:gd name="connsiteX98" fmla="*/ 8022 w 10000"/>
              <a:gd name="connsiteY98" fmla="*/ 6697 h 10000"/>
              <a:gd name="connsiteX99" fmla="*/ 8133 w 10000"/>
              <a:gd name="connsiteY99" fmla="*/ 6534 h 10000"/>
              <a:gd name="connsiteX100" fmla="*/ 8240 w 10000"/>
              <a:gd name="connsiteY100" fmla="*/ 6365 h 10000"/>
              <a:gd name="connsiteX101" fmla="*/ 8347 w 10000"/>
              <a:gd name="connsiteY101" fmla="*/ 6189 h 10000"/>
              <a:gd name="connsiteX102" fmla="*/ 8450 w 10000"/>
              <a:gd name="connsiteY102" fmla="*/ 6016 h 10000"/>
              <a:gd name="connsiteX103" fmla="*/ 8552 w 10000"/>
              <a:gd name="connsiteY103" fmla="*/ 5835 h 10000"/>
              <a:gd name="connsiteX104" fmla="*/ 8650 w 10000"/>
              <a:gd name="connsiteY104" fmla="*/ 5652 h 10000"/>
              <a:gd name="connsiteX105" fmla="*/ 8745 w 10000"/>
              <a:gd name="connsiteY105" fmla="*/ 5468 h 10000"/>
              <a:gd name="connsiteX106" fmla="*/ 8837 w 10000"/>
              <a:gd name="connsiteY106" fmla="*/ 5278 h 10000"/>
              <a:gd name="connsiteX107" fmla="*/ 8927 w 10000"/>
              <a:gd name="connsiteY107" fmla="*/ 5089 h 10000"/>
              <a:gd name="connsiteX108" fmla="*/ 9014 w 10000"/>
              <a:gd name="connsiteY108" fmla="*/ 4893 h 10000"/>
              <a:gd name="connsiteX109" fmla="*/ 9098 w 10000"/>
              <a:gd name="connsiteY109" fmla="*/ 4698 h 10000"/>
              <a:gd name="connsiteX110" fmla="*/ 9178 w 10000"/>
              <a:gd name="connsiteY110" fmla="*/ 4500 h 10000"/>
              <a:gd name="connsiteX111" fmla="*/ 9256 w 10000"/>
              <a:gd name="connsiteY111" fmla="*/ 4294 h 10000"/>
              <a:gd name="connsiteX112" fmla="*/ 9330 w 10000"/>
              <a:gd name="connsiteY112" fmla="*/ 4091 h 10000"/>
              <a:gd name="connsiteX113" fmla="*/ 9401 w 10000"/>
              <a:gd name="connsiteY113" fmla="*/ 3885 h 10000"/>
              <a:gd name="connsiteX114" fmla="*/ 9470 w 10000"/>
              <a:gd name="connsiteY114" fmla="*/ 3674 h 10000"/>
              <a:gd name="connsiteX115" fmla="*/ 9535 w 10000"/>
              <a:gd name="connsiteY115" fmla="*/ 3464 h 10000"/>
              <a:gd name="connsiteX116" fmla="*/ 9599 w 10000"/>
              <a:gd name="connsiteY116" fmla="*/ 3248 h 10000"/>
              <a:gd name="connsiteX117" fmla="*/ 9656 w 10000"/>
              <a:gd name="connsiteY117" fmla="*/ 3030 h 10000"/>
              <a:gd name="connsiteX118" fmla="*/ 9711 w 10000"/>
              <a:gd name="connsiteY118" fmla="*/ 2815 h 10000"/>
              <a:gd name="connsiteX119" fmla="*/ 9763 w 10000"/>
              <a:gd name="connsiteY119" fmla="*/ 2592 h 10000"/>
              <a:gd name="connsiteX120" fmla="*/ 9813 w 10000"/>
              <a:gd name="connsiteY120" fmla="*/ 2369 h 10000"/>
              <a:gd name="connsiteX121" fmla="*/ 9856 w 10000"/>
              <a:gd name="connsiteY121" fmla="*/ 2143 h 10000"/>
              <a:gd name="connsiteX122" fmla="*/ 9898 w 10000"/>
              <a:gd name="connsiteY122" fmla="*/ 1918 h 10000"/>
              <a:gd name="connsiteX123" fmla="*/ 9936 w 10000"/>
              <a:gd name="connsiteY123" fmla="*/ 1690 h 10000"/>
              <a:gd name="connsiteX124" fmla="*/ 9970 w 10000"/>
              <a:gd name="connsiteY124" fmla="*/ 1457 h 10000"/>
              <a:gd name="connsiteX125" fmla="*/ 10000 w 10000"/>
              <a:gd name="connsiteY125" fmla="*/ 1222 h 10000"/>
              <a:gd name="connsiteX126" fmla="*/ 7611 w 10000"/>
              <a:gd name="connsiteY126" fmla="*/ 1876 h 10000"/>
              <a:gd name="connsiteX127" fmla="*/ 5615 w 10000"/>
              <a:gd name="connsiteY127" fmla="*/ 0 h 10000"/>
              <a:gd name="connsiteX0" fmla="*/ 5407 w 9792"/>
              <a:gd name="connsiteY0" fmla="*/ 0 h 10000"/>
              <a:gd name="connsiteX1" fmla="*/ 5407 w 9792"/>
              <a:gd name="connsiteY1" fmla="*/ 0 h 10000"/>
              <a:gd name="connsiteX2" fmla="*/ 5398 w 9792"/>
              <a:gd name="connsiteY2" fmla="*/ 99 h 10000"/>
              <a:gd name="connsiteX3" fmla="*/ 5384 w 9792"/>
              <a:gd name="connsiteY3" fmla="*/ 201 h 10000"/>
              <a:gd name="connsiteX4" fmla="*/ 5372 w 9792"/>
              <a:gd name="connsiteY4" fmla="*/ 300 h 10000"/>
              <a:gd name="connsiteX5" fmla="*/ 5357 w 9792"/>
              <a:gd name="connsiteY5" fmla="*/ 394 h 10000"/>
              <a:gd name="connsiteX6" fmla="*/ 5339 w 9792"/>
              <a:gd name="connsiteY6" fmla="*/ 491 h 10000"/>
              <a:gd name="connsiteX7" fmla="*/ 5320 w 9792"/>
              <a:gd name="connsiteY7" fmla="*/ 587 h 10000"/>
              <a:gd name="connsiteX8" fmla="*/ 5300 w 9792"/>
              <a:gd name="connsiteY8" fmla="*/ 684 h 10000"/>
              <a:gd name="connsiteX9" fmla="*/ 5279 w 9792"/>
              <a:gd name="connsiteY9" fmla="*/ 778 h 10000"/>
              <a:gd name="connsiteX10" fmla="*/ 5257 w 9792"/>
              <a:gd name="connsiteY10" fmla="*/ 870 h 10000"/>
              <a:gd name="connsiteX11" fmla="*/ 5231 w 9792"/>
              <a:gd name="connsiteY11" fmla="*/ 961 h 10000"/>
              <a:gd name="connsiteX12" fmla="*/ 5207 w 9792"/>
              <a:gd name="connsiteY12" fmla="*/ 1053 h 10000"/>
              <a:gd name="connsiteX13" fmla="*/ 5179 w 9792"/>
              <a:gd name="connsiteY13" fmla="*/ 1145 h 10000"/>
              <a:gd name="connsiteX14" fmla="*/ 5150 w 9792"/>
              <a:gd name="connsiteY14" fmla="*/ 1231 h 10000"/>
              <a:gd name="connsiteX15" fmla="*/ 5120 w 9792"/>
              <a:gd name="connsiteY15" fmla="*/ 1318 h 10000"/>
              <a:gd name="connsiteX16" fmla="*/ 5090 w 9792"/>
              <a:gd name="connsiteY16" fmla="*/ 1405 h 10000"/>
              <a:gd name="connsiteX17" fmla="*/ 5058 w 9792"/>
              <a:gd name="connsiteY17" fmla="*/ 1494 h 10000"/>
              <a:gd name="connsiteX18" fmla="*/ 5024 w 9792"/>
              <a:gd name="connsiteY18" fmla="*/ 1578 h 10000"/>
              <a:gd name="connsiteX19" fmla="*/ 4988 w 9792"/>
              <a:gd name="connsiteY19" fmla="*/ 1663 h 10000"/>
              <a:gd name="connsiteX20" fmla="*/ 4952 w 9792"/>
              <a:gd name="connsiteY20" fmla="*/ 1742 h 10000"/>
              <a:gd name="connsiteX21" fmla="*/ 4913 w 9792"/>
              <a:gd name="connsiteY21" fmla="*/ 1824 h 10000"/>
              <a:gd name="connsiteX22" fmla="*/ 4874 w 9792"/>
              <a:gd name="connsiteY22" fmla="*/ 1903 h 10000"/>
              <a:gd name="connsiteX23" fmla="*/ 4835 w 9792"/>
              <a:gd name="connsiteY23" fmla="*/ 1985 h 10000"/>
              <a:gd name="connsiteX24" fmla="*/ 4794 w 9792"/>
              <a:gd name="connsiteY24" fmla="*/ 2059 h 10000"/>
              <a:gd name="connsiteX25" fmla="*/ 4751 w 9792"/>
              <a:gd name="connsiteY25" fmla="*/ 2133 h 10000"/>
              <a:gd name="connsiteX26" fmla="*/ 4706 w 9792"/>
              <a:gd name="connsiteY26" fmla="*/ 2210 h 10000"/>
              <a:gd name="connsiteX27" fmla="*/ 4662 w 9792"/>
              <a:gd name="connsiteY27" fmla="*/ 2282 h 10000"/>
              <a:gd name="connsiteX28" fmla="*/ 4615 w 9792"/>
              <a:gd name="connsiteY28" fmla="*/ 2354 h 10000"/>
              <a:gd name="connsiteX29" fmla="*/ 4569 w 9792"/>
              <a:gd name="connsiteY29" fmla="*/ 2426 h 10000"/>
              <a:gd name="connsiteX30" fmla="*/ 4521 w 9792"/>
              <a:gd name="connsiteY30" fmla="*/ 2495 h 10000"/>
              <a:gd name="connsiteX31" fmla="*/ 4471 w 9792"/>
              <a:gd name="connsiteY31" fmla="*/ 2562 h 10000"/>
              <a:gd name="connsiteX32" fmla="*/ 4421 w 9792"/>
              <a:gd name="connsiteY32" fmla="*/ 2626 h 10000"/>
              <a:gd name="connsiteX33" fmla="*/ 4369 w 9792"/>
              <a:gd name="connsiteY33" fmla="*/ 2691 h 10000"/>
              <a:gd name="connsiteX34" fmla="*/ 4318 w 9792"/>
              <a:gd name="connsiteY34" fmla="*/ 2753 h 10000"/>
              <a:gd name="connsiteX35" fmla="*/ 4262 w 9792"/>
              <a:gd name="connsiteY35" fmla="*/ 2817 h 10000"/>
              <a:gd name="connsiteX36" fmla="*/ 4209 w 9792"/>
              <a:gd name="connsiteY36" fmla="*/ 2874 h 10000"/>
              <a:gd name="connsiteX37" fmla="*/ 4154 w 9792"/>
              <a:gd name="connsiteY37" fmla="*/ 2934 h 10000"/>
              <a:gd name="connsiteX38" fmla="*/ 4097 w 9792"/>
              <a:gd name="connsiteY38" fmla="*/ 2988 h 10000"/>
              <a:gd name="connsiteX39" fmla="*/ 4040 w 9792"/>
              <a:gd name="connsiteY39" fmla="*/ 3043 h 10000"/>
              <a:gd name="connsiteX40" fmla="*/ 3982 w 9792"/>
              <a:gd name="connsiteY40" fmla="*/ 3097 h 10000"/>
              <a:gd name="connsiteX41" fmla="*/ 3924 w 9792"/>
              <a:gd name="connsiteY41" fmla="*/ 3149 h 10000"/>
              <a:gd name="connsiteX42" fmla="*/ 3863 w 9792"/>
              <a:gd name="connsiteY42" fmla="*/ 3196 h 10000"/>
              <a:gd name="connsiteX43" fmla="*/ 3802 w 9792"/>
              <a:gd name="connsiteY43" fmla="*/ 3243 h 10000"/>
              <a:gd name="connsiteX44" fmla="*/ 3906 w 9792"/>
              <a:gd name="connsiteY44" fmla="*/ 6588 h 10000"/>
              <a:gd name="connsiteX45" fmla="*/ 1 w 9792"/>
              <a:gd name="connsiteY45" fmla="*/ 9512 h 10000"/>
              <a:gd name="connsiteX46" fmla="*/ 136 w 9792"/>
              <a:gd name="connsiteY46" fmla="*/ 9569 h 10000"/>
              <a:gd name="connsiteX47" fmla="*/ 273 w 9792"/>
              <a:gd name="connsiteY47" fmla="*/ 9623 h 10000"/>
              <a:gd name="connsiteX48" fmla="*/ 413 w 9792"/>
              <a:gd name="connsiteY48" fmla="*/ 9673 h 10000"/>
              <a:gd name="connsiteX49" fmla="*/ 550 w 9792"/>
              <a:gd name="connsiteY49" fmla="*/ 9720 h 10000"/>
              <a:gd name="connsiteX50" fmla="*/ 691 w 9792"/>
              <a:gd name="connsiteY50" fmla="*/ 9765 h 10000"/>
              <a:gd name="connsiteX51" fmla="*/ 832 w 9792"/>
              <a:gd name="connsiteY51" fmla="*/ 9804 h 10000"/>
              <a:gd name="connsiteX52" fmla="*/ 974 w 9792"/>
              <a:gd name="connsiteY52" fmla="*/ 9839 h 10000"/>
              <a:gd name="connsiteX53" fmla="*/ 1117 w 9792"/>
              <a:gd name="connsiteY53" fmla="*/ 9874 h 10000"/>
              <a:gd name="connsiteX54" fmla="*/ 1263 w 9792"/>
              <a:gd name="connsiteY54" fmla="*/ 9903 h 10000"/>
              <a:gd name="connsiteX55" fmla="*/ 1406 w 9792"/>
              <a:gd name="connsiteY55" fmla="*/ 9926 h 10000"/>
              <a:gd name="connsiteX56" fmla="*/ 1552 w 9792"/>
              <a:gd name="connsiteY56" fmla="*/ 9948 h 10000"/>
              <a:gd name="connsiteX57" fmla="*/ 1698 w 9792"/>
              <a:gd name="connsiteY57" fmla="*/ 9965 h 10000"/>
              <a:gd name="connsiteX58" fmla="*/ 1844 w 9792"/>
              <a:gd name="connsiteY58" fmla="*/ 9980 h 10000"/>
              <a:gd name="connsiteX59" fmla="*/ 1994 w 9792"/>
              <a:gd name="connsiteY59" fmla="*/ 9990 h 10000"/>
              <a:gd name="connsiteX60" fmla="*/ 2142 w 9792"/>
              <a:gd name="connsiteY60" fmla="*/ 9995 h 10000"/>
              <a:gd name="connsiteX61" fmla="*/ 2290 w 9792"/>
              <a:gd name="connsiteY61" fmla="*/ 10000 h 10000"/>
              <a:gd name="connsiteX62" fmla="*/ 2469 w 9792"/>
              <a:gd name="connsiteY62" fmla="*/ 9995 h 10000"/>
              <a:gd name="connsiteX63" fmla="*/ 2642 w 9792"/>
              <a:gd name="connsiteY63" fmla="*/ 9988 h 10000"/>
              <a:gd name="connsiteX64" fmla="*/ 2816 w 9792"/>
              <a:gd name="connsiteY64" fmla="*/ 9975 h 10000"/>
              <a:gd name="connsiteX65" fmla="*/ 2987 w 9792"/>
              <a:gd name="connsiteY65" fmla="*/ 9953 h 10000"/>
              <a:gd name="connsiteX66" fmla="*/ 3160 w 9792"/>
              <a:gd name="connsiteY66" fmla="*/ 9931 h 10000"/>
              <a:gd name="connsiteX67" fmla="*/ 3330 w 9792"/>
              <a:gd name="connsiteY67" fmla="*/ 9898 h 10000"/>
              <a:gd name="connsiteX68" fmla="*/ 3501 w 9792"/>
              <a:gd name="connsiteY68" fmla="*/ 9866 h 10000"/>
              <a:gd name="connsiteX69" fmla="*/ 3669 w 9792"/>
              <a:gd name="connsiteY69" fmla="*/ 9824 h 10000"/>
              <a:gd name="connsiteX70" fmla="*/ 3834 w 9792"/>
              <a:gd name="connsiteY70" fmla="*/ 9779 h 10000"/>
              <a:gd name="connsiteX71" fmla="*/ 4002 w 9792"/>
              <a:gd name="connsiteY71" fmla="*/ 9730 h 10000"/>
              <a:gd name="connsiteX72" fmla="*/ 4164 w 9792"/>
              <a:gd name="connsiteY72" fmla="*/ 9673 h 10000"/>
              <a:gd name="connsiteX73" fmla="*/ 4328 w 9792"/>
              <a:gd name="connsiteY73" fmla="*/ 9616 h 10000"/>
              <a:gd name="connsiteX74" fmla="*/ 4489 w 9792"/>
              <a:gd name="connsiteY74" fmla="*/ 9552 h 10000"/>
              <a:gd name="connsiteX75" fmla="*/ 4649 w 9792"/>
              <a:gd name="connsiteY75" fmla="*/ 9482 h 10000"/>
              <a:gd name="connsiteX76" fmla="*/ 4806 w 9792"/>
              <a:gd name="connsiteY76" fmla="*/ 9405 h 10000"/>
              <a:gd name="connsiteX77" fmla="*/ 4963 w 9792"/>
              <a:gd name="connsiteY77" fmla="*/ 9329 h 10000"/>
              <a:gd name="connsiteX78" fmla="*/ 5118 w 9792"/>
              <a:gd name="connsiteY78" fmla="*/ 9244 h 10000"/>
              <a:gd name="connsiteX79" fmla="*/ 5272 w 9792"/>
              <a:gd name="connsiteY79" fmla="*/ 9158 h 10000"/>
              <a:gd name="connsiteX80" fmla="*/ 5423 w 9792"/>
              <a:gd name="connsiteY80" fmla="*/ 9063 h 10000"/>
              <a:gd name="connsiteX81" fmla="*/ 5573 w 9792"/>
              <a:gd name="connsiteY81" fmla="*/ 8967 h 10000"/>
              <a:gd name="connsiteX82" fmla="*/ 5723 w 9792"/>
              <a:gd name="connsiteY82" fmla="*/ 8865 h 10000"/>
              <a:gd name="connsiteX83" fmla="*/ 5867 w 9792"/>
              <a:gd name="connsiteY83" fmla="*/ 8759 h 10000"/>
              <a:gd name="connsiteX84" fmla="*/ 6013 w 9792"/>
              <a:gd name="connsiteY84" fmla="*/ 8652 h 10000"/>
              <a:gd name="connsiteX85" fmla="*/ 6156 w 9792"/>
              <a:gd name="connsiteY85" fmla="*/ 8536 h 10000"/>
              <a:gd name="connsiteX86" fmla="*/ 6297 w 9792"/>
              <a:gd name="connsiteY86" fmla="*/ 8417 h 10000"/>
              <a:gd name="connsiteX87" fmla="*/ 6434 w 9792"/>
              <a:gd name="connsiteY87" fmla="*/ 8295 h 10000"/>
              <a:gd name="connsiteX88" fmla="*/ 6572 w 9792"/>
              <a:gd name="connsiteY88" fmla="*/ 8169 h 10000"/>
              <a:gd name="connsiteX89" fmla="*/ 6705 w 9792"/>
              <a:gd name="connsiteY89" fmla="*/ 8040 h 10000"/>
              <a:gd name="connsiteX90" fmla="*/ 6837 w 9792"/>
              <a:gd name="connsiteY90" fmla="*/ 7904 h 10000"/>
              <a:gd name="connsiteX91" fmla="*/ 6967 w 9792"/>
              <a:gd name="connsiteY91" fmla="*/ 7768 h 10000"/>
              <a:gd name="connsiteX92" fmla="*/ 7096 w 9792"/>
              <a:gd name="connsiteY92" fmla="*/ 7624 h 10000"/>
              <a:gd name="connsiteX93" fmla="*/ 7221 w 9792"/>
              <a:gd name="connsiteY93" fmla="*/ 7480 h 10000"/>
              <a:gd name="connsiteX94" fmla="*/ 7344 w 9792"/>
              <a:gd name="connsiteY94" fmla="*/ 7329 h 10000"/>
              <a:gd name="connsiteX95" fmla="*/ 7465 w 9792"/>
              <a:gd name="connsiteY95" fmla="*/ 7178 h 10000"/>
              <a:gd name="connsiteX96" fmla="*/ 7584 w 9792"/>
              <a:gd name="connsiteY96" fmla="*/ 7024 h 10000"/>
              <a:gd name="connsiteX97" fmla="*/ 7699 w 9792"/>
              <a:gd name="connsiteY97" fmla="*/ 6861 h 10000"/>
              <a:gd name="connsiteX98" fmla="*/ 7814 w 9792"/>
              <a:gd name="connsiteY98" fmla="*/ 6697 h 10000"/>
              <a:gd name="connsiteX99" fmla="*/ 7925 w 9792"/>
              <a:gd name="connsiteY99" fmla="*/ 6534 h 10000"/>
              <a:gd name="connsiteX100" fmla="*/ 8032 w 9792"/>
              <a:gd name="connsiteY100" fmla="*/ 6365 h 10000"/>
              <a:gd name="connsiteX101" fmla="*/ 8139 w 9792"/>
              <a:gd name="connsiteY101" fmla="*/ 6189 h 10000"/>
              <a:gd name="connsiteX102" fmla="*/ 8242 w 9792"/>
              <a:gd name="connsiteY102" fmla="*/ 6016 h 10000"/>
              <a:gd name="connsiteX103" fmla="*/ 8344 w 9792"/>
              <a:gd name="connsiteY103" fmla="*/ 5835 h 10000"/>
              <a:gd name="connsiteX104" fmla="*/ 8442 w 9792"/>
              <a:gd name="connsiteY104" fmla="*/ 5652 h 10000"/>
              <a:gd name="connsiteX105" fmla="*/ 8537 w 9792"/>
              <a:gd name="connsiteY105" fmla="*/ 5468 h 10000"/>
              <a:gd name="connsiteX106" fmla="*/ 8629 w 9792"/>
              <a:gd name="connsiteY106" fmla="*/ 5278 h 10000"/>
              <a:gd name="connsiteX107" fmla="*/ 8719 w 9792"/>
              <a:gd name="connsiteY107" fmla="*/ 5089 h 10000"/>
              <a:gd name="connsiteX108" fmla="*/ 8806 w 9792"/>
              <a:gd name="connsiteY108" fmla="*/ 4893 h 10000"/>
              <a:gd name="connsiteX109" fmla="*/ 8890 w 9792"/>
              <a:gd name="connsiteY109" fmla="*/ 4698 h 10000"/>
              <a:gd name="connsiteX110" fmla="*/ 8970 w 9792"/>
              <a:gd name="connsiteY110" fmla="*/ 4500 h 10000"/>
              <a:gd name="connsiteX111" fmla="*/ 9048 w 9792"/>
              <a:gd name="connsiteY111" fmla="*/ 4294 h 10000"/>
              <a:gd name="connsiteX112" fmla="*/ 9122 w 9792"/>
              <a:gd name="connsiteY112" fmla="*/ 4091 h 10000"/>
              <a:gd name="connsiteX113" fmla="*/ 9193 w 9792"/>
              <a:gd name="connsiteY113" fmla="*/ 3885 h 10000"/>
              <a:gd name="connsiteX114" fmla="*/ 9262 w 9792"/>
              <a:gd name="connsiteY114" fmla="*/ 3674 h 10000"/>
              <a:gd name="connsiteX115" fmla="*/ 9327 w 9792"/>
              <a:gd name="connsiteY115" fmla="*/ 3464 h 10000"/>
              <a:gd name="connsiteX116" fmla="*/ 9391 w 9792"/>
              <a:gd name="connsiteY116" fmla="*/ 3248 h 10000"/>
              <a:gd name="connsiteX117" fmla="*/ 9448 w 9792"/>
              <a:gd name="connsiteY117" fmla="*/ 3030 h 10000"/>
              <a:gd name="connsiteX118" fmla="*/ 9503 w 9792"/>
              <a:gd name="connsiteY118" fmla="*/ 2815 h 10000"/>
              <a:gd name="connsiteX119" fmla="*/ 9555 w 9792"/>
              <a:gd name="connsiteY119" fmla="*/ 2592 h 10000"/>
              <a:gd name="connsiteX120" fmla="*/ 9605 w 9792"/>
              <a:gd name="connsiteY120" fmla="*/ 2369 h 10000"/>
              <a:gd name="connsiteX121" fmla="*/ 9648 w 9792"/>
              <a:gd name="connsiteY121" fmla="*/ 2143 h 10000"/>
              <a:gd name="connsiteX122" fmla="*/ 9690 w 9792"/>
              <a:gd name="connsiteY122" fmla="*/ 1918 h 10000"/>
              <a:gd name="connsiteX123" fmla="*/ 9728 w 9792"/>
              <a:gd name="connsiteY123" fmla="*/ 1690 h 10000"/>
              <a:gd name="connsiteX124" fmla="*/ 9762 w 9792"/>
              <a:gd name="connsiteY124" fmla="*/ 1457 h 10000"/>
              <a:gd name="connsiteX125" fmla="*/ 9792 w 9792"/>
              <a:gd name="connsiteY125" fmla="*/ 1222 h 10000"/>
              <a:gd name="connsiteX126" fmla="*/ 7403 w 9792"/>
              <a:gd name="connsiteY126" fmla="*/ 1876 h 10000"/>
              <a:gd name="connsiteX127" fmla="*/ 5407 w 9792"/>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89 w 10000"/>
              <a:gd name="connsiteY44" fmla="*/ 6588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866 w 10000"/>
              <a:gd name="connsiteY44" fmla="*/ 6619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97 w 10000"/>
              <a:gd name="connsiteY44" fmla="*/ 6577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383 w 9861"/>
              <a:gd name="connsiteY0" fmla="*/ 0 h 10000"/>
              <a:gd name="connsiteX1" fmla="*/ 5383 w 9861"/>
              <a:gd name="connsiteY1" fmla="*/ 0 h 10000"/>
              <a:gd name="connsiteX2" fmla="*/ 5374 w 9861"/>
              <a:gd name="connsiteY2" fmla="*/ 99 h 10000"/>
              <a:gd name="connsiteX3" fmla="*/ 5359 w 9861"/>
              <a:gd name="connsiteY3" fmla="*/ 201 h 10000"/>
              <a:gd name="connsiteX4" fmla="*/ 5347 w 9861"/>
              <a:gd name="connsiteY4" fmla="*/ 300 h 10000"/>
              <a:gd name="connsiteX5" fmla="*/ 5332 w 9861"/>
              <a:gd name="connsiteY5" fmla="*/ 394 h 10000"/>
              <a:gd name="connsiteX6" fmla="*/ 5313 w 9861"/>
              <a:gd name="connsiteY6" fmla="*/ 491 h 10000"/>
              <a:gd name="connsiteX7" fmla="*/ 5294 w 9861"/>
              <a:gd name="connsiteY7" fmla="*/ 587 h 10000"/>
              <a:gd name="connsiteX8" fmla="*/ 5274 w 9861"/>
              <a:gd name="connsiteY8" fmla="*/ 684 h 10000"/>
              <a:gd name="connsiteX9" fmla="*/ 5252 w 9861"/>
              <a:gd name="connsiteY9" fmla="*/ 778 h 10000"/>
              <a:gd name="connsiteX10" fmla="*/ 5230 w 9861"/>
              <a:gd name="connsiteY10" fmla="*/ 870 h 10000"/>
              <a:gd name="connsiteX11" fmla="*/ 5203 w 9861"/>
              <a:gd name="connsiteY11" fmla="*/ 961 h 10000"/>
              <a:gd name="connsiteX12" fmla="*/ 5179 w 9861"/>
              <a:gd name="connsiteY12" fmla="*/ 1053 h 10000"/>
              <a:gd name="connsiteX13" fmla="*/ 5150 w 9861"/>
              <a:gd name="connsiteY13" fmla="*/ 1145 h 10000"/>
              <a:gd name="connsiteX14" fmla="*/ 5120 w 9861"/>
              <a:gd name="connsiteY14" fmla="*/ 1231 h 10000"/>
              <a:gd name="connsiteX15" fmla="*/ 5090 w 9861"/>
              <a:gd name="connsiteY15" fmla="*/ 1318 h 10000"/>
              <a:gd name="connsiteX16" fmla="*/ 5059 w 9861"/>
              <a:gd name="connsiteY16" fmla="*/ 1405 h 10000"/>
              <a:gd name="connsiteX17" fmla="*/ 5026 w 9861"/>
              <a:gd name="connsiteY17" fmla="*/ 1494 h 10000"/>
              <a:gd name="connsiteX18" fmla="*/ 4992 w 9861"/>
              <a:gd name="connsiteY18" fmla="*/ 1578 h 10000"/>
              <a:gd name="connsiteX19" fmla="*/ 4955 w 9861"/>
              <a:gd name="connsiteY19" fmla="*/ 1663 h 10000"/>
              <a:gd name="connsiteX20" fmla="*/ 4918 w 9861"/>
              <a:gd name="connsiteY20" fmla="*/ 1742 h 10000"/>
              <a:gd name="connsiteX21" fmla="*/ 4878 w 9861"/>
              <a:gd name="connsiteY21" fmla="*/ 1824 h 10000"/>
              <a:gd name="connsiteX22" fmla="*/ 4839 w 9861"/>
              <a:gd name="connsiteY22" fmla="*/ 1903 h 10000"/>
              <a:gd name="connsiteX23" fmla="*/ 4799 w 9861"/>
              <a:gd name="connsiteY23" fmla="*/ 1985 h 10000"/>
              <a:gd name="connsiteX24" fmla="*/ 4757 w 9861"/>
              <a:gd name="connsiteY24" fmla="*/ 2059 h 10000"/>
              <a:gd name="connsiteX25" fmla="*/ 4713 w 9861"/>
              <a:gd name="connsiteY25" fmla="*/ 2133 h 10000"/>
              <a:gd name="connsiteX26" fmla="*/ 4667 w 9861"/>
              <a:gd name="connsiteY26" fmla="*/ 2210 h 10000"/>
              <a:gd name="connsiteX27" fmla="*/ 4622 w 9861"/>
              <a:gd name="connsiteY27" fmla="*/ 2282 h 10000"/>
              <a:gd name="connsiteX28" fmla="*/ 4574 w 9861"/>
              <a:gd name="connsiteY28" fmla="*/ 2354 h 10000"/>
              <a:gd name="connsiteX29" fmla="*/ 4527 w 9861"/>
              <a:gd name="connsiteY29" fmla="*/ 2426 h 10000"/>
              <a:gd name="connsiteX30" fmla="*/ 4478 w 9861"/>
              <a:gd name="connsiteY30" fmla="*/ 2495 h 10000"/>
              <a:gd name="connsiteX31" fmla="*/ 4427 w 9861"/>
              <a:gd name="connsiteY31" fmla="*/ 2562 h 10000"/>
              <a:gd name="connsiteX32" fmla="*/ 4376 w 9861"/>
              <a:gd name="connsiteY32" fmla="*/ 2626 h 10000"/>
              <a:gd name="connsiteX33" fmla="*/ 4323 w 9861"/>
              <a:gd name="connsiteY33" fmla="*/ 2691 h 10000"/>
              <a:gd name="connsiteX34" fmla="*/ 4271 w 9861"/>
              <a:gd name="connsiteY34" fmla="*/ 2753 h 10000"/>
              <a:gd name="connsiteX35" fmla="*/ 4214 w 9861"/>
              <a:gd name="connsiteY35" fmla="*/ 2817 h 10000"/>
              <a:gd name="connsiteX36" fmla="*/ 4159 w 9861"/>
              <a:gd name="connsiteY36" fmla="*/ 2874 h 10000"/>
              <a:gd name="connsiteX37" fmla="*/ 4103 w 9861"/>
              <a:gd name="connsiteY37" fmla="*/ 2934 h 10000"/>
              <a:gd name="connsiteX38" fmla="*/ 4045 w 9861"/>
              <a:gd name="connsiteY38" fmla="*/ 2988 h 10000"/>
              <a:gd name="connsiteX39" fmla="*/ 3987 w 9861"/>
              <a:gd name="connsiteY39" fmla="*/ 3043 h 10000"/>
              <a:gd name="connsiteX40" fmla="*/ 3928 w 9861"/>
              <a:gd name="connsiteY40" fmla="*/ 3097 h 10000"/>
              <a:gd name="connsiteX41" fmla="*/ 3868 w 9861"/>
              <a:gd name="connsiteY41" fmla="*/ 3149 h 10000"/>
              <a:gd name="connsiteX42" fmla="*/ 3806 w 9861"/>
              <a:gd name="connsiteY42" fmla="*/ 3196 h 10000"/>
              <a:gd name="connsiteX43" fmla="*/ 3744 w 9861"/>
              <a:gd name="connsiteY43" fmla="*/ 3243 h 10000"/>
              <a:gd name="connsiteX44" fmla="*/ 3858 w 9861"/>
              <a:gd name="connsiteY44" fmla="*/ 6577 h 10000"/>
              <a:gd name="connsiteX45" fmla="*/ 0 w 9861"/>
              <a:gd name="connsiteY45" fmla="*/ 9569 h 10000"/>
              <a:gd name="connsiteX46" fmla="*/ 140 w 9861"/>
              <a:gd name="connsiteY46" fmla="*/ 9623 h 10000"/>
              <a:gd name="connsiteX47" fmla="*/ 283 w 9861"/>
              <a:gd name="connsiteY47" fmla="*/ 9673 h 10000"/>
              <a:gd name="connsiteX48" fmla="*/ 423 w 9861"/>
              <a:gd name="connsiteY48" fmla="*/ 9720 h 10000"/>
              <a:gd name="connsiteX49" fmla="*/ 567 w 9861"/>
              <a:gd name="connsiteY49" fmla="*/ 9765 h 10000"/>
              <a:gd name="connsiteX50" fmla="*/ 711 w 9861"/>
              <a:gd name="connsiteY50" fmla="*/ 9804 h 10000"/>
              <a:gd name="connsiteX51" fmla="*/ 856 w 9861"/>
              <a:gd name="connsiteY51" fmla="*/ 9839 h 10000"/>
              <a:gd name="connsiteX52" fmla="*/ 1002 w 9861"/>
              <a:gd name="connsiteY52" fmla="*/ 9874 h 10000"/>
              <a:gd name="connsiteX53" fmla="*/ 1151 w 9861"/>
              <a:gd name="connsiteY53" fmla="*/ 9903 h 10000"/>
              <a:gd name="connsiteX54" fmla="*/ 1297 w 9861"/>
              <a:gd name="connsiteY54" fmla="*/ 9926 h 10000"/>
              <a:gd name="connsiteX55" fmla="*/ 1446 w 9861"/>
              <a:gd name="connsiteY55" fmla="*/ 9948 h 10000"/>
              <a:gd name="connsiteX56" fmla="*/ 1595 w 9861"/>
              <a:gd name="connsiteY56" fmla="*/ 9965 h 10000"/>
              <a:gd name="connsiteX57" fmla="*/ 1744 w 9861"/>
              <a:gd name="connsiteY57" fmla="*/ 9980 h 10000"/>
              <a:gd name="connsiteX58" fmla="*/ 1897 w 9861"/>
              <a:gd name="connsiteY58" fmla="*/ 9990 h 10000"/>
              <a:gd name="connsiteX59" fmla="*/ 2049 w 9861"/>
              <a:gd name="connsiteY59" fmla="*/ 9995 h 10000"/>
              <a:gd name="connsiteX60" fmla="*/ 2200 w 9861"/>
              <a:gd name="connsiteY60" fmla="*/ 10000 h 10000"/>
              <a:gd name="connsiteX61" fmla="*/ 2382 w 9861"/>
              <a:gd name="connsiteY61" fmla="*/ 9995 h 10000"/>
              <a:gd name="connsiteX62" fmla="*/ 2559 w 9861"/>
              <a:gd name="connsiteY62" fmla="*/ 9988 h 10000"/>
              <a:gd name="connsiteX63" fmla="*/ 2737 w 9861"/>
              <a:gd name="connsiteY63" fmla="*/ 9975 h 10000"/>
              <a:gd name="connsiteX64" fmla="*/ 2911 w 9861"/>
              <a:gd name="connsiteY64" fmla="*/ 9953 h 10000"/>
              <a:gd name="connsiteX65" fmla="*/ 3088 w 9861"/>
              <a:gd name="connsiteY65" fmla="*/ 9931 h 10000"/>
              <a:gd name="connsiteX66" fmla="*/ 3262 w 9861"/>
              <a:gd name="connsiteY66" fmla="*/ 9898 h 10000"/>
              <a:gd name="connsiteX67" fmla="*/ 3436 w 9861"/>
              <a:gd name="connsiteY67" fmla="*/ 9866 h 10000"/>
              <a:gd name="connsiteX68" fmla="*/ 3608 w 9861"/>
              <a:gd name="connsiteY68" fmla="*/ 9824 h 10000"/>
              <a:gd name="connsiteX69" fmla="*/ 3776 w 9861"/>
              <a:gd name="connsiteY69" fmla="*/ 9779 h 10000"/>
              <a:gd name="connsiteX70" fmla="*/ 3948 w 9861"/>
              <a:gd name="connsiteY70" fmla="*/ 9730 h 10000"/>
              <a:gd name="connsiteX71" fmla="*/ 4113 w 9861"/>
              <a:gd name="connsiteY71" fmla="*/ 9673 h 10000"/>
              <a:gd name="connsiteX72" fmla="*/ 4281 w 9861"/>
              <a:gd name="connsiteY72" fmla="*/ 9616 h 10000"/>
              <a:gd name="connsiteX73" fmla="*/ 4445 w 9861"/>
              <a:gd name="connsiteY73" fmla="*/ 9552 h 10000"/>
              <a:gd name="connsiteX74" fmla="*/ 4609 w 9861"/>
              <a:gd name="connsiteY74" fmla="*/ 9482 h 10000"/>
              <a:gd name="connsiteX75" fmla="*/ 4769 w 9861"/>
              <a:gd name="connsiteY75" fmla="*/ 9405 h 10000"/>
              <a:gd name="connsiteX76" fmla="*/ 4929 w 9861"/>
              <a:gd name="connsiteY76" fmla="*/ 9329 h 10000"/>
              <a:gd name="connsiteX77" fmla="*/ 5088 w 9861"/>
              <a:gd name="connsiteY77" fmla="*/ 9244 h 10000"/>
              <a:gd name="connsiteX78" fmla="*/ 5245 w 9861"/>
              <a:gd name="connsiteY78" fmla="*/ 9158 h 10000"/>
              <a:gd name="connsiteX79" fmla="*/ 5399 w 9861"/>
              <a:gd name="connsiteY79" fmla="*/ 9063 h 10000"/>
              <a:gd name="connsiteX80" fmla="*/ 5552 w 9861"/>
              <a:gd name="connsiteY80" fmla="*/ 8967 h 10000"/>
              <a:gd name="connsiteX81" fmla="*/ 5706 w 9861"/>
              <a:gd name="connsiteY81" fmla="*/ 8865 h 10000"/>
              <a:gd name="connsiteX82" fmla="*/ 5853 w 9861"/>
              <a:gd name="connsiteY82" fmla="*/ 8759 h 10000"/>
              <a:gd name="connsiteX83" fmla="*/ 6002 w 9861"/>
              <a:gd name="connsiteY83" fmla="*/ 8652 h 10000"/>
              <a:gd name="connsiteX84" fmla="*/ 6148 w 9861"/>
              <a:gd name="connsiteY84" fmla="*/ 8536 h 10000"/>
              <a:gd name="connsiteX85" fmla="*/ 6292 w 9861"/>
              <a:gd name="connsiteY85" fmla="*/ 8417 h 10000"/>
              <a:gd name="connsiteX86" fmla="*/ 6432 w 9861"/>
              <a:gd name="connsiteY86" fmla="*/ 8295 h 10000"/>
              <a:gd name="connsiteX87" fmla="*/ 6573 w 9861"/>
              <a:gd name="connsiteY87" fmla="*/ 8169 h 10000"/>
              <a:gd name="connsiteX88" fmla="*/ 6708 w 9861"/>
              <a:gd name="connsiteY88" fmla="*/ 8040 h 10000"/>
              <a:gd name="connsiteX89" fmla="*/ 6843 w 9861"/>
              <a:gd name="connsiteY89" fmla="*/ 7904 h 10000"/>
              <a:gd name="connsiteX90" fmla="*/ 6976 w 9861"/>
              <a:gd name="connsiteY90" fmla="*/ 7768 h 10000"/>
              <a:gd name="connsiteX91" fmla="*/ 7108 w 9861"/>
              <a:gd name="connsiteY91" fmla="*/ 7624 h 10000"/>
              <a:gd name="connsiteX92" fmla="*/ 7235 w 9861"/>
              <a:gd name="connsiteY92" fmla="*/ 7480 h 10000"/>
              <a:gd name="connsiteX93" fmla="*/ 7361 w 9861"/>
              <a:gd name="connsiteY93" fmla="*/ 7329 h 10000"/>
              <a:gd name="connsiteX94" fmla="*/ 7485 w 9861"/>
              <a:gd name="connsiteY94" fmla="*/ 7178 h 10000"/>
              <a:gd name="connsiteX95" fmla="*/ 7606 w 9861"/>
              <a:gd name="connsiteY95" fmla="*/ 7024 h 10000"/>
              <a:gd name="connsiteX96" fmla="*/ 7724 w 9861"/>
              <a:gd name="connsiteY96" fmla="*/ 6861 h 10000"/>
              <a:gd name="connsiteX97" fmla="*/ 7841 w 9861"/>
              <a:gd name="connsiteY97" fmla="*/ 6697 h 10000"/>
              <a:gd name="connsiteX98" fmla="*/ 7954 w 9861"/>
              <a:gd name="connsiteY98" fmla="*/ 6534 h 10000"/>
              <a:gd name="connsiteX99" fmla="*/ 8064 w 9861"/>
              <a:gd name="connsiteY99" fmla="*/ 6365 h 10000"/>
              <a:gd name="connsiteX100" fmla="*/ 8173 w 9861"/>
              <a:gd name="connsiteY100" fmla="*/ 6189 h 10000"/>
              <a:gd name="connsiteX101" fmla="*/ 8278 w 9861"/>
              <a:gd name="connsiteY101" fmla="*/ 6016 h 10000"/>
              <a:gd name="connsiteX102" fmla="*/ 8382 w 9861"/>
              <a:gd name="connsiteY102" fmla="*/ 5835 h 10000"/>
              <a:gd name="connsiteX103" fmla="*/ 8482 w 9861"/>
              <a:gd name="connsiteY103" fmla="*/ 5652 h 10000"/>
              <a:gd name="connsiteX104" fmla="*/ 8579 w 9861"/>
              <a:gd name="connsiteY104" fmla="*/ 5468 h 10000"/>
              <a:gd name="connsiteX105" fmla="*/ 8673 w 9861"/>
              <a:gd name="connsiteY105" fmla="*/ 5278 h 10000"/>
              <a:gd name="connsiteX106" fmla="*/ 8765 w 9861"/>
              <a:gd name="connsiteY106" fmla="*/ 5089 h 10000"/>
              <a:gd name="connsiteX107" fmla="*/ 8854 w 9861"/>
              <a:gd name="connsiteY107" fmla="*/ 4893 h 10000"/>
              <a:gd name="connsiteX108" fmla="*/ 8940 w 9861"/>
              <a:gd name="connsiteY108" fmla="*/ 4698 h 10000"/>
              <a:gd name="connsiteX109" fmla="*/ 9022 w 9861"/>
              <a:gd name="connsiteY109" fmla="*/ 4500 h 10000"/>
              <a:gd name="connsiteX110" fmla="*/ 9101 w 9861"/>
              <a:gd name="connsiteY110" fmla="*/ 4294 h 10000"/>
              <a:gd name="connsiteX111" fmla="*/ 9177 w 9861"/>
              <a:gd name="connsiteY111" fmla="*/ 4091 h 10000"/>
              <a:gd name="connsiteX112" fmla="*/ 9249 w 9861"/>
              <a:gd name="connsiteY112" fmla="*/ 3885 h 10000"/>
              <a:gd name="connsiteX113" fmla="*/ 9320 w 9861"/>
              <a:gd name="connsiteY113" fmla="*/ 3674 h 10000"/>
              <a:gd name="connsiteX114" fmla="*/ 9386 w 9861"/>
              <a:gd name="connsiteY114" fmla="*/ 3464 h 10000"/>
              <a:gd name="connsiteX115" fmla="*/ 9451 w 9861"/>
              <a:gd name="connsiteY115" fmla="*/ 3248 h 10000"/>
              <a:gd name="connsiteX116" fmla="*/ 9510 w 9861"/>
              <a:gd name="connsiteY116" fmla="*/ 3030 h 10000"/>
              <a:gd name="connsiteX117" fmla="*/ 9566 w 9861"/>
              <a:gd name="connsiteY117" fmla="*/ 2815 h 10000"/>
              <a:gd name="connsiteX118" fmla="*/ 9619 w 9861"/>
              <a:gd name="connsiteY118" fmla="*/ 2592 h 10000"/>
              <a:gd name="connsiteX119" fmla="*/ 9670 w 9861"/>
              <a:gd name="connsiteY119" fmla="*/ 2369 h 10000"/>
              <a:gd name="connsiteX120" fmla="*/ 9714 w 9861"/>
              <a:gd name="connsiteY120" fmla="*/ 2143 h 10000"/>
              <a:gd name="connsiteX121" fmla="*/ 9757 w 9861"/>
              <a:gd name="connsiteY121" fmla="*/ 1918 h 10000"/>
              <a:gd name="connsiteX122" fmla="*/ 9796 w 9861"/>
              <a:gd name="connsiteY122" fmla="*/ 1690 h 10000"/>
              <a:gd name="connsiteX123" fmla="*/ 9830 w 9861"/>
              <a:gd name="connsiteY123" fmla="*/ 1457 h 10000"/>
              <a:gd name="connsiteX124" fmla="*/ 9861 w 9861"/>
              <a:gd name="connsiteY124" fmla="*/ 1222 h 10000"/>
              <a:gd name="connsiteX125" fmla="*/ 7421 w 9861"/>
              <a:gd name="connsiteY125" fmla="*/ 1876 h 10000"/>
              <a:gd name="connsiteX126" fmla="*/ 5383 w 9861"/>
              <a:gd name="connsiteY126" fmla="*/ 0 h 10000"/>
              <a:gd name="connsiteX0" fmla="*/ 5561 w 10102"/>
              <a:gd name="connsiteY0" fmla="*/ 0 h 10000"/>
              <a:gd name="connsiteX1" fmla="*/ 5561 w 10102"/>
              <a:gd name="connsiteY1" fmla="*/ 0 h 10000"/>
              <a:gd name="connsiteX2" fmla="*/ 5552 w 10102"/>
              <a:gd name="connsiteY2" fmla="*/ 99 h 10000"/>
              <a:gd name="connsiteX3" fmla="*/ 5537 w 10102"/>
              <a:gd name="connsiteY3" fmla="*/ 201 h 10000"/>
              <a:gd name="connsiteX4" fmla="*/ 5524 w 10102"/>
              <a:gd name="connsiteY4" fmla="*/ 300 h 10000"/>
              <a:gd name="connsiteX5" fmla="*/ 5509 w 10102"/>
              <a:gd name="connsiteY5" fmla="*/ 394 h 10000"/>
              <a:gd name="connsiteX6" fmla="*/ 5490 w 10102"/>
              <a:gd name="connsiteY6" fmla="*/ 491 h 10000"/>
              <a:gd name="connsiteX7" fmla="*/ 5471 w 10102"/>
              <a:gd name="connsiteY7" fmla="*/ 587 h 10000"/>
              <a:gd name="connsiteX8" fmla="*/ 5450 w 10102"/>
              <a:gd name="connsiteY8" fmla="*/ 684 h 10000"/>
              <a:gd name="connsiteX9" fmla="*/ 5428 w 10102"/>
              <a:gd name="connsiteY9" fmla="*/ 778 h 10000"/>
              <a:gd name="connsiteX10" fmla="*/ 5406 w 10102"/>
              <a:gd name="connsiteY10" fmla="*/ 870 h 10000"/>
              <a:gd name="connsiteX11" fmla="*/ 5378 w 10102"/>
              <a:gd name="connsiteY11" fmla="*/ 961 h 10000"/>
              <a:gd name="connsiteX12" fmla="*/ 5354 w 10102"/>
              <a:gd name="connsiteY12" fmla="*/ 1053 h 10000"/>
              <a:gd name="connsiteX13" fmla="*/ 5325 w 10102"/>
              <a:gd name="connsiteY13" fmla="*/ 1145 h 10000"/>
              <a:gd name="connsiteX14" fmla="*/ 5294 w 10102"/>
              <a:gd name="connsiteY14" fmla="*/ 1231 h 10000"/>
              <a:gd name="connsiteX15" fmla="*/ 5264 w 10102"/>
              <a:gd name="connsiteY15" fmla="*/ 1318 h 10000"/>
              <a:gd name="connsiteX16" fmla="*/ 5232 w 10102"/>
              <a:gd name="connsiteY16" fmla="*/ 1405 h 10000"/>
              <a:gd name="connsiteX17" fmla="*/ 5199 w 10102"/>
              <a:gd name="connsiteY17" fmla="*/ 1494 h 10000"/>
              <a:gd name="connsiteX18" fmla="*/ 5164 w 10102"/>
              <a:gd name="connsiteY18" fmla="*/ 1578 h 10000"/>
              <a:gd name="connsiteX19" fmla="*/ 5127 w 10102"/>
              <a:gd name="connsiteY19" fmla="*/ 1663 h 10000"/>
              <a:gd name="connsiteX20" fmla="*/ 5089 w 10102"/>
              <a:gd name="connsiteY20" fmla="*/ 1742 h 10000"/>
              <a:gd name="connsiteX21" fmla="*/ 5049 w 10102"/>
              <a:gd name="connsiteY21" fmla="*/ 1824 h 10000"/>
              <a:gd name="connsiteX22" fmla="*/ 5009 w 10102"/>
              <a:gd name="connsiteY22" fmla="*/ 1903 h 10000"/>
              <a:gd name="connsiteX23" fmla="*/ 4969 w 10102"/>
              <a:gd name="connsiteY23" fmla="*/ 1985 h 10000"/>
              <a:gd name="connsiteX24" fmla="*/ 4926 w 10102"/>
              <a:gd name="connsiteY24" fmla="*/ 2059 h 10000"/>
              <a:gd name="connsiteX25" fmla="*/ 4881 w 10102"/>
              <a:gd name="connsiteY25" fmla="*/ 2133 h 10000"/>
              <a:gd name="connsiteX26" fmla="*/ 4835 w 10102"/>
              <a:gd name="connsiteY26" fmla="*/ 2210 h 10000"/>
              <a:gd name="connsiteX27" fmla="*/ 4789 w 10102"/>
              <a:gd name="connsiteY27" fmla="*/ 2282 h 10000"/>
              <a:gd name="connsiteX28" fmla="*/ 4740 w 10102"/>
              <a:gd name="connsiteY28" fmla="*/ 2354 h 10000"/>
              <a:gd name="connsiteX29" fmla="*/ 4693 w 10102"/>
              <a:gd name="connsiteY29" fmla="*/ 2426 h 10000"/>
              <a:gd name="connsiteX30" fmla="*/ 4643 w 10102"/>
              <a:gd name="connsiteY30" fmla="*/ 2495 h 10000"/>
              <a:gd name="connsiteX31" fmla="*/ 4591 w 10102"/>
              <a:gd name="connsiteY31" fmla="*/ 2562 h 10000"/>
              <a:gd name="connsiteX32" fmla="*/ 4540 w 10102"/>
              <a:gd name="connsiteY32" fmla="*/ 2626 h 10000"/>
              <a:gd name="connsiteX33" fmla="*/ 4486 w 10102"/>
              <a:gd name="connsiteY33" fmla="*/ 2691 h 10000"/>
              <a:gd name="connsiteX34" fmla="*/ 4433 w 10102"/>
              <a:gd name="connsiteY34" fmla="*/ 2753 h 10000"/>
              <a:gd name="connsiteX35" fmla="*/ 4375 w 10102"/>
              <a:gd name="connsiteY35" fmla="*/ 2817 h 10000"/>
              <a:gd name="connsiteX36" fmla="*/ 4320 w 10102"/>
              <a:gd name="connsiteY36" fmla="*/ 2874 h 10000"/>
              <a:gd name="connsiteX37" fmla="*/ 4263 w 10102"/>
              <a:gd name="connsiteY37" fmla="*/ 2934 h 10000"/>
              <a:gd name="connsiteX38" fmla="*/ 4204 w 10102"/>
              <a:gd name="connsiteY38" fmla="*/ 2988 h 10000"/>
              <a:gd name="connsiteX39" fmla="*/ 4145 w 10102"/>
              <a:gd name="connsiteY39" fmla="*/ 3043 h 10000"/>
              <a:gd name="connsiteX40" fmla="*/ 4085 w 10102"/>
              <a:gd name="connsiteY40" fmla="*/ 3097 h 10000"/>
              <a:gd name="connsiteX41" fmla="*/ 4025 w 10102"/>
              <a:gd name="connsiteY41" fmla="*/ 3149 h 10000"/>
              <a:gd name="connsiteX42" fmla="*/ 3962 w 10102"/>
              <a:gd name="connsiteY42" fmla="*/ 3196 h 10000"/>
              <a:gd name="connsiteX43" fmla="*/ 3899 w 10102"/>
              <a:gd name="connsiteY43" fmla="*/ 3243 h 10000"/>
              <a:gd name="connsiteX44" fmla="*/ 4014 w 10102"/>
              <a:gd name="connsiteY44" fmla="*/ 6577 h 10000"/>
              <a:gd name="connsiteX45" fmla="*/ 244 w 10102"/>
              <a:gd name="connsiteY45" fmla="*/ 9623 h 10000"/>
              <a:gd name="connsiteX46" fmla="*/ 389 w 10102"/>
              <a:gd name="connsiteY46" fmla="*/ 9673 h 10000"/>
              <a:gd name="connsiteX47" fmla="*/ 531 w 10102"/>
              <a:gd name="connsiteY47" fmla="*/ 9720 h 10000"/>
              <a:gd name="connsiteX48" fmla="*/ 677 w 10102"/>
              <a:gd name="connsiteY48" fmla="*/ 9765 h 10000"/>
              <a:gd name="connsiteX49" fmla="*/ 823 w 10102"/>
              <a:gd name="connsiteY49" fmla="*/ 9804 h 10000"/>
              <a:gd name="connsiteX50" fmla="*/ 970 w 10102"/>
              <a:gd name="connsiteY50" fmla="*/ 9839 h 10000"/>
              <a:gd name="connsiteX51" fmla="*/ 1118 w 10102"/>
              <a:gd name="connsiteY51" fmla="*/ 9874 h 10000"/>
              <a:gd name="connsiteX52" fmla="*/ 1269 w 10102"/>
              <a:gd name="connsiteY52" fmla="*/ 9903 h 10000"/>
              <a:gd name="connsiteX53" fmla="*/ 1417 w 10102"/>
              <a:gd name="connsiteY53" fmla="*/ 9926 h 10000"/>
              <a:gd name="connsiteX54" fmla="*/ 1568 w 10102"/>
              <a:gd name="connsiteY54" fmla="*/ 9948 h 10000"/>
              <a:gd name="connsiteX55" fmla="*/ 1719 w 10102"/>
              <a:gd name="connsiteY55" fmla="*/ 9965 h 10000"/>
              <a:gd name="connsiteX56" fmla="*/ 1871 w 10102"/>
              <a:gd name="connsiteY56" fmla="*/ 9980 h 10000"/>
              <a:gd name="connsiteX57" fmla="*/ 2026 w 10102"/>
              <a:gd name="connsiteY57" fmla="*/ 9990 h 10000"/>
              <a:gd name="connsiteX58" fmla="*/ 2180 w 10102"/>
              <a:gd name="connsiteY58" fmla="*/ 9995 h 10000"/>
              <a:gd name="connsiteX59" fmla="*/ 2333 w 10102"/>
              <a:gd name="connsiteY59" fmla="*/ 10000 h 10000"/>
              <a:gd name="connsiteX60" fmla="*/ 2518 w 10102"/>
              <a:gd name="connsiteY60" fmla="*/ 9995 h 10000"/>
              <a:gd name="connsiteX61" fmla="*/ 2697 w 10102"/>
              <a:gd name="connsiteY61" fmla="*/ 9988 h 10000"/>
              <a:gd name="connsiteX62" fmla="*/ 2878 w 10102"/>
              <a:gd name="connsiteY62" fmla="*/ 9975 h 10000"/>
              <a:gd name="connsiteX63" fmla="*/ 3054 w 10102"/>
              <a:gd name="connsiteY63" fmla="*/ 9953 h 10000"/>
              <a:gd name="connsiteX64" fmla="*/ 3234 w 10102"/>
              <a:gd name="connsiteY64" fmla="*/ 9931 h 10000"/>
              <a:gd name="connsiteX65" fmla="*/ 3410 w 10102"/>
              <a:gd name="connsiteY65" fmla="*/ 9898 h 10000"/>
              <a:gd name="connsiteX66" fmla="*/ 3586 w 10102"/>
              <a:gd name="connsiteY66" fmla="*/ 9866 h 10000"/>
              <a:gd name="connsiteX67" fmla="*/ 3761 w 10102"/>
              <a:gd name="connsiteY67" fmla="*/ 9824 h 10000"/>
              <a:gd name="connsiteX68" fmla="*/ 3931 w 10102"/>
              <a:gd name="connsiteY68" fmla="*/ 9779 h 10000"/>
              <a:gd name="connsiteX69" fmla="*/ 4106 w 10102"/>
              <a:gd name="connsiteY69" fmla="*/ 9730 h 10000"/>
              <a:gd name="connsiteX70" fmla="*/ 4273 w 10102"/>
              <a:gd name="connsiteY70" fmla="*/ 9673 h 10000"/>
              <a:gd name="connsiteX71" fmla="*/ 4443 w 10102"/>
              <a:gd name="connsiteY71" fmla="*/ 9616 h 10000"/>
              <a:gd name="connsiteX72" fmla="*/ 4610 w 10102"/>
              <a:gd name="connsiteY72" fmla="*/ 9552 h 10000"/>
              <a:gd name="connsiteX73" fmla="*/ 4776 w 10102"/>
              <a:gd name="connsiteY73" fmla="*/ 9482 h 10000"/>
              <a:gd name="connsiteX74" fmla="*/ 4938 w 10102"/>
              <a:gd name="connsiteY74" fmla="*/ 9405 h 10000"/>
              <a:gd name="connsiteX75" fmla="*/ 5100 w 10102"/>
              <a:gd name="connsiteY75" fmla="*/ 9329 h 10000"/>
              <a:gd name="connsiteX76" fmla="*/ 5262 w 10102"/>
              <a:gd name="connsiteY76" fmla="*/ 9244 h 10000"/>
              <a:gd name="connsiteX77" fmla="*/ 5421 w 10102"/>
              <a:gd name="connsiteY77" fmla="*/ 9158 h 10000"/>
              <a:gd name="connsiteX78" fmla="*/ 5577 w 10102"/>
              <a:gd name="connsiteY78" fmla="*/ 9063 h 10000"/>
              <a:gd name="connsiteX79" fmla="*/ 5732 w 10102"/>
              <a:gd name="connsiteY79" fmla="*/ 8967 h 10000"/>
              <a:gd name="connsiteX80" fmla="*/ 5888 w 10102"/>
              <a:gd name="connsiteY80" fmla="*/ 8865 h 10000"/>
              <a:gd name="connsiteX81" fmla="*/ 6038 w 10102"/>
              <a:gd name="connsiteY81" fmla="*/ 8759 h 10000"/>
              <a:gd name="connsiteX82" fmla="*/ 6189 w 10102"/>
              <a:gd name="connsiteY82" fmla="*/ 8652 h 10000"/>
              <a:gd name="connsiteX83" fmla="*/ 6337 w 10102"/>
              <a:gd name="connsiteY83" fmla="*/ 8536 h 10000"/>
              <a:gd name="connsiteX84" fmla="*/ 6483 w 10102"/>
              <a:gd name="connsiteY84" fmla="*/ 8417 h 10000"/>
              <a:gd name="connsiteX85" fmla="*/ 6625 w 10102"/>
              <a:gd name="connsiteY85" fmla="*/ 8295 h 10000"/>
              <a:gd name="connsiteX86" fmla="*/ 6768 w 10102"/>
              <a:gd name="connsiteY86" fmla="*/ 8169 h 10000"/>
              <a:gd name="connsiteX87" fmla="*/ 6905 w 10102"/>
              <a:gd name="connsiteY87" fmla="*/ 8040 h 10000"/>
              <a:gd name="connsiteX88" fmla="*/ 7041 w 10102"/>
              <a:gd name="connsiteY88" fmla="*/ 7904 h 10000"/>
              <a:gd name="connsiteX89" fmla="*/ 7176 w 10102"/>
              <a:gd name="connsiteY89" fmla="*/ 7768 h 10000"/>
              <a:gd name="connsiteX90" fmla="*/ 7310 w 10102"/>
              <a:gd name="connsiteY90" fmla="*/ 7624 h 10000"/>
              <a:gd name="connsiteX91" fmla="*/ 7439 w 10102"/>
              <a:gd name="connsiteY91" fmla="*/ 7480 h 10000"/>
              <a:gd name="connsiteX92" fmla="*/ 7567 w 10102"/>
              <a:gd name="connsiteY92" fmla="*/ 7329 h 10000"/>
              <a:gd name="connsiteX93" fmla="*/ 7693 w 10102"/>
              <a:gd name="connsiteY93" fmla="*/ 7178 h 10000"/>
              <a:gd name="connsiteX94" fmla="*/ 7815 w 10102"/>
              <a:gd name="connsiteY94" fmla="*/ 7024 h 10000"/>
              <a:gd name="connsiteX95" fmla="*/ 7935 w 10102"/>
              <a:gd name="connsiteY95" fmla="*/ 6861 h 10000"/>
              <a:gd name="connsiteX96" fmla="*/ 8054 w 10102"/>
              <a:gd name="connsiteY96" fmla="*/ 6697 h 10000"/>
              <a:gd name="connsiteX97" fmla="*/ 8168 w 10102"/>
              <a:gd name="connsiteY97" fmla="*/ 6534 h 10000"/>
              <a:gd name="connsiteX98" fmla="*/ 8280 w 10102"/>
              <a:gd name="connsiteY98" fmla="*/ 6365 h 10000"/>
              <a:gd name="connsiteX99" fmla="*/ 8390 w 10102"/>
              <a:gd name="connsiteY99" fmla="*/ 6189 h 10000"/>
              <a:gd name="connsiteX100" fmla="*/ 8497 w 10102"/>
              <a:gd name="connsiteY100" fmla="*/ 6016 h 10000"/>
              <a:gd name="connsiteX101" fmla="*/ 8602 w 10102"/>
              <a:gd name="connsiteY101" fmla="*/ 5835 h 10000"/>
              <a:gd name="connsiteX102" fmla="*/ 8704 w 10102"/>
              <a:gd name="connsiteY102" fmla="*/ 5652 h 10000"/>
              <a:gd name="connsiteX103" fmla="*/ 8802 w 10102"/>
              <a:gd name="connsiteY103" fmla="*/ 5468 h 10000"/>
              <a:gd name="connsiteX104" fmla="*/ 8897 w 10102"/>
              <a:gd name="connsiteY104" fmla="*/ 5278 h 10000"/>
              <a:gd name="connsiteX105" fmla="*/ 8991 w 10102"/>
              <a:gd name="connsiteY105" fmla="*/ 5089 h 10000"/>
              <a:gd name="connsiteX106" fmla="*/ 9081 w 10102"/>
              <a:gd name="connsiteY106" fmla="*/ 4893 h 10000"/>
              <a:gd name="connsiteX107" fmla="*/ 9168 w 10102"/>
              <a:gd name="connsiteY107" fmla="*/ 4698 h 10000"/>
              <a:gd name="connsiteX108" fmla="*/ 9251 w 10102"/>
              <a:gd name="connsiteY108" fmla="*/ 4500 h 10000"/>
              <a:gd name="connsiteX109" fmla="*/ 9331 w 10102"/>
              <a:gd name="connsiteY109" fmla="*/ 4294 h 10000"/>
              <a:gd name="connsiteX110" fmla="*/ 9408 w 10102"/>
              <a:gd name="connsiteY110" fmla="*/ 4091 h 10000"/>
              <a:gd name="connsiteX111" fmla="*/ 9481 w 10102"/>
              <a:gd name="connsiteY111" fmla="*/ 3885 h 10000"/>
              <a:gd name="connsiteX112" fmla="*/ 9553 w 10102"/>
              <a:gd name="connsiteY112" fmla="*/ 3674 h 10000"/>
              <a:gd name="connsiteX113" fmla="*/ 9620 w 10102"/>
              <a:gd name="connsiteY113" fmla="*/ 3464 h 10000"/>
              <a:gd name="connsiteX114" fmla="*/ 9686 w 10102"/>
              <a:gd name="connsiteY114" fmla="*/ 3248 h 10000"/>
              <a:gd name="connsiteX115" fmla="*/ 9746 w 10102"/>
              <a:gd name="connsiteY115" fmla="*/ 3030 h 10000"/>
              <a:gd name="connsiteX116" fmla="*/ 9803 w 10102"/>
              <a:gd name="connsiteY116" fmla="*/ 2815 h 10000"/>
              <a:gd name="connsiteX117" fmla="*/ 9857 w 10102"/>
              <a:gd name="connsiteY117" fmla="*/ 2592 h 10000"/>
              <a:gd name="connsiteX118" fmla="*/ 9908 w 10102"/>
              <a:gd name="connsiteY118" fmla="*/ 2369 h 10000"/>
              <a:gd name="connsiteX119" fmla="*/ 9953 w 10102"/>
              <a:gd name="connsiteY119" fmla="*/ 2143 h 10000"/>
              <a:gd name="connsiteX120" fmla="*/ 9997 w 10102"/>
              <a:gd name="connsiteY120" fmla="*/ 1918 h 10000"/>
              <a:gd name="connsiteX121" fmla="*/ 10036 w 10102"/>
              <a:gd name="connsiteY121" fmla="*/ 1690 h 10000"/>
              <a:gd name="connsiteX122" fmla="*/ 10071 w 10102"/>
              <a:gd name="connsiteY122" fmla="*/ 1457 h 10000"/>
              <a:gd name="connsiteX123" fmla="*/ 10102 w 10102"/>
              <a:gd name="connsiteY123" fmla="*/ 1222 h 10000"/>
              <a:gd name="connsiteX124" fmla="*/ 7628 w 10102"/>
              <a:gd name="connsiteY124" fmla="*/ 1876 h 10000"/>
              <a:gd name="connsiteX125" fmla="*/ 5561 w 10102"/>
              <a:gd name="connsiteY125" fmla="*/ 0 h 10000"/>
              <a:gd name="connsiteX0" fmla="*/ 5172 w 9713"/>
              <a:gd name="connsiteY0" fmla="*/ 0 h 10000"/>
              <a:gd name="connsiteX1" fmla="*/ 5172 w 9713"/>
              <a:gd name="connsiteY1" fmla="*/ 0 h 10000"/>
              <a:gd name="connsiteX2" fmla="*/ 5163 w 9713"/>
              <a:gd name="connsiteY2" fmla="*/ 99 h 10000"/>
              <a:gd name="connsiteX3" fmla="*/ 5148 w 9713"/>
              <a:gd name="connsiteY3" fmla="*/ 201 h 10000"/>
              <a:gd name="connsiteX4" fmla="*/ 5135 w 9713"/>
              <a:gd name="connsiteY4" fmla="*/ 300 h 10000"/>
              <a:gd name="connsiteX5" fmla="*/ 5120 w 9713"/>
              <a:gd name="connsiteY5" fmla="*/ 394 h 10000"/>
              <a:gd name="connsiteX6" fmla="*/ 5101 w 9713"/>
              <a:gd name="connsiteY6" fmla="*/ 491 h 10000"/>
              <a:gd name="connsiteX7" fmla="*/ 5082 w 9713"/>
              <a:gd name="connsiteY7" fmla="*/ 587 h 10000"/>
              <a:gd name="connsiteX8" fmla="*/ 5061 w 9713"/>
              <a:gd name="connsiteY8" fmla="*/ 684 h 10000"/>
              <a:gd name="connsiteX9" fmla="*/ 5039 w 9713"/>
              <a:gd name="connsiteY9" fmla="*/ 778 h 10000"/>
              <a:gd name="connsiteX10" fmla="*/ 5017 w 9713"/>
              <a:gd name="connsiteY10" fmla="*/ 870 h 10000"/>
              <a:gd name="connsiteX11" fmla="*/ 4989 w 9713"/>
              <a:gd name="connsiteY11" fmla="*/ 961 h 10000"/>
              <a:gd name="connsiteX12" fmla="*/ 4965 w 9713"/>
              <a:gd name="connsiteY12" fmla="*/ 1053 h 10000"/>
              <a:gd name="connsiteX13" fmla="*/ 4936 w 9713"/>
              <a:gd name="connsiteY13" fmla="*/ 1145 h 10000"/>
              <a:gd name="connsiteX14" fmla="*/ 4905 w 9713"/>
              <a:gd name="connsiteY14" fmla="*/ 1231 h 10000"/>
              <a:gd name="connsiteX15" fmla="*/ 4875 w 9713"/>
              <a:gd name="connsiteY15" fmla="*/ 1318 h 10000"/>
              <a:gd name="connsiteX16" fmla="*/ 4843 w 9713"/>
              <a:gd name="connsiteY16" fmla="*/ 1405 h 10000"/>
              <a:gd name="connsiteX17" fmla="*/ 4810 w 9713"/>
              <a:gd name="connsiteY17" fmla="*/ 1494 h 10000"/>
              <a:gd name="connsiteX18" fmla="*/ 4775 w 9713"/>
              <a:gd name="connsiteY18" fmla="*/ 1578 h 10000"/>
              <a:gd name="connsiteX19" fmla="*/ 4738 w 9713"/>
              <a:gd name="connsiteY19" fmla="*/ 1663 h 10000"/>
              <a:gd name="connsiteX20" fmla="*/ 4700 w 9713"/>
              <a:gd name="connsiteY20" fmla="*/ 1742 h 10000"/>
              <a:gd name="connsiteX21" fmla="*/ 4660 w 9713"/>
              <a:gd name="connsiteY21" fmla="*/ 1824 h 10000"/>
              <a:gd name="connsiteX22" fmla="*/ 4620 w 9713"/>
              <a:gd name="connsiteY22" fmla="*/ 1903 h 10000"/>
              <a:gd name="connsiteX23" fmla="*/ 4580 w 9713"/>
              <a:gd name="connsiteY23" fmla="*/ 1985 h 10000"/>
              <a:gd name="connsiteX24" fmla="*/ 4537 w 9713"/>
              <a:gd name="connsiteY24" fmla="*/ 2059 h 10000"/>
              <a:gd name="connsiteX25" fmla="*/ 4492 w 9713"/>
              <a:gd name="connsiteY25" fmla="*/ 2133 h 10000"/>
              <a:gd name="connsiteX26" fmla="*/ 4446 w 9713"/>
              <a:gd name="connsiteY26" fmla="*/ 2210 h 10000"/>
              <a:gd name="connsiteX27" fmla="*/ 4400 w 9713"/>
              <a:gd name="connsiteY27" fmla="*/ 2282 h 10000"/>
              <a:gd name="connsiteX28" fmla="*/ 4351 w 9713"/>
              <a:gd name="connsiteY28" fmla="*/ 2354 h 10000"/>
              <a:gd name="connsiteX29" fmla="*/ 4304 w 9713"/>
              <a:gd name="connsiteY29" fmla="*/ 2426 h 10000"/>
              <a:gd name="connsiteX30" fmla="*/ 4254 w 9713"/>
              <a:gd name="connsiteY30" fmla="*/ 2495 h 10000"/>
              <a:gd name="connsiteX31" fmla="*/ 4202 w 9713"/>
              <a:gd name="connsiteY31" fmla="*/ 2562 h 10000"/>
              <a:gd name="connsiteX32" fmla="*/ 4151 w 9713"/>
              <a:gd name="connsiteY32" fmla="*/ 2626 h 10000"/>
              <a:gd name="connsiteX33" fmla="*/ 4097 w 9713"/>
              <a:gd name="connsiteY33" fmla="*/ 2691 h 10000"/>
              <a:gd name="connsiteX34" fmla="*/ 4044 w 9713"/>
              <a:gd name="connsiteY34" fmla="*/ 2753 h 10000"/>
              <a:gd name="connsiteX35" fmla="*/ 3986 w 9713"/>
              <a:gd name="connsiteY35" fmla="*/ 2817 h 10000"/>
              <a:gd name="connsiteX36" fmla="*/ 3931 w 9713"/>
              <a:gd name="connsiteY36" fmla="*/ 2874 h 10000"/>
              <a:gd name="connsiteX37" fmla="*/ 3874 w 9713"/>
              <a:gd name="connsiteY37" fmla="*/ 2934 h 10000"/>
              <a:gd name="connsiteX38" fmla="*/ 3815 w 9713"/>
              <a:gd name="connsiteY38" fmla="*/ 2988 h 10000"/>
              <a:gd name="connsiteX39" fmla="*/ 3756 w 9713"/>
              <a:gd name="connsiteY39" fmla="*/ 3043 h 10000"/>
              <a:gd name="connsiteX40" fmla="*/ 3696 w 9713"/>
              <a:gd name="connsiteY40" fmla="*/ 3097 h 10000"/>
              <a:gd name="connsiteX41" fmla="*/ 3636 w 9713"/>
              <a:gd name="connsiteY41" fmla="*/ 3149 h 10000"/>
              <a:gd name="connsiteX42" fmla="*/ 3573 w 9713"/>
              <a:gd name="connsiteY42" fmla="*/ 3196 h 10000"/>
              <a:gd name="connsiteX43" fmla="*/ 3510 w 9713"/>
              <a:gd name="connsiteY43" fmla="*/ 3243 h 10000"/>
              <a:gd name="connsiteX44" fmla="*/ 3625 w 9713"/>
              <a:gd name="connsiteY44" fmla="*/ 6577 h 10000"/>
              <a:gd name="connsiteX45" fmla="*/ 0 w 9713"/>
              <a:gd name="connsiteY45" fmla="*/ 9673 h 10000"/>
              <a:gd name="connsiteX46" fmla="*/ 142 w 9713"/>
              <a:gd name="connsiteY46" fmla="*/ 9720 h 10000"/>
              <a:gd name="connsiteX47" fmla="*/ 288 w 9713"/>
              <a:gd name="connsiteY47" fmla="*/ 9765 h 10000"/>
              <a:gd name="connsiteX48" fmla="*/ 434 w 9713"/>
              <a:gd name="connsiteY48" fmla="*/ 9804 h 10000"/>
              <a:gd name="connsiteX49" fmla="*/ 581 w 9713"/>
              <a:gd name="connsiteY49" fmla="*/ 9839 h 10000"/>
              <a:gd name="connsiteX50" fmla="*/ 729 w 9713"/>
              <a:gd name="connsiteY50" fmla="*/ 9874 h 10000"/>
              <a:gd name="connsiteX51" fmla="*/ 880 w 9713"/>
              <a:gd name="connsiteY51" fmla="*/ 9903 h 10000"/>
              <a:gd name="connsiteX52" fmla="*/ 1028 w 9713"/>
              <a:gd name="connsiteY52" fmla="*/ 9926 h 10000"/>
              <a:gd name="connsiteX53" fmla="*/ 1179 w 9713"/>
              <a:gd name="connsiteY53" fmla="*/ 9948 h 10000"/>
              <a:gd name="connsiteX54" fmla="*/ 1330 w 9713"/>
              <a:gd name="connsiteY54" fmla="*/ 9965 h 10000"/>
              <a:gd name="connsiteX55" fmla="*/ 1482 w 9713"/>
              <a:gd name="connsiteY55" fmla="*/ 9980 h 10000"/>
              <a:gd name="connsiteX56" fmla="*/ 1637 w 9713"/>
              <a:gd name="connsiteY56" fmla="*/ 9990 h 10000"/>
              <a:gd name="connsiteX57" fmla="*/ 1791 w 9713"/>
              <a:gd name="connsiteY57" fmla="*/ 9995 h 10000"/>
              <a:gd name="connsiteX58" fmla="*/ 1944 w 9713"/>
              <a:gd name="connsiteY58" fmla="*/ 10000 h 10000"/>
              <a:gd name="connsiteX59" fmla="*/ 2129 w 9713"/>
              <a:gd name="connsiteY59" fmla="*/ 9995 h 10000"/>
              <a:gd name="connsiteX60" fmla="*/ 2308 w 9713"/>
              <a:gd name="connsiteY60" fmla="*/ 9988 h 10000"/>
              <a:gd name="connsiteX61" fmla="*/ 2489 w 9713"/>
              <a:gd name="connsiteY61" fmla="*/ 9975 h 10000"/>
              <a:gd name="connsiteX62" fmla="*/ 2665 w 9713"/>
              <a:gd name="connsiteY62" fmla="*/ 9953 h 10000"/>
              <a:gd name="connsiteX63" fmla="*/ 2845 w 9713"/>
              <a:gd name="connsiteY63" fmla="*/ 9931 h 10000"/>
              <a:gd name="connsiteX64" fmla="*/ 3021 w 9713"/>
              <a:gd name="connsiteY64" fmla="*/ 9898 h 10000"/>
              <a:gd name="connsiteX65" fmla="*/ 3197 w 9713"/>
              <a:gd name="connsiteY65" fmla="*/ 9866 h 10000"/>
              <a:gd name="connsiteX66" fmla="*/ 3372 w 9713"/>
              <a:gd name="connsiteY66" fmla="*/ 9824 h 10000"/>
              <a:gd name="connsiteX67" fmla="*/ 3542 w 9713"/>
              <a:gd name="connsiteY67" fmla="*/ 9779 h 10000"/>
              <a:gd name="connsiteX68" fmla="*/ 3717 w 9713"/>
              <a:gd name="connsiteY68" fmla="*/ 9730 h 10000"/>
              <a:gd name="connsiteX69" fmla="*/ 3884 w 9713"/>
              <a:gd name="connsiteY69" fmla="*/ 9673 h 10000"/>
              <a:gd name="connsiteX70" fmla="*/ 4054 w 9713"/>
              <a:gd name="connsiteY70" fmla="*/ 9616 h 10000"/>
              <a:gd name="connsiteX71" fmla="*/ 4221 w 9713"/>
              <a:gd name="connsiteY71" fmla="*/ 9552 h 10000"/>
              <a:gd name="connsiteX72" fmla="*/ 4387 w 9713"/>
              <a:gd name="connsiteY72" fmla="*/ 9482 h 10000"/>
              <a:gd name="connsiteX73" fmla="*/ 4549 w 9713"/>
              <a:gd name="connsiteY73" fmla="*/ 9405 h 10000"/>
              <a:gd name="connsiteX74" fmla="*/ 4711 w 9713"/>
              <a:gd name="connsiteY74" fmla="*/ 9329 h 10000"/>
              <a:gd name="connsiteX75" fmla="*/ 4873 w 9713"/>
              <a:gd name="connsiteY75" fmla="*/ 9244 h 10000"/>
              <a:gd name="connsiteX76" fmla="*/ 5032 w 9713"/>
              <a:gd name="connsiteY76" fmla="*/ 9158 h 10000"/>
              <a:gd name="connsiteX77" fmla="*/ 5188 w 9713"/>
              <a:gd name="connsiteY77" fmla="*/ 9063 h 10000"/>
              <a:gd name="connsiteX78" fmla="*/ 5343 w 9713"/>
              <a:gd name="connsiteY78" fmla="*/ 8967 h 10000"/>
              <a:gd name="connsiteX79" fmla="*/ 5499 w 9713"/>
              <a:gd name="connsiteY79" fmla="*/ 8865 h 10000"/>
              <a:gd name="connsiteX80" fmla="*/ 5649 w 9713"/>
              <a:gd name="connsiteY80" fmla="*/ 8759 h 10000"/>
              <a:gd name="connsiteX81" fmla="*/ 5800 w 9713"/>
              <a:gd name="connsiteY81" fmla="*/ 8652 h 10000"/>
              <a:gd name="connsiteX82" fmla="*/ 5948 w 9713"/>
              <a:gd name="connsiteY82" fmla="*/ 8536 h 10000"/>
              <a:gd name="connsiteX83" fmla="*/ 6094 w 9713"/>
              <a:gd name="connsiteY83" fmla="*/ 8417 h 10000"/>
              <a:gd name="connsiteX84" fmla="*/ 6236 w 9713"/>
              <a:gd name="connsiteY84" fmla="*/ 8295 h 10000"/>
              <a:gd name="connsiteX85" fmla="*/ 6379 w 9713"/>
              <a:gd name="connsiteY85" fmla="*/ 8169 h 10000"/>
              <a:gd name="connsiteX86" fmla="*/ 6516 w 9713"/>
              <a:gd name="connsiteY86" fmla="*/ 8040 h 10000"/>
              <a:gd name="connsiteX87" fmla="*/ 6652 w 9713"/>
              <a:gd name="connsiteY87" fmla="*/ 7904 h 10000"/>
              <a:gd name="connsiteX88" fmla="*/ 6787 w 9713"/>
              <a:gd name="connsiteY88" fmla="*/ 7768 h 10000"/>
              <a:gd name="connsiteX89" fmla="*/ 6921 w 9713"/>
              <a:gd name="connsiteY89" fmla="*/ 7624 h 10000"/>
              <a:gd name="connsiteX90" fmla="*/ 7050 w 9713"/>
              <a:gd name="connsiteY90" fmla="*/ 7480 h 10000"/>
              <a:gd name="connsiteX91" fmla="*/ 7178 w 9713"/>
              <a:gd name="connsiteY91" fmla="*/ 7329 h 10000"/>
              <a:gd name="connsiteX92" fmla="*/ 7304 w 9713"/>
              <a:gd name="connsiteY92" fmla="*/ 7178 h 10000"/>
              <a:gd name="connsiteX93" fmla="*/ 7426 w 9713"/>
              <a:gd name="connsiteY93" fmla="*/ 7024 h 10000"/>
              <a:gd name="connsiteX94" fmla="*/ 7546 w 9713"/>
              <a:gd name="connsiteY94" fmla="*/ 6861 h 10000"/>
              <a:gd name="connsiteX95" fmla="*/ 7665 w 9713"/>
              <a:gd name="connsiteY95" fmla="*/ 6697 h 10000"/>
              <a:gd name="connsiteX96" fmla="*/ 7779 w 9713"/>
              <a:gd name="connsiteY96" fmla="*/ 6534 h 10000"/>
              <a:gd name="connsiteX97" fmla="*/ 7891 w 9713"/>
              <a:gd name="connsiteY97" fmla="*/ 6365 h 10000"/>
              <a:gd name="connsiteX98" fmla="*/ 8001 w 9713"/>
              <a:gd name="connsiteY98" fmla="*/ 6189 h 10000"/>
              <a:gd name="connsiteX99" fmla="*/ 8108 w 9713"/>
              <a:gd name="connsiteY99" fmla="*/ 6016 h 10000"/>
              <a:gd name="connsiteX100" fmla="*/ 8213 w 9713"/>
              <a:gd name="connsiteY100" fmla="*/ 5835 h 10000"/>
              <a:gd name="connsiteX101" fmla="*/ 8315 w 9713"/>
              <a:gd name="connsiteY101" fmla="*/ 5652 h 10000"/>
              <a:gd name="connsiteX102" fmla="*/ 8413 w 9713"/>
              <a:gd name="connsiteY102" fmla="*/ 5468 h 10000"/>
              <a:gd name="connsiteX103" fmla="*/ 8508 w 9713"/>
              <a:gd name="connsiteY103" fmla="*/ 5278 h 10000"/>
              <a:gd name="connsiteX104" fmla="*/ 8602 w 9713"/>
              <a:gd name="connsiteY104" fmla="*/ 5089 h 10000"/>
              <a:gd name="connsiteX105" fmla="*/ 8692 w 9713"/>
              <a:gd name="connsiteY105" fmla="*/ 4893 h 10000"/>
              <a:gd name="connsiteX106" fmla="*/ 8779 w 9713"/>
              <a:gd name="connsiteY106" fmla="*/ 4698 h 10000"/>
              <a:gd name="connsiteX107" fmla="*/ 8862 w 9713"/>
              <a:gd name="connsiteY107" fmla="*/ 4500 h 10000"/>
              <a:gd name="connsiteX108" fmla="*/ 8942 w 9713"/>
              <a:gd name="connsiteY108" fmla="*/ 4294 h 10000"/>
              <a:gd name="connsiteX109" fmla="*/ 9019 w 9713"/>
              <a:gd name="connsiteY109" fmla="*/ 4091 h 10000"/>
              <a:gd name="connsiteX110" fmla="*/ 9092 w 9713"/>
              <a:gd name="connsiteY110" fmla="*/ 3885 h 10000"/>
              <a:gd name="connsiteX111" fmla="*/ 9164 w 9713"/>
              <a:gd name="connsiteY111" fmla="*/ 3674 h 10000"/>
              <a:gd name="connsiteX112" fmla="*/ 9231 w 9713"/>
              <a:gd name="connsiteY112" fmla="*/ 3464 h 10000"/>
              <a:gd name="connsiteX113" fmla="*/ 9297 w 9713"/>
              <a:gd name="connsiteY113" fmla="*/ 3248 h 10000"/>
              <a:gd name="connsiteX114" fmla="*/ 9357 w 9713"/>
              <a:gd name="connsiteY114" fmla="*/ 3030 h 10000"/>
              <a:gd name="connsiteX115" fmla="*/ 9414 w 9713"/>
              <a:gd name="connsiteY115" fmla="*/ 2815 h 10000"/>
              <a:gd name="connsiteX116" fmla="*/ 9468 w 9713"/>
              <a:gd name="connsiteY116" fmla="*/ 2592 h 10000"/>
              <a:gd name="connsiteX117" fmla="*/ 9519 w 9713"/>
              <a:gd name="connsiteY117" fmla="*/ 2369 h 10000"/>
              <a:gd name="connsiteX118" fmla="*/ 9564 w 9713"/>
              <a:gd name="connsiteY118" fmla="*/ 2143 h 10000"/>
              <a:gd name="connsiteX119" fmla="*/ 9608 w 9713"/>
              <a:gd name="connsiteY119" fmla="*/ 1918 h 10000"/>
              <a:gd name="connsiteX120" fmla="*/ 9647 w 9713"/>
              <a:gd name="connsiteY120" fmla="*/ 1690 h 10000"/>
              <a:gd name="connsiteX121" fmla="*/ 9682 w 9713"/>
              <a:gd name="connsiteY121" fmla="*/ 1457 h 10000"/>
              <a:gd name="connsiteX122" fmla="*/ 9713 w 9713"/>
              <a:gd name="connsiteY122" fmla="*/ 1222 h 10000"/>
              <a:gd name="connsiteX123" fmla="*/ 7239 w 9713"/>
              <a:gd name="connsiteY123" fmla="*/ 1876 h 10000"/>
              <a:gd name="connsiteX124" fmla="*/ 5172 w 9713"/>
              <a:gd name="connsiteY124" fmla="*/ 0 h 10000"/>
              <a:gd name="connsiteX0" fmla="*/ 5179 w 9854"/>
              <a:gd name="connsiteY0" fmla="*/ 0 h 10000"/>
              <a:gd name="connsiteX1" fmla="*/ 5179 w 9854"/>
              <a:gd name="connsiteY1" fmla="*/ 0 h 10000"/>
              <a:gd name="connsiteX2" fmla="*/ 5170 w 9854"/>
              <a:gd name="connsiteY2" fmla="*/ 99 h 10000"/>
              <a:gd name="connsiteX3" fmla="*/ 5154 w 9854"/>
              <a:gd name="connsiteY3" fmla="*/ 201 h 10000"/>
              <a:gd name="connsiteX4" fmla="*/ 5141 w 9854"/>
              <a:gd name="connsiteY4" fmla="*/ 300 h 10000"/>
              <a:gd name="connsiteX5" fmla="*/ 5125 w 9854"/>
              <a:gd name="connsiteY5" fmla="*/ 394 h 10000"/>
              <a:gd name="connsiteX6" fmla="*/ 5106 w 9854"/>
              <a:gd name="connsiteY6" fmla="*/ 491 h 10000"/>
              <a:gd name="connsiteX7" fmla="*/ 5086 w 9854"/>
              <a:gd name="connsiteY7" fmla="*/ 587 h 10000"/>
              <a:gd name="connsiteX8" fmla="*/ 5065 w 9854"/>
              <a:gd name="connsiteY8" fmla="*/ 684 h 10000"/>
              <a:gd name="connsiteX9" fmla="*/ 5042 w 9854"/>
              <a:gd name="connsiteY9" fmla="*/ 778 h 10000"/>
              <a:gd name="connsiteX10" fmla="*/ 5019 w 9854"/>
              <a:gd name="connsiteY10" fmla="*/ 870 h 10000"/>
              <a:gd name="connsiteX11" fmla="*/ 4990 w 9854"/>
              <a:gd name="connsiteY11" fmla="*/ 961 h 10000"/>
              <a:gd name="connsiteX12" fmla="*/ 4966 w 9854"/>
              <a:gd name="connsiteY12" fmla="*/ 1053 h 10000"/>
              <a:gd name="connsiteX13" fmla="*/ 4936 w 9854"/>
              <a:gd name="connsiteY13" fmla="*/ 1145 h 10000"/>
              <a:gd name="connsiteX14" fmla="*/ 4904 w 9854"/>
              <a:gd name="connsiteY14" fmla="*/ 1231 h 10000"/>
              <a:gd name="connsiteX15" fmla="*/ 4873 w 9854"/>
              <a:gd name="connsiteY15" fmla="*/ 1318 h 10000"/>
              <a:gd name="connsiteX16" fmla="*/ 4840 w 9854"/>
              <a:gd name="connsiteY16" fmla="*/ 1405 h 10000"/>
              <a:gd name="connsiteX17" fmla="*/ 4806 w 9854"/>
              <a:gd name="connsiteY17" fmla="*/ 1494 h 10000"/>
              <a:gd name="connsiteX18" fmla="*/ 4770 w 9854"/>
              <a:gd name="connsiteY18" fmla="*/ 1578 h 10000"/>
              <a:gd name="connsiteX19" fmla="*/ 4732 w 9854"/>
              <a:gd name="connsiteY19" fmla="*/ 1663 h 10000"/>
              <a:gd name="connsiteX20" fmla="*/ 4693 w 9854"/>
              <a:gd name="connsiteY20" fmla="*/ 1742 h 10000"/>
              <a:gd name="connsiteX21" fmla="*/ 4652 w 9854"/>
              <a:gd name="connsiteY21" fmla="*/ 1824 h 10000"/>
              <a:gd name="connsiteX22" fmla="*/ 4611 w 9854"/>
              <a:gd name="connsiteY22" fmla="*/ 1903 h 10000"/>
              <a:gd name="connsiteX23" fmla="*/ 4569 w 9854"/>
              <a:gd name="connsiteY23" fmla="*/ 1985 h 10000"/>
              <a:gd name="connsiteX24" fmla="*/ 4525 w 9854"/>
              <a:gd name="connsiteY24" fmla="*/ 2059 h 10000"/>
              <a:gd name="connsiteX25" fmla="*/ 4479 w 9854"/>
              <a:gd name="connsiteY25" fmla="*/ 2133 h 10000"/>
              <a:gd name="connsiteX26" fmla="*/ 4431 w 9854"/>
              <a:gd name="connsiteY26" fmla="*/ 2210 h 10000"/>
              <a:gd name="connsiteX27" fmla="*/ 4384 w 9854"/>
              <a:gd name="connsiteY27" fmla="*/ 2282 h 10000"/>
              <a:gd name="connsiteX28" fmla="*/ 4334 w 9854"/>
              <a:gd name="connsiteY28" fmla="*/ 2354 h 10000"/>
              <a:gd name="connsiteX29" fmla="*/ 4285 w 9854"/>
              <a:gd name="connsiteY29" fmla="*/ 2426 h 10000"/>
              <a:gd name="connsiteX30" fmla="*/ 4234 w 9854"/>
              <a:gd name="connsiteY30" fmla="*/ 2495 h 10000"/>
              <a:gd name="connsiteX31" fmla="*/ 4180 w 9854"/>
              <a:gd name="connsiteY31" fmla="*/ 2562 h 10000"/>
              <a:gd name="connsiteX32" fmla="*/ 4128 w 9854"/>
              <a:gd name="connsiteY32" fmla="*/ 2626 h 10000"/>
              <a:gd name="connsiteX33" fmla="*/ 4072 w 9854"/>
              <a:gd name="connsiteY33" fmla="*/ 2691 h 10000"/>
              <a:gd name="connsiteX34" fmla="*/ 4017 w 9854"/>
              <a:gd name="connsiteY34" fmla="*/ 2753 h 10000"/>
              <a:gd name="connsiteX35" fmla="*/ 3958 w 9854"/>
              <a:gd name="connsiteY35" fmla="*/ 2817 h 10000"/>
              <a:gd name="connsiteX36" fmla="*/ 3901 w 9854"/>
              <a:gd name="connsiteY36" fmla="*/ 2874 h 10000"/>
              <a:gd name="connsiteX37" fmla="*/ 3842 w 9854"/>
              <a:gd name="connsiteY37" fmla="*/ 2934 h 10000"/>
              <a:gd name="connsiteX38" fmla="*/ 3782 w 9854"/>
              <a:gd name="connsiteY38" fmla="*/ 2988 h 10000"/>
              <a:gd name="connsiteX39" fmla="*/ 3721 w 9854"/>
              <a:gd name="connsiteY39" fmla="*/ 3043 h 10000"/>
              <a:gd name="connsiteX40" fmla="*/ 3659 w 9854"/>
              <a:gd name="connsiteY40" fmla="*/ 3097 h 10000"/>
              <a:gd name="connsiteX41" fmla="*/ 3597 w 9854"/>
              <a:gd name="connsiteY41" fmla="*/ 3149 h 10000"/>
              <a:gd name="connsiteX42" fmla="*/ 3533 w 9854"/>
              <a:gd name="connsiteY42" fmla="*/ 3196 h 10000"/>
              <a:gd name="connsiteX43" fmla="*/ 3468 w 9854"/>
              <a:gd name="connsiteY43" fmla="*/ 3243 h 10000"/>
              <a:gd name="connsiteX44" fmla="*/ 3586 w 9854"/>
              <a:gd name="connsiteY44" fmla="*/ 6577 h 10000"/>
              <a:gd name="connsiteX45" fmla="*/ 0 w 9854"/>
              <a:gd name="connsiteY45" fmla="*/ 9720 h 10000"/>
              <a:gd name="connsiteX46" fmla="*/ 151 w 9854"/>
              <a:gd name="connsiteY46" fmla="*/ 9765 h 10000"/>
              <a:gd name="connsiteX47" fmla="*/ 301 w 9854"/>
              <a:gd name="connsiteY47" fmla="*/ 9804 h 10000"/>
              <a:gd name="connsiteX48" fmla="*/ 452 w 9854"/>
              <a:gd name="connsiteY48" fmla="*/ 9839 h 10000"/>
              <a:gd name="connsiteX49" fmla="*/ 605 w 9854"/>
              <a:gd name="connsiteY49" fmla="*/ 9874 h 10000"/>
              <a:gd name="connsiteX50" fmla="*/ 760 w 9854"/>
              <a:gd name="connsiteY50" fmla="*/ 9903 h 10000"/>
              <a:gd name="connsiteX51" fmla="*/ 912 w 9854"/>
              <a:gd name="connsiteY51" fmla="*/ 9926 h 10000"/>
              <a:gd name="connsiteX52" fmla="*/ 1068 w 9854"/>
              <a:gd name="connsiteY52" fmla="*/ 9948 h 10000"/>
              <a:gd name="connsiteX53" fmla="*/ 1223 w 9854"/>
              <a:gd name="connsiteY53" fmla="*/ 9965 h 10000"/>
              <a:gd name="connsiteX54" fmla="*/ 1380 w 9854"/>
              <a:gd name="connsiteY54" fmla="*/ 9980 h 10000"/>
              <a:gd name="connsiteX55" fmla="*/ 1539 w 9854"/>
              <a:gd name="connsiteY55" fmla="*/ 9990 h 10000"/>
              <a:gd name="connsiteX56" fmla="*/ 1698 w 9854"/>
              <a:gd name="connsiteY56" fmla="*/ 9995 h 10000"/>
              <a:gd name="connsiteX57" fmla="*/ 1855 w 9854"/>
              <a:gd name="connsiteY57" fmla="*/ 10000 h 10000"/>
              <a:gd name="connsiteX58" fmla="*/ 2046 w 9854"/>
              <a:gd name="connsiteY58" fmla="*/ 9995 h 10000"/>
              <a:gd name="connsiteX59" fmla="*/ 2230 w 9854"/>
              <a:gd name="connsiteY59" fmla="*/ 9988 h 10000"/>
              <a:gd name="connsiteX60" fmla="*/ 2417 w 9854"/>
              <a:gd name="connsiteY60" fmla="*/ 9975 h 10000"/>
              <a:gd name="connsiteX61" fmla="*/ 2598 w 9854"/>
              <a:gd name="connsiteY61" fmla="*/ 9953 h 10000"/>
              <a:gd name="connsiteX62" fmla="*/ 2783 w 9854"/>
              <a:gd name="connsiteY62" fmla="*/ 9931 h 10000"/>
              <a:gd name="connsiteX63" fmla="*/ 2964 w 9854"/>
              <a:gd name="connsiteY63" fmla="*/ 9898 h 10000"/>
              <a:gd name="connsiteX64" fmla="*/ 3145 w 9854"/>
              <a:gd name="connsiteY64" fmla="*/ 9866 h 10000"/>
              <a:gd name="connsiteX65" fmla="*/ 3326 w 9854"/>
              <a:gd name="connsiteY65" fmla="*/ 9824 h 10000"/>
              <a:gd name="connsiteX66" fmla="*/ 3501 w 9854"/>
              <a:gd name="connsiteY66" fmla="*/ 9779 h 10000"/>
              <a:gd name="connsiteX67" fmla="*/ 3681 w 9854"/>
              <a:gd name="connsiteY67" fmla="*/ 9730 h 10000"/>
              <a:gd name="connsiteX68" fmla="*/ 3853 w 9854"/>
              <a:gd name="connsiteY68" fmla="*/ 9673 h 10000"/>
              <a:gd name="connsiteX69" fmla="*/ 4028 w 9854"/>
              <a:gd name="connsiteY69" fmla="*/ 9616 h 10000"/>
              <a:gd name="connsiteX70" fmla="*/ 4200 w 9854"/>
              <a:gd name="connsiteY70" fmla="*/ 9552 h 10000"/>
              <a:gd name="connsiteX71" fmla="*/ 4371 w 9854"/>
              <a:gd name="connsiteY71" fmla="*/ 9482 h 10000"/>
              <a:gd name="connsiteX72" fmla="*/ 4537 w 9854"/>
              <a:gd name="connsiteY72" fmla="*/ 9405 h 10000"/>
              <a:gd name="connsiteX73" fmla="*/ 4704 w 9854"/>
              <a:gd name="connsiteY73" fmla="*/ 9329 h 10000"/>
              <a:gd name="connsiteX74" fmla="*/ 4871 w 9854"/>
              <a:gd name="connsiteY74" fmla="*/ 9244 h 10000"/>
              <a:gd name="connsiteX75" fmla="*/ 5035 w 9854"/>
              <a:gd name="connsiteY75" fmla="*/ 9158 h 10000"/>
              <a:gd name="connsiteX76" fmla="*/ 5195 w 9854"/>
              <a:gd name="connsiteY76" fmla="*/ 9063 h 10000"/>
              <a:gd name="connsiteX77" fmla="*/ 5355 w 9854"/>
              <a:gd name="connsiteY77" fmla="*/ 8967 h 10000"/>
              <a:gd name="connsiteX78" fmla="*/ 5515 w 9854"/>
              <a:gd name="connsiteY78" fmla="*/ 8865 h 10000"/>
              <a:gd name="connsiteX79" fmla="*/ 5670 w 9854"/>
              <a:gd name="connsiteY79" fmla="*/ 8759 h 10000"/>
              <a:gd name="connsiteX80" fmla="*/ 5825 w 9854"/>
              <a:gd name="connsiteY80" fmla="*/ 8652 h 10000"/>
              <a:gd name="connsiteX81" fmla="*/ 5978 w 9854"/>
              <a:gd name="connsiteY81" fmla="*/ 8536 h 10000"/>
              <a:gd name="connsiteX82" fmla="*/ 6128 w 9854"/>
              <a:gd name="connsiteY82" fmla="*/ 8417 h 10000"/>
              <a:gd name="connsiteX83" fmla="*/ 6274 w 9854"/>
              <a:gd name="connsiteY83" fmla="*/ 8295 h 10000"/>
              <a:gd name="connsiteX84" fmla="*/ 6421 w 9854"/>
              <a:gd name="connsiteY84" fmla="*/ 8169 h 10000"/>
              <a:gd name="connsiteX85" fmla="*/ 6563 w 9854"/>
              <a:gd name="connsiteY85" fmla="*/ 8040 h 10000"/>
              <a:gd name="connsiteX86" fmla="*/ 6703 w 9854"/>
              <a:gd name="connsiteY86" fmla="*/ 7904 h 10000"/>
              <a:gd name="connsiteX87" fmla="*/ 6842 w 9854"/>
              <a:gd name="connsiteY87" fmla="*/ 7768 h 10000"/>
              <a:gd name="connsiteX88" fmla="*/ 6980 w 9854"/>
              <a:gd name="connsiteY88" fmla="*/ 7624 h 10000"/>
              <a:gd name="connsiteX89" fmla="*/ 7112 w 9854"/>
              <a:gd name="connsiteY89" fmla="*/ 7480 h 10000"/>
              <a:gd name="connsiteX90" fmla="*/ 7244 w 9854"/>
              <a:gd name="connsiteY90" fmla="*/ 7329 h 10000"/>
              <a:gd name="connsiteX91" fmla="*/ 7374 w 9854"/>
              <a:gd name="connsiteY91" fmla="*/ 7178 h 10000"/>
              <a:gd name="connsiteX92" fmla="*/ 7499 w 9854"/>
              <a:gd name="connsiteY92" fmla="*/ 7024 h 10000"/>
              <a:gd name="connsiteX93" fmla="*/ 7623 w 9854"/>
              <a:gd name="connsiteY93" fmla="*/ 6861 h 10000"/>
              <a:gd name="connsiteX94" fmla="*/ 7745 w 9854"/>
              <a:gd name="connsiteY94" fmla="*/ 6697 h 10000"/>
              <a:gd name="connsiteX95" fmla="*/ 7863 w 9854"/>
              <a:gd name="connsiteY95" fmla="*/ 6534 h 10000"/>
              <a:gd name="connsiteX96" fmla="*/ 7978 w 9854"/>
              <a:gd name="connsiteY96" fmla="*/ 6365 h 10000"/>
              <a:gd name="connsiteX97" fmla="*/ 8091 w 9854"/>
              <a:gd name="connsiteY97" fmla="*/ 6189 h 10000"/>
              <a:gd name="connsiteX98" fmla="*/ 8202 w 9854"/>
              <a:gd name="connsiteY98" fmla="*/ 6016 h 10000"/>
              <a:gd name="connsiteX99" fmla="*/ 8310 w 9854"/>
              <a:gd name="connsiteY99" fmla="*/ 5835 h 10000"/>
              <a:gd name="connsiteX100" fmla="*/ 8415 w 9854"/>
              <a:gd name="connsiteY100" fmla="*/ 5652 h 10000"/>
              <a:gd name="connsiteX101" fmla="*/ 8516 w 9854"/>
              <a:gd name="connsiteY101" fmla="*/ 5468 h 10000"/>
              <a:gd name="connsiteX102" fmla="*/ 8613 w 9854"/>
              <a:gd name="connsiteY102" fmla="*/ 5278 h 10000"/>
              <a:gd name="connsiteX103" fmla="*/ 8710 w 9854"/>
              <a:gd name="connsiteY103" fmla="*/ 5089 h 10000"/>
              <a:gd name="connsiteX104" fmla="*/ 8803 w 9854"/>
              <a:gd name="connsiteY104" fmla="*/ 4893 h 10000"/>
              <a:gd name="connsiteX105" fmla="*/ 8892 w 9854"/>
              <a:gd name="connsiteY105" fmla="*/ 4698 h 10000"/>
              <a:gd name="connsiteX106" fmla="*/ 8978 w 9854"/>
              <a:gd name="connsiteY106" fmla="*/ 4500 h 10000"/>
              <a:gd name="connsiteX107" fmla="*/ 9060 w 9854"/>
              <a:gd name="connsiteY107" fmla="*/ 4294 h 10000"/>
              <a:gd name="connsiteX108" fmla="*/ 9139 w 9854"/>
              <a:gd name="connsiteY108" fmla="*/ 4091 h 10000"/>
              <a:gd name="connsiteX109" fmla="*/ 9215 w 9854"/>
              <a:gd name="connsiteY109" fmla="*/ 3885 h 10000"/>
              <a:gd name="connsiteX110" fmla="*/ 9289 w 9854"/>
              <a:gd name="connsiteY110" fmla="*/ 3674 h 10000"/>
              <a:gd name="connsiteX111" fmla="*/ 9358 w 9854"/>
              <a:gd name="connsiteY111" fmla="*/ 3464 h 10000"/>
              <a:gd name="connsiteX112" fmla="*/ 9426 w 9854"/>
              <a:gd name="connsiteY112" fmla="*/ 3248 h 10000"/>
              <a:gd name="connsiteX113" fmla="*/ 9487 w 9854"/>
              <a:gd name="connsiteY113" fmla="*/ 3030 h 10000"/>
              <a:gd name="connsiteX114" fmla="*/ 9546 w 9854"/>
              <a:gd name="connsiteY114" fmla="*/ 2815 h 10000"/>
              <a:gd name="connsiteX115" fmla="*/ 9602 w 9854"/>
              <a:gd name="connsiteY115" fmla="*/ 2592 h 10000"/>
              <a:gd name="connsiteX116" fmla="*/ 9654 w 9854"/>
              <a:gd name="connsiteY116" fmla="*/ 2369 h 10000"/>
              <a:gd name="connsiteX117" fmla="*/ 9701 w 9854"/>
              <a:gd name="connsiteY117" fmla="*/ 2143 h 10000"/>
              <a:gd name="connsiteX118" fmla="*/ 9746 w 9854"/>
              <a:gd name="connsiteY118" fmla="*/ 1918 h 10000"/>
              <a:gd name="connsiteX119" fmla="*/ 9786 w 9854"/>
              <a:gd name="connsiteY119" fmla="*/ 1690 h 10000"/>
              <a:gd name="connsiteX120" fmla="*/ 9822 w 9854"/>
              <a:gd name="connsiteY120" fmla="*/ 1457 h 10000"/>
              <a:gd name="connsiteX121" fmla="*/ 9854 w 9854"/>
              <a:gd name="connsiteY121" fmla="*/ 1222 h 10000"/>
              <a:gd name="connsiteX122" fmla="*/ 7307 w 9854"/>
              <a:gd name="connsiteY122" fmla="*/ 1876 h 10000"/>
              <a:gd name="connsiteX123" fmla="*/ 5179 w 9854"/>
              <a:gd name="connsiteY123" fmla="*/ 0 h 10000"/>
              <a:gd name="connsiteX0" fmla="*/ 5325 w 10069"/>
              <a:gd name="connsiteY0" fmla="*/ 0 h 10011"/>
              <a:gd name="connsiteX1" fmla="*/ 5325 w 10069"/>
              <a:gd name="connsiteY1" fmla="*/ 0 h 10011"/>
              <a:gd name="connsiteX2" fmla="*/ 5316 w 10069"/>
              <a:gd name="connsiteY2" fmla="*/ 99 h 10011"/>
              <a:gd name="connsiteX3" fmla="*/ 5299 w 10069"/>
              <a:gd name="connsiteY3" fmla="*/ 201 h 10011"/>
              <a:gd name="connsiteX4" fmla="*/ 5286 w 10069"/>
              <a:gd name="connsiteY4" fmla="*/ 300 h 10011"/>
              <a:gd name="connsiteX5" fmla="*/ 5270 w 10069"/>
              <a:gd name="connsiteY5" fmla="*/ 394 h 10011"/>
              <a:gd name="connsiteX6" fmla="*/ 5251 w 10069"/>
              <a:gd name="connsiteY6" fmla="*/ 491 h 10011"/>
              <a:gd name="connsiteX7" fmla="*/ 5230 w 10069"/>
              <a:gd name="connsiteY7" fmla="*/ 587 h 10011"/>
              <a:gd name="connsiteX8" fmla="*/ 5209 w 10069"/>
              <a:gd name="connsiteY8" fmla="*/ 684 h 10011"/>
              <a:gd name="connsiteX9" fmla="*/ 5186 w 10069"/>
              <a:gd name="connsiteY9" fmla="*/ 778 h 10011"/>
              <a:gd name="connsiteX10" fmla="*/ 5162 w 10069"/>
              <a:gd name="connsiteY10" fmla="*/ 870 h 10011"/>
              <a:gd name="connsiteX11" fmla="*/ 5133 w 10069"/>
              <a:gd name="connsiteY11" fmla="*/ 961 h 10011"/>
              <a:gd name="connsiteX12" fmla="*/ 5109 w 10069"/>
              <a:gd name="connsiteY12" fmla="*/ 1053 h 10011"/>
              <a:gd name="connsiteX13" fmla="*/ 5078 w 10069"/>
              <a:gd name="connsiteY13" fmla="*/ 1145 h 10011"/>
              <a:gd name="connsiteX14" fmla="*/ 5046 w 10069"/>
              <a:gd name="connsiteY14" fmla="*/ 1231 h 10011"/>
              <a:gd name="connsiteX15" fmla="*/ 5014 w 10069"/>
              <a:gd name="connsiteY15" fmla="*/ 1318 h 10011"/>
              <a:gd name="connsiteX16" fmla="*/ 4981 w 10069"/>
              <a:gd name="connsiteY16" fmla="*/ 1405 h 10011"/>
              <a:gd name="connsiteX17" fmla="*/ 4946 w 10069"/>
              <a:gd name="connsiteY17" fmla="*/ 1494 h 10011"/>
              <a:gd name="connsiteX18" fmla="*/ 4910 w 10069"/>
              <a:gd name="connsiteY18" fmla="*/ 1578 h 10011"/>
              <a:gd name="connsiteX19" fmla="*/ 4871 w 10069"/>
              <a:gd name="connsiteY19" fmla="*/ 1663 h 10011"/>
              <a:gd name="connsiteX20" fmla="*/ 4832 w 10069"/>
              <a:gd name="connsiteY20" fmla="*/ 1742 h 10011"/>
              <a:gd name="connsiteX21" fmla="*/ 4790 w 10069"/>
              <a:gd name="connsiteY21" fmla="*/ 1824 h 10011"/>
              <a:gd name="connsiteX22" fmla="*/ 4748 w 10069"/>
              <a:gd name="connsiteY22" fmla="*/ 1903 h 10011"/>
              <a:gd name="connsiteX23" fmla="*/ 4706 w 10069"/>
              <a:gd name="connsiteY23" fmla="*/ 1985 h 10011"/>
              <a:gd name="connsiteX24" fmla="*/ 4661 w 10069"/>
              <a:gd name="connsiteY24" fmla="*/ 2059 h 10011"/>
              <a:gd name="connsiteX25" fmla="*/ 4614 w 10069"/>
              <a:gd name="connsiteY25" fmla="*/ 2133 h 10011"/>
              <a:gd name="connsiteX26" fmla="*/ 4566 w 10069"/>
              <a:gd name="connsiteY26" fmla="*/ 2210 h 10011"/>
              <a:gd name="connsiteX27" fmla="*/ 4518 w 10069"/>
              <a:gd name="connsiteY27" fmla="*/ 2282 h 10011"/>
              <a:gd name="connsiteX28" fmla="*/ 4467 w 10069"/>
              <a:gd name="connsiteY28" fmla="*/ 2354 h 10011"/>
              <a:gd name="connsiteX29" fmla="*/ 4417 w 10069"/>
              <a:gd name="connsiteY29" fmla="*/ 2426 h 10011"/>
              <a:gd name="connsiteX30" fmla="*/ 4366 w 10069"/>
              <a:gd name="connsiteY30" fmla="*/ 2495 h 10011"/>
              <a:gd name="connsiteX31" fmla="*/ 4311 w 10069"/>
              <a:gd name="connsiteY31" fmla="*/ 2562 h 10011"/>
              <a:gd name="connsiteX32" fmla="*/ 4258 w 10069"/>
              <a:gd name="connsiteY32" fmla="*/ 2626 h 10011"/>
              <a:gd name="connsiteX33" fmla="*/ 4201 w 10069"/>
              <a:gd name="connsiteY33" fmla="*/ 2691 h 10011"/>
              <a:gd name="connsiteX34" fmla="*/ 4146 w 10069"/>
              <a:gd name="connsiteY34" fmla="*/ 2753 h 10011"/>
              <a:gd name="connsiteX35" fmla="*/ 4086 w 10069"/>
              <a:gd name="connsiteY35" fmla="*/ 2817 h 10011"/>
              <a:gd name="connsiteX36" fmla="*/ 4028 w 10069"/>
              <a:gd name="connsiteY36" fmla="*/ 2874 h 10011"/>
              <a:gd name="connsiteX37" fmla="*/ 3968 w 10069"/>
              <a:gd name="connsiteY37" fmla="*/ 2934 h 10011"/>
              <a:gd name="connsiteX38" fmla="*/ 3907 w 10069"/>
              <a:gd name="connsiteY38" fmla="*/ 2988 h 10011"/>
              <a:gd name="connsiteX39" fmla="*/ 3845 w 10069"/>
              <a:gd name="connsiteY39" fmla="*/ 3043 h 10011"/>
              <a:gd name="connsiteX40" fmla="*/ 3782 w 10069"/>
              <a:gd name="connsiteY40" fmla="*/ 3097 h 10011"/>
              <a:gd name="connsiteX41" fmla="*/ 3719 w 10069"/>
              <a:gd name="connsiteY41" fmla="*/ 3149 h 10011"/>
              <a:gd name="connsiteX42" fmla="*/ 3654 w 10069"/>
              <a:gd name="connsiteY42" fmla="*/ 3196 h 10011"/>
              <a:gd name="connsiteX43" fmla="*/ 3588 w 10069"/>
              <a:gd name="connsiteY43" fmla="*/ 3243 h 10011"/>
              <a:gd name="connsiteX44" fmla="*/ 3708 w 10069"/>
              <a:gd name="connsiteY44" fmla="*/ 6577 h 10011"/>
              <a:gd name="connsiteX45" fmla="*/ 222 w 10069"/>
              <a:gd name="connsiteY45" fmla="*/ 9765 h 10011"/>
              <a:gd name="connsiteX46" fmla="*/ 374 w 10069"/>
              <a:gd name="connsiteY46" fmla="*/ 9804 h 10011"/>
              <a:gd name="connsiteX47" fmla="*/ 528 w 10069"/>
              <a:gd name="connsiteY47" fmla="*/ 9839 h 10011"/>
              <a:gd name="connsiteX48" fmla="*/ 683 w 10069"/>
              <a:gd name="connsiteY48" fmla="*/ 9874 h 10011"/>
              <a:gd name="connsiteX49" fmla="*/ 840 w 10069"/>
              <a:gd name="connsiteY49" fmla="*/ 9903 h 10011"/>
              <a:gd name="connsiteX50" fmla="*/ 995 w 10069"/>
              <a:gd name="connsiteY50" fmla="*/ 9926 h 10011"/>
              <a:gd name="connsiteX51" fmla="*/ 1153 w 10069"/>
              <a:gd name="connsiteY51" fmla="*/ 9948 h 10011"/>
              <a:gd name="connsiteX52" fmla="*/ 1310 w 10069"/>
              <a:gd name="connsiteY52" fmla="*/ 9965 h 10011"/>
              <a:gd name="connsiteX53" fmla="*/ 1469 w 10069"/>
              <a:gd name="connsiteY53" fmla="*/ 9980 h 10011"/>
              <a:gd name="connsiteX54" fmla="*/ 1631 w 10069"/>
              <a:gd name="connsiteY54" fmla="*/ 9990 h 10011"/>
              <a:gd name="connsiteX55" fmla="*/ 1792 w 10069"/>
              <a:gd name="connsiteY55" fmla="*/ 9995 h 10011"/>
              <a:gd name="connsiteX56" fmla="*/ 1951 w 10069"/>
              <a:gd name="connsiteY56" fmla="*/ 10000 h 10011"/>
              <a:gd name="connsiteX57" fmla="*/ 2145 w 10069"/>
              <a:gd name="connsiteY57" fmla="*/ 9995 h 10011"/>
              <a:gd name="connsiteX58" fmla="*/ 2332 w 10069"/>
              <a:gd name="connsiteY58" fmla="*/ 9988 h 10011"/>
              <a:gd name="connsiteX59" fmla="*/ 2522 w 10069"/>
              <a:gd name="connsiteY59" fmla="*/ 9975 h 10011"/>
              <a:gd name="connsiteX60" fmla="*/ 2705 w 10069"/>
              <a:gd name="connsiteY60" fmla="*/ 9953 h 10011"/>
              <a:gd name="connsiteX61" fmla="*/ 2893 w 10069"/>
              <a:gd name="connsiteY61" fmla="*/ 9931 h 10011"/>
              <a:gd name="connsiteX62" fmla="*/ 3077 w 10069"/>
              <a:gd name="connsiteY62" fmla="*/ 9898 h 10011"/>
              <a:gd name="connsiteX63" fmla="*/ 3261 w 10069"/>
              <a:gd name="connsiteY63" fmla="*/ 9866 h 10011"/>
              <a:gd name="connsiteX64" fmla="*/ 3444 w 10069"/>
              <a:gd name="connsiteY64" fmla="*/ 9824 h 10011"/>
              <a:gd name="connsiteX65" fmla="*/ 3622 w 10069"/>
              <a:gd name="connsiteY65" fmla="*/ 9779 h 10011"/>
              <a:gd name="connsiteX66" fmla="*/ 3805 w 10069"/>
              <a:gd name="connsiteY66" fmla="*/ 9730 h 10011"/>
              <a:gd name="connsiteX67" fmla="*/ 3979 w 10069"/>
              <a:gd name="connsiteY67" fmla="*/ 9673 h 10011"/>
              <a:gd name="connsiteX68" fmla="*/ 4157 w 10069"/>
              <a:gd name="connsiteY68" fmla="*/ 9616 h 10011"/>
              <a:gd name="connsiteX69" fmla="*/ 4331 w 10069"/>
              <a:gd name="connsiteY69" fmla="*/ 9552 h 10011"/>
              <a:gd name="connsiteX70" fmla="*/ 4505 w 10069"/>
              <a:gd name="connsiteY70" fmla="*/ 9482 h 10011"/>
              <a:gd name="connsiteX71" fmla="*/ 4673 w 10069"/>
              <a:gd name="connsiteY71" fmla="*/ 9405 h 10011"/>
              <a:gd name="connsiteX72" fmla="*/ 4843 w 10069"/>
              <a:gd name="connsiteY72" fmla="*/ 9329 h 10011"/>
              <a:gd name="connsiteX73" fmla="*/ 5012 w 10069"/>
              <a:gd name="connsiteY73" fmla="*/ 9244 h 10011"/>
              <a:gd name="connsiteX74" fmla="*/ 5179 w 10069"/>
              <a:gd name="connsiteY74" fmla="*/ 9158 h 10011"/>
              <a:gd name="connsiteX75" fmla="*/ 5341 w 10069"/>
              <a:gd name="connsiteY75" fmla="*/ 9063 h 10011"/>
              <a:gd name="connsiteX76" fmla="*/ 5503 w 10069"/>
              <a:gd name="connsiteY76" fmla="*/ 8967 h 10011"/>
              <a:gd name="connsiteX77" fmla="*/ 5666 w 10069"/>
              <a:gd name="connsiteY77" fmla="*/ 8865 h 10011"/>
              <a:gd name="connsiteX78" fmla="*/ 5823 w 10069"/>
              <a:gd name="connsiteY78" fmla="*/ 8759 h 10011"/>
              <a:gd name="connsiteX79" fmla="*/ 5980 w 10069"/>
              <a:gd name="connsiteY79" fmla="*/ 8652 h 10011"/>
              <a:gd name="connsiteX80" fmla="*/ 6136 w 10069"/>
              <a:gd name="connsiteY80" fmla="*/ 8536 h 10011"/>
              <a:gd name="connsiteX81" fmla="*/ 6288 w 10069"/>
              <a:gd name="connsiteY81" fmla="*/ 8417 h 10011"/>
              <a:gd name="connsiteX82" fmla="*/ 6436 w 10069"/>
              <a:gd name="connsiteY82" fmla="*/ 8295 h 10011"/>
              <a:gd name="connsiteX83" fmla="*/ 6585 w 10069"/>
              <a:gd name="connsiteY83" fmla="*/ 8169 h 10011"/>
              <a:gd name="connsiteX84" fmla="*/ 6729 w 10069"/>
              <a:gd name="connsiteY84" fmla="*/ 8040 h 10011"/>
              <a:gd name="connsiteX85" fmla="*/ 6871 w 10069"/>
              <a:gd name="connsiteY85" fmla="*/ 7904 h 10011"/>
              <a:gd name="connsiteX86" fmla="*/ 7012 w 10069"/>
              <a:gd name="connsiteY86" fmla="*/ 7768 h 10011"/>
              <a:gd name="connsiteX87" fmla="*/ 7152 w 10069"/>
              <a:gd name="connsiteY87" fmla="*/ 7624 h 10011"/>
              <a:gd name="connsiteX88" fmla="*/ 7286 w 10069"/>
              <a:gd name="connsiteY88" fmla="*/ 7480 h 10011"/>
              <a:gd name="connsiteX89" fmla="*/ 7420 w 10069"/>
              <a:gd name="connsiteY89" fmla="*/ 7329 h 10011"/>
              <a:gd name="connsiteX90" fmla="*/ 7552 w 10069"/>
              <a:gd name="connsiteY90" fmla="*/ 7178 h 10011"/>
              <a:gd name="connsiteX91" fmla="*/ 7679 w 10069"/>
              <a:gd name="connsiteY91" fmla="*/ 7024 h 10011"/>
              <a:gd name="connsiteX92" fmla="*/ 7805 w 10069"/>
              <a:gd name="connsiteY92" fmla="*/ 6861 h 10011"/>
              <a:gd name="connsiteX93" fmla="*/ 7929 w 10069"/>
              <a:gd name="connsiteY93" fmla="*/ 6697 h 10011"/>
              <a:gd name="connsiteX94" fmla="*/ 8049 w 10069"/>
              <a:gd name="connsiteY94" fmla="*/ 6534 h 10011"/>
              <a:gd name="connsiteX95" fmla="*/ 8165 w 10069"/>
              <a:gd name="connsiteY95" fmla="*/ 6365 h 10011"/>
              <a:gd name="connsiteX96" fmla="*/ 8280 w 10069"/>
              <a:gd name="connsiteY96" fmla="*/ 6189 h 10011"/>
              <a:gd name="connsiteX97" fmla="*/ 8393 w 10069"/>
              <a:gd name="connsiteY97" fmla="*/ 6016 h 10011"/>
              <a:gd name="connsiteX98" fmla="*/ 8502 w 10069"/>
              <a:gd name="connsiteY98" fmla="*/ 5835 h 10011"/>
              <a:gd name="connsiteX99" fmla="*/ 8609 w 10069"/>
              <a:gd name="connsiteY99" fmla="*/ 5652 h 10011"/>
              <a:gd name="connsiteX100" fmla="*/ 8711 w 10069"/>
              <a:gd name="connsiteY100" fmla="*/ 5468 h 10011"/>
              <a:gd name="connsiteX101" fmla="*/ 8810 w 10069"/>
              <a:gd name="connsiteY101" fmla="*/ 5278 h 10011"/>
              <a:gd name="connsiteX102" fmla="*/ 8908 w 10069"/>
              <a:gd name="connsiteY102" fmla="*/ 5089 h 10011"/>
              <a:gd name="connsiteX103" fmla="*/ 9002 w 10069"/>
              <a:gd name="connsiteY103" fmla="*/ 4893 h 10011"/>
              <a:gd name="connsiteX104" fmla="*/ 9093 w 10069"/>
              <a:gd name="connsiteY104" fmla="*/ 4698 h 10011"/>
              <a:gd name="connsiteX105" fmla="*/ 9180 w 10069"/>
              <a:gd name="connsiteY105" fmla="*/ 4500 h 10011"/>
              <a:gd name="connsiteX106" fmla="*/ 9263 w 10069"/>
              <a:gd name="connsiteY106" fmla="*/ 4294 h 10011"/>
              <a:gd name="connsiteX107" fmla="*/ 9343 w 10069"/>
              <a:gd name="connsiteY107" fmla="*/ 4091 h 10011"/>
              <a:gd name="connsiteX108" fmla="*/ 9421 w 10069"/>
              <a:gd name="connsiteY108" fmla="*/ 3885 h 10011"/>
              <a:gd name="connsiteX109" fmla="*/ 9496 w 10069"/>
              <a:gd name="connsiteY109" fmla="*/ 3674 h 10011"/>
              <a:gd name="connsiteX110" fmla="*/ 9566 w 10069"/>
              <a:gd name="connsiteY110" fmla="*/ 3464 h 10011"/>
              <a:gd name="connsiteX111" fmla="*/ 9635 w 10069"/>
              <a:gd name="connsiteY111" fmla="*/ 3248 h 10011"/>
              <a:gd name="connsiteX112" fmla="*/ 9697 w 10069"/>
              <a:gd name="connsiteY112" fmla="*/ 3030 h 10011"/>
              <a:gd name="connsiteX113" fmla="*/ 9756 w 10069"/>
              <a:gd name="connsiteY113" fmla="*/ 2815 h 10011"/>
              <a:gd name="connsiteX114" fmla="*/ 9813 w 10069"/>
              <a:gd name="connsiteY114" fmla="*/ 2592 h 10011"/>
              <a:gd name="connsiteX115" fmla="*/ 9866 w 10069"/>
              <a:gd name="connsiteY115" fmla="*/ 2369 h 10011"/>
              <a:gd name="connsiteX116" fmla="*/ 9914 w 10069"/>
              <a:gd name="connsiteY116" fmla="*/ 2143 h 10011"/>
              <a:gd name="connsiteX117" fmla="*/ 9959 w 10069"/>
              <a:gd name="connsiteY117" fmla="*/ 1918 h 10011"/>
              <a:gd name="connsiteX118" fmla="*/ 10000 w 10069"/>
              <a:gd name="connsiteY118" fmla="*/ 1690 h 10011"/>
              <a:gd name="connsiteX119" fmla="*/ 10037 w 10069"/>
              <a:gd name="connsiteY119" fmla="*/ 1457 h 10011"/>
              <a:gd name="connsiteX120" fmla="*/ 10069 w 10069"/>
              <a:gd name="connsiteY120" fmla="*/ 1222 h 10011"/>
              <a:gd name="connsiteX121" fmla="*/ 7484 w 10069"/>
              <a:gd name="connsiteY121" fmla="*/ 1876 h 10011"/>
              <a:gd name="connsiteX122" fmla="*/ 5325 w 10069"/>
              <a:gd name="connsiteY122" fmla="*/ 0 h 10011"/>
              <a:gd name="connsiteX0" fmla="*/ 5162 w 9906"/>
              <a:gd name="connsiteY0" fmla="*/ 0 h 10052"/>
              <a:gd name="connsiteX1" fmla="*/ 5162 w 9906"/>
              <a:gd name="connsiteY1" fmla="*/ 0 h 10052"/>
              <a:gd name="connsiteX2" fmla="*/ 5153 w 9906"/>
              <a:gd name="connsiteY2" fmla="*/ 99 h 10052"/>
              <a:gd name="connsiteX3" fmla="*/ 5136 w 9906"/>
              <a:gd name="connsiteY3" fmla="*/ 201 h 10052"/>
              <a:gd name="connsiteX4" fmla="*/ 5123 w 9906"/>
              <a:gd name="connsiteY4" fmla="*/ 300 h 10052"/>
              <a:gd name="connsiteX5" fmla="*/ 5107 w 9906"/>
              <a:gd name="connsiteY5" fmla="*/ 394 h 10052"/>
              <a:gd name="connsiteX6" fmla="*/ 5088 w 9906"/>
              <a:gd name="connsiteY6" fmla="*/ 491 h 10052"/>
              <a:gd name="connsiteX7" fmla="*/ 5067 w 9906"/>
              <a:gd name="connsiteY7" fmla="*/ 587 h 10052"/>
              <a:gd name="connsiteX8" fmla="*/ 5046 w 9906"/>
              <a:gd name="connsiteY8" fmla="*/ 684 h 10052"/>
              <a:gd name="connsiteX9" fmla="*/ 5023 w 9906"/>
              <a:gd name="connsiteY9" fmla="*/ 778 h 10052"/>
              <a:gd name="connsiteX10" fmla="*/ 4999 w 9906"/>
              <a:gd name="connsiteY10" fmla="*/ 870 h 10052"/>
              <a:gd name="connsiteX11" fmla="*/ 4970 w 9906"/>
              <a:gd name="connsiteY11" fmla="*/ 961 h 10052"/>
              <a:gd name="connsiteX12" fmla="*/ 4946 w 9906"/>
              <a:gd name="connsiteY12" fmla="*/ 1053 h 10052"/>
              <a:gd name="connsiteX13" fmla="*/ 4915 w 9906"/>
              <a:gd name="connsiteY13" fmla="*/ 1145 h 10052"/>
              <a:gd name="connsiteX14" fmla="*/ 4883 w 9906"/>
              <a:gd name="connsiteY14" fmla="*/ 1231 h 10052"/>
              <a:gd name="connsiteX15" fmla="*/ 4851 w 9906"/>
              <a:gd name="connsiteY15" fmla="*/ 1318 h 10052"/>
              <a:gd name="connsiteX16" fmla="*/ 4818 w 9906"/>
              <a:gd name="connsiteY16" fmla="*/ 1405 h 10052"/>
              <a:gd name="connsiteX17" fmla="*/ 4783 w 9906"/>
              <a:gd name="connsiteY17" fmla="*/ 1494 h 10052"/>
              <a:gd name="connsiteX18" fmla="*/ 4747 w 9906"/>
              <a:gd name="connsiteY18" fmla="*/ 1578 h 10052"/>
              <a:gd name="connsiteX19" fmla="*/ 4708 w 9906"/>
              <a:gd name="connsiteY19" fmla="*/ 1663 h 10052"/>
              <a:gd name="connsiteX20" fmla="*/ 4669 w 9906"/>
              <a:gd name="connsiteY20" fmla="*/ 1742 h 10052"/>
              <a:gd name="connsiteX21" fmla="*/ 4627 w 9906"/>
              <a:gd name="connsiteY21" fmla="*/ 1824 h 10052"/>
              <a:gd name="connsiteX22" fmla="*/ 4585 w 9906"/>
              <a:gd name="connsiteY22" fmla="*/ 1903 h 10052"/>
              <a:gd name="connsiteX23" fmla="*/ 4543 w 9906"/>
              <a:gd name="connsiteY23" fmla="*/ 1985 h 10052"/>
              <a:gd name="connsiteX24" fmla="*/ 4498 w 9906"/>
              <a:gd name="connsiteY24" fmla="*/ 2059 h 10052"/>
              <a:gd name="connsiteX25" fmla="*/ 4451 w 9906"/>
              <a:gd name="connsiteY25" fmla="*/ 2133 h 10052"/>
              <a:gd name="connsiteX26" fmla="*/ 4403 w 9906"/>
              <a:gd name="connsiteY26" fmla="*/ 2210 h 10052"/>
              <a:gd name="connsiteX27" fmla="*/ 4355 w 9906"/>
              <a:gd name="connsiteY27" fmla="*/ 2282 h 10052"/>
              <a:gd name="connsiteX28" fmla="*/ 4304 w 9906"/>
              <a:gd name="connsiteY28" fmla="*/ 2354 h 10052"/>
              <a:gd name="connsiteX29" fmla="*/ 4254 w 9906"/>
              <a:gd name="connsiteY29" fmla="*/ 2426 h 10052"/>
              <a:gd name="connsiteX30" fmla="*/ 4203 w 9906"/>
              <a:gd name="connsiteY30" fmla="*/ 2495 h 10052"/>
              <a:gd name="connsiteX31" fmla="*/ 4148 w 9906"/>
              <a:gd name="connsiteY31" fmla="*/ 2562 h 10052"/>
              <a:gd name="connsiteX32" fmla="*/ 4095 w 9906"/>
              <a:gd name="connsiteY32" fmla="*/ 2626 h 10052"/>
              <a:gd name="connsiteX33" fmla="*/ 4038 w 9906"/>
              <a:gd name="connsiteY33" fmla="*/ 2691 h 10052"/>
              <a:gd name="connsiteX34" fmla="*/ 3983 w 9906"/>
              <a:gd name="connsiteY34" fmla="*/ 2753 h 10052"/>
              <a:gd name="connsiteX35" fmla="*/ 3923 w 9906"/>
              <a:gd name="connsiteY35" fmla="*/ 2817 h 10052"/>
              <a:gd name="connsiteX36" fmla="*/ 3865 w 9906"/>
              <a:gd name="connsiteY36" fmla="*/ 2874 h 10052"/>
              <a:gd name="connsiteX37" fmla="*/ 3805 w 9906"/>
              <a:gd name="connsiteY37" fmla="*/ 2934 h 10052"/>
              <a:gd name="connsiteX38" fmla="*/ 3744 w 9906"/>
              <a:gd name="connsiteY38" fmla="*/ 2988 h 10052"/>
              <a:gd name="connsiteX39" fmla="*/ 3682 w 9906"/>
              <a:gd name="connsiteY39" fmla="*/ 3043 h 10052"/>
              <a:gd name="connsiteX40" fmla="*/ 3619 w 9906"/>
              <a:gd name="connsiteY40" fmla="*/ 3097 h 10052"/>
              <a:gd name="connsiteX41" fmla="*/ 3556 w 9906"/>
              <a:gd name="connsiteY41" fmla="*/ 3149 h 10052"/>
              <a:gd name="connsiteX42" fmla="*/ 3491 w 9906"/>
              <a:gd name="connsiteY42" fmla="*/ 3196 h 10052"/>
              <a:gd name="connsiteX43" fmla="*/ 3425 w 9906"/>
              <a:gd name="connsiteY43" fmla="*/ 3243 h 10052"/>
              <a:gd name="connsiteX44" fmla="*/ 3545 w 9906"/>
              <a:gd name="connsiteY44" fmla="*/ 6577 h 10052"/>
              <a:gd name="connsiteX45" fmla="*/ 211 w 9906"/>
              <a:gd name="connsiteY45" fmla="*/ 9804 h 10052"/>
              <a:gd name="connsiteX46" fmla="*/ 365 w 9906"/>
              <a:gd name="connsiteY46" fmla="*/ 9839 h 10052"/>
              <a:gd name="connsiteX47" fmla="*/ 520 w 9906"/>
              <a:gd name="connsiteY47" fmla="*/ 9874 h 10052"/>
              <a:gd name="connsiteX48" fmla="*/ 677 w 9906"/>
              <a:gd name="connsiteY48" fmla="*/ 9903 h 10052"/>
              <a:gd name="connsiteX49" fmla="*/ 832 w 9906"/>
              <a:gd name="connsiteY49" fmla="*/ 9926 h 10052"/>
              <a:gd name="connsiteX50" fmla="*/ 990 w 9906"/>
              <a:gd name="connsiteY50" fmla="*/ 9948 h 10052"/>
              <a:gd name="connsiteX51" fmla="*/ 1147 w 9906"/>
              <a:gd name="connsiteY51" fmla="*/ 9965 h 10052"/>
              <a:gd name="connsiteX52" fmla="*/ 1306 w 9906"/>
              <a:gd name="connsiteY52" fmla="*/ 9980 h 10052"/>
              <a:gd name="connsiteX53" fmla="*/ 1468 w 9906"/>
              <a:gd name="connsiteY53" fmla="*/ 9990 h 10052"/>
              <a:gd name="connsiteX54" fmla="*/ 1629 w 9906"/>
              <a:gd name="connsiteY54" fmla="*/ 9995 h 10052"/>
              <a:gd name="connsiteX55" fmla="*/ 1788 w 9906"/>
              <a:gd name="connsiteY55" fmla="*/ 10000 h 10052"/>
              <a:gd name="connsiteX56" fmla="*/ 1982 w 9906"/>
              <a:gd name="connsiteY56" fmla="*/ 9995 h 10052"/>
              <a:gd name="connsiteX57" fmla="*/ 2169 w 9906"/>
              <a:gd name="connsiteY57" fmla="*/ 9988 h 10052"/>
              <a:gd name="connsiteX58" fmla="*/ 2359 w 9906"/>
              <a:gd name="connsiteY58" fmla="*/ 9975 h 10052"/>
              <a:gd name="connsiteX59" fmla="*/ 2542 w 9906"/>
              <a:gd name="connsiteY59" fmla="*/ 9953 h 10052"/>
              <a:gd name="connsiteX60" fmla="*/ 2730 w 9906"/>
              <a:gd name="connsiteY60" fmla="*/ 9931 h 10052"/>
              <a:gd name="connsiteX61" fmla="*/ 2914 w 9906"/>
              <a:gd name="connsiteY61" fmla="*/ 9898 h 10052"/>
              <a:gd name="connsiteX62" fmla="*/ 3098 w 9906"/>
              <a:gd name="connsiteY62" fmla="*/ 9866 h 10052"/>
              <a:gd name="connsiteX63" fmla="*/ 3281 w 9906"/>
              <a:gd name="connsiteY63" fmla="*/ 9824 h 10052"/>
              <a:gd name="connsiteX64" fmla="*/ 3459 w 9906"/>
              <a:gd name="connsiteY64" fmla="*/ 9779 h 10052"/>
              <a:gd name="connsiteX65" fmla="*/ 3642 w 9906"/>
              <a:gd name="connsiteY65" fmla="*/ 9730 h 10052"/>
              <a:gd name="connsiteX66" fmla="*/ 3816 w 9906"/>
              <a:gd name="connsiteY66" fmla="*/ 9673 h 10052"/>
              <a:gd name="connsiteX67" fmla="*/ 3994 w 9906"/>
              <a:gd name="connsiteY67" fmla="*/ 9616 h 10052"/>
              <a:gd name="connsiteX68" fmla="*/ 4168 w 9906"/>
              <a:gd name="connsiteY68" fmla="*/ 9552 h 10052"/>
              <a:gd name="connsiteX69" fmla="*/ 4342 w 9906"/>
              <a:gd name="connsiteY69" fmla="*/ 9482 h 10052"/>
              <a:gd name="connsiteX70" fmla="*/ 4510 w 9906"/>
              <a:gd name="connsiteY70" fmla="*/ 9405 h 10052"/>
              <a:gd name="connsiteX71" fmla="*/ 4680 w 9906"/>
              <a:gd name="connsiteY71" fmla="*/ 9329 h 10052"/>
              <a:gd name="connsiteX72" fmla="*/ 4849 w 9906"/>
              <a:gd name="connsiteY72" fmla="*/ 9244 h 10052"/>
              <a:gd name="connsiteX73" fmla="*/ 5016 w 9906"/>
              <a:gd name="connsiteY73" fmla="*/ 9158 h 10052"/>
              <a:gd name="connsiteX74" fmla="*/ 5178 w 9906"/>
              <a:gd name="connsiteY74" fmla="*/ 9063 h 10052"/>
              <a:gd name="connsiteX75" fmla="*/ 5340 w 9906"/>
              <a:gd name="connsiteY75" fmla="*/ 8967 h 10052"/>
              <a:gd name="connsiteX76" fmla="*/ 5503 w 9906"/>
              <a:gd name="connsiteY76" fmla="*/ 8865 h 10052"/>
              <a:gd name="connsiteX77" fmla="*/ 5660 w 9906"/>
              <a:gd name="connsiteY77" fmla="*/ 8759 h 10052"/>
              <a:gd name="connsiteX78" fmla="*/ 5817 w 9906"/>
              <a:gd name="connsiteY78" fmla="*/ 8652 h 10052"/>
              <a:gd name="connsiteX79" fmla="*/ 5973 w 9906"/>
              <a:gd name="connsiteY79" fmla="*/ 8536 h 10052"/>
              <a:gd name="connsiteX80" fmla="*/ 6125 w 9906"/>
              <a:gd name="connsiteY80" fmla="*/ 8417 h 10052"/>
              <a:gd name="connsiteX81" fmla="*/ 6273 w 9906"/>
              <a:gd name="connsiteY81" fmla="*/ 8295 h 10052"/>
              <a:gd name="connsiteX82" fmla="*/ 6422 w 9906"/>
              <a:gd name="connsiteY82" fmla="*/ 8169 h 10052"/>
              <a:gd name="connsiteX83" fmla="*/ 6566 w 9906"/>
              <a:gd name="connsiteY83" fmla="*/ 8040 h 10052"/>
              <a:gd name="connsiteX84" fmla="*/ 6708 w 9906"/>
              <a:gd name="connsiteY84" fmla="*/ 7904 h 10052"/>
              <a:gd name="connsiteX85" fmla="*/ 6849 w 9906"/>
              <a:gd name="connsiteY85" fmla="*/ 7768 h 10052"/>
              <a:gd name="connsiteX86" fmla="*/ 6989 w 9906"/>
              <a:gd name="connsiteY86" fmla="*/ 7624 h 10052"/>
              <a:gd name="connsiteX87" fmla="*/ 7123 w 9906"/>
              <a:gd name="connsiteY87" fmla="*/ 7480 h 10052"/>
              <a:gd name="connsiteX88" fmla="*/ 7257 w 9906"/>
              <a:gd name="connsiteY88" fmla="*/ 7329 h 10052"/>
              <a:gd name="connsiteX89" fmla="*/ 7389 w 9906"/>
              <a:gd name="connsiteY89" fmla="*/ 7178 h 10052"/>
              <a:gd name="connsiteX90" fmla="*/ 7516 w 9906"/>
              <a:gd name="connsiteY90" fmla="*/ 7024 h 10052"/>
              <a:gd name="connsiteX91" fmla="*/ 7642 w 9906"/>
              <a:gd name="connsiteY91" fmla="*/ 6861 h 10052"/>
              <a:gd name="connsiteX92" fmla="*/ 7766 w 9906"/>
              <a:gd name="connsiteY92" fmla="*/ 6697 h 10052"/>
              <a:gd name="connsiteX93" fmla="*/ 7886 w 9906"/>
              <a:gd name="connsiteY93" fmla="*/ 6534 h 10052"/>
              <a:gd name="connsiteX94" fmla="*/ 8002 w 9906"/>
              <a:gd name="connsiteY94" fmla="*/ 6365 h 10052"/>
              <a:gd name="connsiteX95" fmla="*/ 8117 w 9906"/>
              <a:gd name="connsiteY95" fmla="*/ 6189 h 10052"/>
              <a:gd name="connsiteX96" fmla="*/ 8230 w 9906"/>
              <a:gd name="connsiteY96" fmla="*/ 6016 h 10052"/>
              <a:gd name="connsiteX97" fmla="*/ 8339 w 9906"/>
              <a:gd name="connsiteY97" fmla="*/ 5835 h 10052"/>
              <a:gd name="connsiteX98" fmla="*/ 8446 w 9906"/>
              <a:gd name="connsiteY98" fmla="*/ 5652 h 10052"/>
              <a:gd name="connsiteX99" fmla="*/ 8548 w 9906"/>
              <a:gd name="connsiteY99" fmla="*/ 5468 h 10052"/>
              <a:gd name="connsiteX100" fmla="*/ 8647 w 9906"/>
              <a:gd name="connsiteY100" fmla="*/ 5278 h 10052"/>
              <a:gd name="connsiteX101" fmla="*/ 8745 w 9906"/>
              <a:gd name="connsiteY101" fmla="*/ 5089 h 10052"/>
              <a:gd name="connsiteX102" fmla="*/ 8839 w 9906"/>
              <a:gd name="connsiteY102" fmla="*/ 4893 h 10052"/>
              <a:gd name="connsiteX103" fmla="*/ 8930 w 9906"/>
              <a:gd name="connsiteY103" fmla="*/ 4698 h 10052"/>
              <a:gd name="connsiteX104" fmla="*/ 9017 w 9906"/>
              <a:gd name="connsiteY104" fmla="*/ 4500 h 10052"/>
              <a:gd name="connsiteX105" fmla="*/ 9100 w 9906"/>
              <a:gd name="connsiteY105" fmla="*/ 4294 h 10052"/>
              <a:gd name="connsiteX106" fmla="*/ 9180 w 9906"/>
              <a:gd name="connsiteY106" fmla="*/ 4091 h 10052"/>
              <a:gd name="connsiteX107" fmla="*/ 9258 w 9906"/>
              <a:gd name="connsiteY107" fmla="*/ 3885 h 10052"/>
              <a:gd name="connsiteX108" fmla="*/ 9333 w 9906"/>
              <a:gd name="connsiteY108" fmla="*/ 3674 h 10052"/>
              <a:gd name="connsiteX109" fmla="*/ 9403 w 9906"/>
              <a:gd name="connsiteY109" fmla="*/ 3464 h 10052"/>
              <a:gd name="connsiteX110" fmla="*/ 9472 w 9906"/>
              <a:gd name="connsiteY110" fmla="*/ 3248 h 10052"/>
              <a:gd name="connsiteX111" fmla="*/ 9534 w 9906"/>
              <a:gd name="connsiteY111" fmla="*/ 3030 h 10052"/>
              <a:gd name="connsiteX112" fmla="*/ 9593 w 9906"/>
              <a:gd name="connsiteY112" fmla="*/ 2815 h 10052"/>
              <a:gd name="connsiteX113" fmla="*/ 9650 w 9906"/>
              <a:gd name="connsiteY113" fmla="*/ 2592 h 10052"/>
              <a:gd name="connsiteX114" fmla="*/ 9703 w 9906"/>
              <a:gd name="connsiteY114" fmla="*/ 2369 h 10052"/>
              <a:gd name="connsiteX115" fmla="*/ 9751 w 9906"/>
              <a:gd name="connsiteY115" fmla="*/ 2143 h 10052"/>
              <a:gd name="connsiteX116" fmla="*/ 9796 w 9906"/>
              <a:gd name="connsiteY116" fmla="*/ 1918 h 10052"/>
              <a:gd name="connsiteX117" fmla="*/ 9837 w 9906"/>
              <a:gd name="connsiteY117" fmla="*/ 1690 h 10052"/>
              <a:gd name="connsiteX118" fmla="*/ 9874 w 9906"/>
              <a:gd name="connsiteY118" fmla="*/ 1457 h 10052"/>
              <a:gd name="connsiteX119" fmla="*/ 9906 w 9906"/>
              <a:gd name="connsiteY119" fmla="*/ 1222 h 10052"/>
              <a:gd name="connsiteX120" fmla="*/ 7321 w 9906"/>
              <a:gd name="connsiteY120" fmla="*/ 1876 h 10052"/>
              <a:gd name="connsiteX121" fmla="*/ 5162 w 9906"/>
              <a:gd name="connsiteY121" fmla="*/ 0 h 10052"/>
              <a:gd name="connsiteX0" fmla="*/ 4843 w 9632"/>
              <a:gd name="connsiteY0" fmla="*/ 0 h 9948"/>
              <a:gd name="connsiteX1" fmla="*/ 4843 w 9632"/>
              <a:gd name="connsiteY1" fmla="*/ 0 h 9948"/>
              <a:gd name="connsiteX2" fmla="*/ 4834 w 9632"/>
              <a:gd name="connsiteY2" fmla="*/ 98 h 9948"/>
              <a:gd name="connsiteX3" fmla="*/ 4817 w 9632"/>
              <a:gd name="connsiteY3" fmla="*/ 200 h 9948"/>
              <a:gd name="connsiteX4" fmla="*/ 4804 w 9632"/>
              <a:gd name="connsiteY4" fmla="*/ 298 h 9948"/>
              <a:gd name="connsiteX5" fmla="*/ 4787 w 9632"/>
              <a:gd name="connsiteY5" fmla="*/ 392 h 9948"/>
              <a:gd name="connsiteX6" fmla="*/ 4768 w 9632"/>
              <a:gd name="connsiteY6" fmla="*/ 488 h 9948"/>
              <a:gd name="connsiteX7" fmla="*/ 4747 w 9632"/>
              <a:gd name="connsiteY7" fmla="*/ 584 h 9948"/>
              <a:gd name="connsiteX8" fmla="*/ 4726 w 9632"/>
              <a:gd name="connsiteY8" fmla="*/ 680 h 9948"/>
              <a:gd name="connsiteX9" fmla="*/ 4703 w 9632"/>
              <a:gd name="connsiteY9" fmla="*/ 774 h 9948"/>
              <a:gd name="connsiteX10" fmla="*/ 4678 w 9632"/>
              <a:gd name="connsiteY10" fmla="*/ 865 h 9948"/>
              <a:gd name="connsiteX11" fmla="*/ 4649 w 9632"/>
              <a:gd name="connsiteY11" fmla="*/ 956 h 9948"/>
              <a:gd name="connsiteX12" fmla="*/ 4625 w 9632"/>
              <a:gd name="connsiteY12" fmla="*/ 1048 h 9948"/>
              <a:gd name="connsiteX13" fmla="*/ 4594 w 9632"/>
              <a:gd name="connsiteY13" fmla="*/ 1139 h 9948"/>
              <a:gd name="connsiteX14" fmla="*/ 4561 w 9632"/>
              <a:gd name="connsiteY14" fmla="*/ 1225 h 9948"/>
              <a:gd name="connsiteX15" fmla="*/ 4529 w 9632"/>
              <a:gd name="connsiteY15" fmla="*/ 1311 h 9948"/>
              <a:gd name="connsiteX16" fmla="*/ 4496 w 9632"/>
              <a:gd name="connsiteY16" fmla="*/ 1398 h 9948"/>
              <a:gd name="connsiteX17" fmla="*/ 4460 w 9632"/>
              <a:gd name="connsiteY17" fmla="*/ 1486 h 9948"/>
              <a:gd name="connsiteX18" fmla="*/ 4424 w 9632"/>
              <a:gd name="connsiteY18" fmla="*/ 1570 h 9948"/>
              <a:gd name="connsiteX19" fmla="*/ 4385 w 9632"/>
              <a:gd name="connsiteY19" fmla="*/ 1654 h 9948"/>
              <a:gd name="connsiteX20" fmla="*/ 4345 w 9632"/>
              <a:gd name="connsiteY20" fmla="*/ 1733 h 9948"/>
              <a:gd name="connsiteX21" fmla="*/ 4303 w 9632"/>
              <a:gd name="connsiteY21" fmla="*/ 1815 h 9948"/>
              <a:gd name="connsiteX22" fmla="*/ 4261 w 9632"/>
              <a:gd name="connsiteY22" fmla="*/ 1893 h 9948"/>
              <a:gd name="connsiteX23" fmla="*/ 4218 w 9632"/>
              <a:gd name="connsiteY23" fmla="*/ 1975 h 9948"/>
              <a:gd name="connsiteX24" fmla="*/ 4173 w 9632"/>
              <a:gd name="connsiteY24" fmla="*/ 2048 h 9948"/>
              <a:gd name="connsiteX25" fmla="*/ 4125 w 9632"/>
              <a:gd name="connsiteY25" fmla="*/ 2122 h 9948"/>
              <a:gd name="connsiteX26" fmla="*/ 4077 w 9632"/>
              <a:gd name="connsiteY26" fmla="*/ 2199 h 9948"/>
              <a:gd name="connsiteX27" fmla="*/ 4028 w 9632"/>
              <a:gd name="connsiteY27" fmla="*/ 2270 h 9948"/>
              <a:gd name="connsiteX28" fmla="*/ 3977 w 9632"/>
              <a:gd name="connsiteY28" fmla="*/ 2342 h 9948"/>
              <a:gd name="connsiteX29" fmla="*/ 3926 w 9632"/>
              <a:gd name="connsiteY29" fmla="*/ 2413 h 9948"/>
              <a:gd name="connsiteX30" fmla="*/ 3875 w 9632"/>
              <a:gd name="connsiteY30" fmla="*/ 2482 h 9948"/>
              <a:gd name="connsiteX31" fmla="*/ 3819 w 9632"/>
              <a:gd name="connsiteY31" fmla="*/ 2549 h 9948"/>
              <a:gd name="connsiteX32" fmla="*/ 3766 w 9632"/>
              <a:gd name="connsiteY32" fmla="*/ 2612 h 9948"/>
              <a:gd name="connsiteX33" fmla="*/ 3708 w 9632"/>
              <a:gd name="connsiteY33" fmla="*/ 2677 h 9948"/>
              <a:gd name="connsiteX34" fmla="*/ 3653 w 9632"/>
              <a:gd name="connsiteY34" fmla="*/ 2739 h 9948"/>
              <a:gd name="connsiteX35" fmla="*/ 3592 w 9632"/>
              <a:gd name="connsiteY35" fmla="*/ 2802 h 9948"/>
              <a:gd name="connsiteX36" fmla="*/ 3534 w 9632"/>
              <a:gd name="connsiteY36" fmla="*/ 2859 h 9948"/>
              <a:gd name="connsiteX37" fmla="*/ 3473 w 9632"/>
              <a:gd name="connsiteY37" fmla="*/ 2919 h 9948"/>
              <a:gd name="connsiteX38" fmla="*/ 3412 w 9632"/>
              <a:gd name="connsiteY38" fmla="*/ 2973 h 9948"/>
              <a:gd name="connsiteX39" fmla="*/ 3349 w 9632"/>
              <a:gd name="connsiteY39" fmla="*/ 3027 h 9948"/>
              <a:gd name="connsiteX40" fmla="*/ 3285 w 9632"/>
              <a:gd name="connsiteY40" fmla="*/ 3081 h 9948"/>
              <a:gd name="connsiteX41" fmla="*/ 3222 w 9632"/>
              <a:gd name="connsiteY41" fmla="*/ 3133 h 9948"/>
              <a:gd name="connsiteX42" fmla="*/ 3156 w 9632"/>
              <a:gd name="connsiteY42" fmla="*/ 3179 h 9948"/>
              <a:gd name="connsiteX43" fmla="*/ 3090 w 9632"/>
              <a:gd name="connsiteY43" fmla="*/ 3226 h 9948"/>
              <a:gd name="connsiteX44" fmla="*/ 3211 w 9632"/>
              <a:gd name="connsiteY44" fmla="*/ 6543 h 9948"/>
              <a:gd name="connsiteX45" fmla="*/ 0 w 9632"/>
              <a:gd name="connsiteY45" fmla="*/ 9788 h 9948"/>
              <a:gd name="connsiteX46" fmla="*/ 157 w 9632"/>
              <a:gd name="connsiteY46" fmla="*/ 9823 h 9948"/>
              <a:gd name="connsiteX47" fmla="*/ 315 w 9632"/>
              <a:gd name="connsiteY47" fmla="*/ 9852 h 9948"/>
              <a:gd name="connsiteX48" fmla="*/ 472 w 9632"/>
              <a:gd name="connsiteY48" fmla="*/ 9875 h 9948"/>
              <a:gd name="connsiteX49" fmla="*/ 631 w 9632"/>
              <a:gd name="connsiteY49" fmla="*/ 9897 h 9948"/>
              <a:gd name="connsiteX50" fmla="*/ 790 w 9632"/>
              <a:gd name="connsiteY50" fmla="*/ 9913 h 9948"/>
              <a:gd name="connsiteX51" fmla="*/ 950 w 9632"/>
              <a:gd name="connsiteY51" fmla="*/ 9928 h 9948"/>
              <a:gd name="connsiteX52" fmla="*/ 1114 w 9632"/>
              <a:gd name="connsiteY52" fmla="*/ 9938 h 9948"/>
              <a:gd name="connsiteX53" fmla="*/ 1276 w 9632"/>
              <a:gd name="connsiteY53" fmla="*/ 9943 h 9948"/>
              <a:gd name="connsiteX54" fmla="*/ 1437 w 9632"/>
              <a:gd name="connsiteY54" fmla="*/ 9948 h 9948"/>
              <a:gd name="connsiteX55" fmla="*/ 1633 w 9632"/>
              <a:gd name="connsiteY55" fmla="*/ 9943 h 9948"/>
              <a:gd name="connsiteX56" fmla="*/ 1822 w 9632"/>
              <a:gd name="connsiteY56" fmla="*/ 9936 h 9948"/>
              <a:gd name="connsiteX57" fmla="*/ 2013 w 9632"/>
              <a:gd name="connsiteY57" fmla="*/ 9923 h 9948"/>
              <a:gd name="connsiteX58" fmla="*/ 2198 w 9632"/>
              <a:gd name="connsiteY58" fmla="*/ 9902 h 9948"/>
              <a:gd name="connsiteX59" fmla="*/ 2388 w 9632"/>
              <a:gd name="connsiteY59" fmla="*/ 9880 h 9948"/>
              <a:gd name="connsiteX60" fmla="*/ 2574 w 9632"/>
              <a:gd name="connsiteY60" fmla="*/ 9847 h 9948"/>
              <a:gd name="connsiteX61" fmla="*/ 2759 w 9632"/>
              <a:gd name="connsiteY61" fmla="*/ 9815 h 9948"/>
              <a:gd name="connsiteX62" fmla="*/ 2944 w 9632"/>
              <a:gd name="connsiteY62" fmla="*/ 9773 h 9948"/>
              <a:gd name="connsiteX63" fmla="*/ 3124 w 9632"/>
              <a:gd name="connsiteY63" fmla="*/ 9728 h 9948"/>
              <a:gd name="connsiteX64" fmla="*/ 3309 w 9632"/>
              <a:gd name="connsiteY64" fmla="*/ 9680 h 9948"/>
              <a:gd name="connsiteX65" fmla="*/ 3484 w 9632"/>
              <a:gd name="connsiteY65" fmla="*/ 9623 h 9948"/>
              <a:gd name="connsiteX66" fmla="*/ 3664 w 9632"/>
              <a:gd name="connsiteY66" fmla="*/ 9566 h 9948"/>
              <a:gd name="connsiteX67" fmla="*/ 3840 w 9632"/>
              <a:gd name="connsiteY67" fmla="*/ 9503 h 9948"/>
              <a:gd name="connsiteX68" fmla="*/ 4015 w 9632"/>
              <a:gd name="connsiteY68" fmla="*/ 9433 h 9948"/>
              <a:gd name="connsiteX69" fmla="*/ 4185 w 9632"/>
              <a:gd name="connsiteY69" fmla="*/ 9356 h 9948"/>
              <a:gd name="connsiteX70" fmla="*/ 4356 w 9632"/>
              <a:gd name="connsiteY70" fmla="*/ 9281 h 9948"/>
              <a:gd name="connsiteX71" fmla="*/ 4527 w 9632"/>
              <a:gd name="connsiteY71" fmla="*/ 9196 h 9948"/>
              <a:gd name="connsiteX72" fmla="*/ 4696 w 9632"/>
              <a:gd name="connsiteY72" fmla="*/ 9111 h 9948"/>
              <a:gd name="connsiteX73" fmla="*/ 4859 w 9632"/>
              <a:gd name="connsiteY73" fmla="*/ 9016 h 9948"/>
              <a:gd name="connsiteX74" fmla="*/ 5023 w 9632"/>
              <a:gd name="connsiteY74" fmla="*/ 8921 h 9948"/>
              <a:gd name="connsiteX75" fmla="*/ 5187 w 9632"/>
              <a:gd name="connsiteY75" fmla="*/ 8819 h 9948"/>
              <a:gd name="connsiteX76" fmla="*/ 5346 w 9632"/>
              <a:gd name="connsiteY76" fmla="*/ 8714 h 9948"/>
              <a:gd name="connsiteX77" fmla="*/ 5504 w 9632"/>
              <a:gd name="connsiteY77" fmla="*/ 8607 h 9948"/>
              <a:gd name="connsiteX78" fmla="*/ 5662 w 9632"/>
              <a:gd name="connsiteY78" fmla="*/ 8492 h 9948"/>
              <a:gd name="connsiteX79" fmla="*/ 5815 w 9632"/>
              <a:gd name="connsiteY79" fmla="*/ 8373 h 9948"/>
              <a:gd name="connsiteX80" fmla="*/ 5965 w 9632"/>
              <a:gd name="connsiteY80" fmla="*/ 8252 h 9948"/>
              <a:gd name="connsiteX81" fmla="*/ 6115 w 9632"/>
              <a:gd name="connsiteY81" fmla="*/ 8127 h 9948"/>
              <a:gd name="connsiteX82" fmla="*/ 6260 w 9632"/>
              <a:gd name="connsiteY82" fmla="*/ 7998 h 9948"/>
              <a:gd name="connsiteX83" fmla="*/ 6404 w 9632"/>
              <a:gd name="connsiteY83" fmla="*/ 7863 h 9948"/>
              <a:gd name="connsiteX84" fmla="*/ 6546 w 9632"/>
              <a:gd name="connsiteY84" fmla="*/ 7728 h 9948"/>
              <a:gd name="connsiteX85" fmla="*/ 6687 w 9632"/>
              <a:gd name="connsiteY85" fmla="*/ 7585 h 9948"/>
              <a:gd name="connsiteX86" fmla="*/ 6823 w 9632"/>
              <a:gd name="connsiteY86" fmla="*/ 7441 h 9948"/>
              <a:gd name="connsiteX87" fmla="*/ 6958 w 9632"/>
              <a:gd name="connsiteY87" fmla="*/ 7291 h 9948"/>
              <a:gd name="connsiteX88" fmla="*/ 7091 w 9632"/>
              <a:gd name="connsiteY88" fmla="*/ 7141 h 9948"/>
              <a:gd name="connsiteX89" fmla="*/ 7219 w 9632"/>
              <a:gd name="connsiteY89" fmla="*/ 6988 h 9948"/>
              <a:gd name="connsiteX90" fmla="*/ 7347 w 9632"/>
              <a:gd name="connsiteY90" fmla="*/ 6826 h 9948"/>
              <a:gd name="connsiteX91" fmla="*/ 7472 w 9632"/>
              <a:gd name="connsiteY91" fmla="*/ 6662 h 9948"/>
              <a:gd name="connsiteX92" fmla="*/ 7593 w 9632"/>
              <a:gd name="connsiteY92" fmla="*/ 6500 h 9948"/>
              <a:gd name="connsiteX93" fmla="*/ 7710 w 9632"/>
              <a:gd name="connsiteY93" fmla="*/ 6332 h 9948"/>
              <a:gd name="connsiteX94" fmla="*/ 7826 w 9632"/>
              <a:gd name="connsiteY94" fmla="*/ 6157 h 9948"/>
              <a:gd name="connsiteX95" fmla="*/ 7940 w 9632"/>
              <a:gd name="connsiteY95" fmla="*/ 5985 h 9948"/>
              <a:gd name="connsiteX96" fmla="*/ 8050 w 9632"/>
              <a:gd name="connsiteY96" fmla="*/ 5805 h 9948"/>
              <a:gd name="connsiteX97" fmla="*/ 8158 w 9632"/>
              <a:gd name="connsiteY97" fmla="*/ 5623 h 9948"/>
              <a:gd name="connsiteX98" fmla="*/ 8261 w 9632"/>
              <a:gd name="connsiteY98" fmla="*/ 5440 h 9948"/>
              <a:gd name="connsiteX99" fmla="*/ 8361 w 9632"/>
              <a:gd name="connsiteY99" fmla="*/ 5251 h 9948"/>
              <a:gd name="connsiteX100" fmla="*/ 8460 w 9632"/>
              <a:gd name="connsiteY100" fmla="*/ 5063 h 9948"/>
              <a:gd name="connsiteX101" fmla="*/ 8555 w 9632"/>
              <a:gd name="connsiteY101" fmla="*/ 4868 h 9948"/>
              <a:gd name="connsiteX102" fmla="*/ 8647 w 9632"/>
              <a:gd name="connsiteY102" fmla="*/ 4674 h 9948"/>
              <a:gd name="connsiteX103" fmla="*/ 8735 w 9632"/>
              <a:gd name="connsiteY103" fmla="*/ 4477 h 9948"/>
              <a:gd name="connsiteX104" fmla="*/ 8818 w 9632"/>
              <a:gd name="connsiteY104" fmla="*/ 4272 h 9948"/>
              <a:gd name="connsiteX105" fmla="*/ 8899 w 9632"/>
              <a:gd name="connsiteY105" fmla="*/ 4070 h 9948"/>
              <a:gd name="connsiteX106" fmla="*/ 8978 w 9632"/>
              <a:gd name="connsiteY106" fmla="*/ 3865 h 9948"/>
              <a:gd name="connsiteX107" fmla="*/ 9054 w 9632"/>
              <a:gd name="connsiteY107" fmla="*/ 3655 h 9948"/>
              <a:gd name="connsiteX108" fmla="*/ 9124 w 9632"/>
              <a:gd name="connsiteY108" fmla="*/ 3446 h 9948"/>
              <a:gd name="connsiteX109" fmla="*/ 9194 w 9632"/>
              <a:gd name="connsiteY109" fmla="*/ 3231 h 9948"/>
              <a:gd name="connsiteX110" fmla="*/ 9256 w 9632"/>
              <a:gd name="connsiteY110" fmla="*/ 3014 h 9948"/>
              <a:gd name="connsiteX111" fmla="*/ 9316 w 9632"/>
              <a:gd name="connsiteY111" fmla="*/ 2800 h 9948"/>
              <a:gd name="connsiteX112" fmla="*/ 9374 w 9632"/>
              <a:gd name="connsiteY112" fmla="*/ 2579 h 9948"/>
              <a:gd name="connsiteX113" fmla="*/ 9427 w 9632"/>
              <a:gd name="connsiteY113" fmla="*/ 2357 h 9948"/>
              <a:gd name="connsiteX114" fmla="*/ 9476 w 9632"/>
              <a:gd name="connsiteY114" fmla="*/ 2132 h 9948"/>
              <a:gd name="connsiteX115" fmla="*/ 9521 w 9632"/>
              <a:gd name="connsiteY115" fmla="*/ 1908 h 9948"/>
              <a:gd name="connsiteX116" fmla="*/ 9562 w 9632"/>
              <a:gd name="connsiteY116" fmla="*/ 1681 h 9948"/>
              <a:gd name="connsiteX117" fmla="*/ 9600 w 9632"/>
              <a:gd name="connsiteY117" fmla="*/ 1449 h 9948"/>
              <a:gd name="connsiteX118" fmla="*/ 9632 w 9632"/>
              <a:gd name="connsiteY118" fmla="*/ 1216 h 9948"/>
              <a:gd name="connsiteX119" fmla="*/ 7022 w 9632"/>
              <a:gd name="connsiteY119" fmla="*/ 1866 h 9948"/>
              <a:gd name="connsiteX120" fmla="*/ 4843 w 9632"/>
              <a:gd name="connsiteY120" fmla="*/ 0 h 9948"/>
              <a:gd name="connsiteX0" fmla="*/ 4865 w 9837"/>
              <a:gd name="connsiteY0" fmla="*/ 0 h 10000"/>
              <a:gd name="connsiteX1" fmla="*/ 4865 w 9837"/>
              <a:gd name="connsiteY1" fmla="*/ 0 h 10000"/>
              <a:gd name="connsiteX2" fmla="*/ 4856 w 9837"/>
              <a:gd name="connsiteY2" fmla="*/ 99 h 10000"/>
              <a:gd name="connsiteX3" fmla="*/ 4838 w 9837"/>
              <a:gd name="connsiteY3" fmla="*/ 201 h 10000"/>
              <a:gd name="connsiteX4" fmla="*/ 4825 w 9837"/>
              <a:gd name="connsiteY4" fmla="*/ 300 h 10000"/>
              <a:gd name="connsiteX5" fmla="*/ 4807 w 9837"/>
              <a:gd name="connsiteY5" fmla="*/ 394 h 10000"/>
              <a:gd name="connsiteX6" fmla="*/ 4787 w 9837"/>
              <a:gd name="connsiteY6" fmla="*/ 491 h 10000"/>
              <a:gd name="connsiteX7" fmla="*/ 4765 w 9837"/>
              <a:gd name="connsiteY7" fmla="*/ 587 h 10000"/>
              <a:gd name="connsiteX8" fmla="*/ 4744 w 9837"/>
              <a:gd name="connsiteY8" fmla="*/ 684 h 10000"/>
              <a:gd name="connsiteX9" fmla="*/ 4720 w 9837"/>
              <a:gd name="connsiteY9" fmla="*/ 778 h 10000"/>
              <a:gd name="connsiteX10" fmla="*/ 4694 w 9837"/>
              <a:gd name="connsiteY10" fmla="*/ 870 h 10000"/>
              <a:gd name="connsiteX11" fmla="*/ 4664 w 9837"/>
              <a:gd name="connsiteY11" fmla="*/ 961 h 10000"/>
              <a:gd name="connsiteX12" fmla="*/ 4639 w 9837"/>
              <a:gd name="connsiteY12" fmla="*/ 1053 h 10000"/>
              <a:gd name="connsiteX13" fmla="*/ 4607 w 9837"/>
              <a:gd name="connsiteY13" fmla="*/ 1145 h 10000"/>
              <a:gd name="connsiteX14" fmla="*/ 4572 w 9837"/>
              <a:gd name="connsiteY14" fmla="*/ 1231 h 10000"/>
              <a:gd name="connsiteX15" fmla="*/ 4539 w 9837"/>
              <a:gd name="connsiteY15" fmla="*/ 1318 h 10000"/>
              <a:gd name="connsiteX16" fmla="*/ 4505 w 9837"/>
              <a:gd name="connsiteY16" fmla="*/ 1405 h 10000"/>
              <a:gd name="connsiteX17" fmla="*/ 4467 w 9837"/>
              <a:gd name="connsiteY17" fmla="*/ 1494 h 10000"/>
              <a:gd name="connsiteX18" fmla="*/ 4430 w 9837"/>
              <a:gd name="connsiteY18" fmla="*/ 1578 h 10000"/>
              <a:gd name="connsiteX19" fmla="*/ 4390 w 9837"/>
              <a:gd name="connsiteY19" fmla="*/ 1663 h 10000"/>
              <a:gd name="connsiteX20" fmla="*/ 4348 w 9837"/>
              <a:gd name="connsiteY20" fmla="*/ 1742 h 10000"/>
              <a:gd name="connsiteX21" fmla="*/ 4304 w 9837"/>
              <a:gd name="connsiteY21" fmla="*/ 1824 h 10000"/>
              <a:gd name="connsiteX22" fmla="*/ 4261 w 9837"/>
              <a:gd name="connsiteY22" fmla="*/ 1903 h 10000"/>
              <a:gd name="connsiteX23" fmla="*/ 4216 w 9837"/>
              <a:gd name="connsiteY23" fmla="*/ 1985 h 10000"/>
              <a:gd name="connsiteX24" fmla="*/ 4169 w 9837"/>
              <a:gd name="connsiteY24" fmla="*/ 2059 h 10000"/>
              <a:gd name="connsiteX25" fmla="*/ 4120 w 9837"/>
              <a:gd name="connsiteY25" fmla="*/ 2133 h 10000"/>
              <a:gd name="connsiteX26" fmla="*/ 4070 w 9837"/>
              <a:gd name="connsiteY26" fmla="*/ 2210 h 10000"/>
              <a:gd name="connsiteX27" fmla="*/ 4019 w 9837"/>
              <a:gd name="connsiteY27" fmla="*/ 2282 h 10000"/>
              <a:gd name="connsiteX28" fmla="*/ 3966 w 9837"/>
              <a:gd name="connsiteY28" fmla="*/ 2354 h 10000"/>
              <a:gd name="connsiteX29" fmla="*/ 3913 w 9837"/>
              <a:gd name="connsiteY29" fmla="*/ 2426 h 10000"/>
              <a:gd name="connsiteX30" fmla="*/ 3860 w 9837"/>
              <a:gd name="connsiteY30" fmla="*/ 2495 h 10000"/>
              <a:gd name="connsiteX31" fmla="*/ 3802 w 9837"/>
              <a:gd name="connsiteY31" fmla="*/ 2562 h 10000"/>
              <a:gd name="connsiteX32" fmla="*/ 3747 w 9837"/>
              <a:gd name="connsiteY32" fmla="*/ 2626 h 10000"/>
              <a:gd name="connsiteX33" fmla="*/ 3687 w 9837"/>
              <a:gd name="connsiteY33" fmla="*/ 2691 h 10000"/>
              <a:gd name="connsiteX34" fmla="*/ 3630 w 9837"/>
              <a:gd name="connsiteY34" fmla="*/ 2753 h 10000"/>
              <a:gd name="connsiteX35" fmla="*/ 3566 w 9837"/>
              <a:gd name="connsiteY35" fmla="*/ 2817 h 10000"/>
              <a:gd name="connsiteX36" fmla="*/ 3506 w 9837"/>
              <a:gd name="connsiteY36" fmla="*/ 2874 h 10000"/>
              <a:gd name="connsiteX37" fmla="*/ 3443 w 9837"/>
              <a:gd name="connsiteY37" fmla="*/ 2934 h 10000"/>
              <a:gd name="connsiteX38" fmla="*/ 3379 w 9837"/>
              <a:gd name="connsiteY38" fmla="*/ 2989 h 10000"/>
              <a:gd name="connsiteX39" fmla="*/ 3314 w 9837"/>
              <a:gd name="connsiteY39" fmla="*/ 3043 h 10000"/>
              <a:gd name="connsiteX40" fmla="*/ 3248 w 9837"/>
              <a:gd name="connsiteY40" fmla="*/ 3097 h 10000"/>
              <a:gd name="connsiteX41" fmla="*/ 3182 w 9837"/>
              <a:gd name="connsiteY41" fmla="*/ 3149 h 10000"/>
              <a:gd name="connsiteX42" fmla="*/ 3114 w 9837"/>
              <a:gd name="connsiteY42" fmla="*/ 3196 h 10000"/>
              <a:gd name="connsiteX43" fmla="*/ 3045 w 9837"/>
              <a:gd name="connsiteY43" fmla="*/ 3243 h 10000"/>
              <a:gd name="connsiteX44" fmla="*/ 3171 w 9837"/>
              <a:gd name="connsiteY44" fmla="*/ 6577 h 10000"/>
              <a:gd name="connsiteX45" fmla="*/ 0 w 9837"/>
              <a:gd name="connsiteY45" fmla="*/ 9874 h 10000"/>
              <a:gd name="connsiteX46" fmla="*/ 164 w 9837"/>
              <a:gd name="connsiteY46" fmla="*/ 9903 h 10000"/>
              <a:gd name="connsiteX47" fmla="*/ 327 w 9837"/>
              <a:gd name="connsiteY47" fmla="*/ 9927 h 10000"/>
              <a:gd name="connsiteX48" fmla="*/ 492 w 9837"/>
              <a:gd name="connsiteY48" fmla="*/ 9949 h 10000"/>
              <a:gd name="connsiteX49" fmla="*/ 657 w 9837"/>
              <a:gd name="connsiteY49" fmla="*/ 9965 h 10000"/>
              <a:gd name="connsiteX50" fmla="*/ 823 w 9837"/>
              <a:gd name="connsiteY50" fmla="*/ 9980 h 10000"/>
              <a:gd name="connsiteX51" fmla="*/ 994 w 9837"/>
              <a:gd name="connsiteY51" fmla="*/ 9990 h 10000"/>
              <a:gd name="connsiteX52" fmla="*/ 1162 w 9837"/>
              <a:gd name="connsiteY52" fmla="*/ 9995 h 10000"/>
              <a:gd name="connsiteX53" fmla="*/ 1329 w 9837"/>
              <a:gd name="connsiteY53" fmla="*/ 10000 h 10000"/>
              <a:gd name="connsiteX54" fmla="*/ 1532 w 9837"/>
              <a:gd name="connsiteY54" fmla="*/ 9995 h 10000"/>
              <a:gd name="connsiteX55" fmla="*/ 1729 w 9837"/>
              <a:gd name="connsiteY55" fmla="*/ 9988 h 10000"/>
              <a:gd name="connsiteX56" fmla="*/ 1927 w 9837"/>
              <a:gd name="connsiteY56" fmla="*/ 9975 h 10000"/>
              <a:gd name="connsiteX57" fmla="*/ 2119 w 9837"/>
              <a:gd name="connsiteY57" fmla="*/ 9954 h 10000"/>
              <a:gd name="connsiteX58" fmla="*/ 2316 w 9837"/>
              <a:gd name="connsiteY58" fmla="*/ 9932 h 10000"/>
              <a:gd name="connsiteX59" fmla="*/ 2509 w 9837"/>
              <a:gd name="connsiteY59" fmla="*/ 9898 h 10000"/>
              <a:gd name="connsiteX60" fmla="*/ 2701 w 9837"/>
              <a:gd name="connsiteY60" fmla="*/ 9866 h 10000"/>
              <a:gd name="connsiteX61" fmla="*/ 2893 w 9837"/>
              <a:gd name="connsiteY61" fmla="*/ 9824 h 10000"/>
              <a:gd name="connsiteX62" fmla="*/ 3080 w 9837"/>
              <a:gd name="connsiteY62" fmla="*/ 9779 h 10000"/>
              <a:gd name="connsiteX63" fmla="*/ 3272 w 9837"/>
              <a:gd name="connsiteY63" fmla="*/ 9731 h 10000"/>
              <a:gd name="connsiteX64" fmla="*/ 3454 w 9837"/>
              <a:gd name="connsiteY64" fmla="*/ 9673 h 10000"/>
              <a:gd name="connsiteX65" fmla="*/ 3641 w 9837"/>
              <a:gd name="connsiteY65" fmla="*/ 9616 h 10000"/>
              <a:gd name="connsiteX66" fmla="*/ 3824 w 9837"/>
              <a:gd name="connsiteY66" fmla="*/ 9553 h 10000"/>
              <a:gd name="connsiteX67" fmla="*/ 4005 w 9837"/>
              <a:gd name="connsiteY67" fmla="*/ 9482 h 10000"/>
              <a:gd name="connsiteX68" fmla="*/ 4182 w 9837"/>
              <a:gd name="connsiteY68" fmla="*/ 9405 h 10000"/>
              <a:gd name="connsiteX69" fmla="*/ 4359 w 9837"/>
              <a:gd name="connsiteY69" fmla="*/ 9330 h 10000"/>
              <a:gd name="connsiteX70" fmla="*/ 4537 w 9837"/>
              <a:gd name="connsiteY70" fmla="*/ 9244 h 10000"/>
              <a:gd name="connsiteX71" fmla="*/ 4712 w 9837"/>
              <a:gd name="connsiteY71" fmla="*/ 9159 h 10000"/>
              <a:gd name="connsiteX72" fmla="*/ 4882 w 9837"/>
              <a:gd name="connsiteY72" fmla="*/ 9063 h 10000"/>
              <a:gd name="connsiteX73" fmla="*/ 5052 w 9837"/>
              <a:gd name="connsiteY73" fmla="*/ 8968 h 10000"/>
              <a:gd name="connsiteX74" fmla="*/ 5222 w 9837"/>
              <a:gd name="connsiteY74" fmla="*/ 8865 h 10000"/>
              <a:gd name="connsiteX75" fmla="*/ 5387 w 9837"/>
              <a:gd name="connsiteY75" fmla="*/ 8760 h 10000"/>
              <a:gd name="connsiteX76" fmla="*/ 5551 w 9837"/>
              <a:gd name="connsiteY76" fmla="*/ 8652 h 10000"/>
              <a:gd name="connsiteX77" fmla="*/ 5715 w 9837"/>
              <a:gd name="connsiteY77" fmla="*/ 8536 h 10000"/>
              <a:gd name="connsiteX78" fmla="*/ 5874 w 9837"/>
              <a:gd name="connsiteY78" fmla="*/ 8417 h 10000"/>
              <a:gd name="connsiteX79" fmla="*/ 6030 w 9837"/>
              <a:gd name="connsiteY79" fmla="*/ 8295 h 10000"/>
              <a:gd name="connsiteX80" fmla="*/ 6186 w 9837"/>
              <a:gd name="connsiteY80" fmla="*/ 8169 h 10000"/>
              <a:gd name="connsiteX81" fmla="*/ 6336 w 9837"/>
              <a:gd name="connsiteY81" fmla="*/ 8040 h 10000"/>
              <a:gd name="connsiteX82" fmla="*/ 6486 w 9837"/>
              <a:gd name="connsiteY82" fmla="*/ 7904 h 10000"/>
              <a:gd name="connsiteX83" fmla="*/ 6633 w 9837"/>
              <a:gd name="connsiteY83" fmla="*/ 7768 h 10000"/>
              <a:gd name="connsiteX84" fmla="*/ 6779 w 9837"/>
              <a:gd name="connsiteY84" fmla="*/ 7625 h 10000"/>
              <a:gd name="connsiteX85" fmla="*/ 6921 w 9837"/>
              <a:gd name="connsiteY85" fmla="*/ 7480 h 10000"/>
              <a:gd name="connsiteX86" fmla="*/ 7061 w 9837"/>
              <a:gd name="connsiteY86" fmla="*/ 7329 h 10000"/>
              <a:gd name="connsiteX87" fmla="*/ 7199 w 9837"/>
              <a:gd name="connsiteY87" fmla="*/ 7178 h 10000"/>
              <a:gd name="connsiteX88" fmla="*/ 7332 w 9837"/>
              <a:gd name="connsiteY88" fmla="*/ 7025 h 10000"/>
              <a:gd name="connsiteX89" fmla="*/ 7465 w 9837"/>
              <a:gd name="connsiteY89" fmla="*/ 6862 h 10000"/>
              <a:gd name="connsiteX90" fmla="*/ 7594 w 9837"/>
              <a:gd name="connsiteY90" fmla="*/ 6697 h 10000"/>
              <a:gd name="connsiteX91" fmla="*/ 7720 w 9837"/>
              <a:gd name="connsiteY91" fmla="*/ 6534 h 10000"/>
              <a:gd name="connsiteX92" fmla="*/ 7842 w 9837"/>
              <a:gd name="connsiteY92" fmla="*/ 6365 h 10000"/>
              <a:gd name="connsiteX93" fmla="*/ 7962 w 9837"/>
              <a:gd name="connsiteY93" fmla="*/ 6189 h 10000"/>
              <a:gd name="connsiteX94" fmla="*/ 8080 w 9837"/>
              <a:gd name="connsiteY94" fmla="*/ 6016 h 10000"/>
              <a:gd name="connsiteX95" fmla="*/ 8195 w 9837"/>
              <a:gd name="connsiteY95" fmla="*/ 5835 h 10000"/>
              <a:gd name="connsiteX96" fmla="*/ 8307 w 9837"/>
              <a:gd name="connsiteY96" fmla="*/ 5652 h 10000"/>
              <a:gd name="connsiteX97" fmla="*/ 8414 w 9837"/>
              <a:gd name="connsiteY97" fmla="*/ 5468 h 10000"/>
              <a:gd name="connsiteX98" fmla="*/ 8517 w 9837"/>
              <a:gd name="connsiteY98" fmla="*/ 5278 h 10000"/>
              <a:gd name="connsiteX99" fmla="*/ 8620 w 9837"/>
              <a:gd name="connsiteY99" fmla="*/ 5089 h 10000"/>
              <a:gd name="connsiteX100" fmla="*/ 8719 w 9837"/>
              <a:gd name="connsiteY100" fmla="*/ 4893 h 10000"/>
              <a:gd name="connsiteX101" fmla="*/ 8814 w 9837"/>
              <a:gd name="connsiteY101" fmla="*/ 4698 h 10000"/>
              <a:gd name="connsiteX102" fmla="*/ 8906 w 9837"/>
              <a:gd name="connsiteY102" fmla="*/ 4500 h 10000"/>
              <a:gd name="connsiteX103" fmla="*/ 8992 w 9837"/>
              <a:gd name="connsiteY103" fmla="*/ 4294 h 10000"/>
              <a:gd name="connsiteX104" fmla="*/ 9076 w 9837"/>
              <a:gd name="connsiteY104" fmla="*/ 4091 h 10000"/>
              <a:gd name="connsiteX105" fmla="*/ 9158 w 9837"/>
              <a:gd name="connsiteY105" fmla="*/ 3885 h 10000"/>
              <a:gd name="connsiteX106" fmla="*/ 9237 w 9837"/>
              <a:gd name="connsiteY106" fmla="*/ 3674 h 10000"/>
              <a:gd name="connsiteX107" fmla="*/ 9310 w 9837"/>
              <a:gd name="connsiteY107" fmla="*/ 3464 h 10000"/>
              <a:gd name="connsiteX108" fmla="*/ 9382 w 9837"/>
              <a:gd name="connsiteY108" fmla="*/ 3248 h 10000"/>
              <a:gd name="connsiteX109" fmla="*/ 9447 w 9837"/>
              <a:gd name="connsiteY109" fmla="*/ 3030 h 10000"/>
              <a:gd name="connsiteX110" fmla="*/ 9509 w 9837"/>
              <a:gd name="connsiteY110" fmla="*/ 2815 h 10000"/>
              <a:gd name="connsiteX111" fmla="*/ 9569 w 9837"/>
              <a:gd name="connsiteY111" fmla="*/ 2592 h 10000"/>
              <a:gd name="connsiteX112" fmla="*/ 9624 w 9837"/>
              <a:gd name="connsiteY112" fmla="*/ 2369 h 10000"/>
              <a:gd name="connsiteX113" fmla="*/ 9675 w 9837"/>
              <a:gd name="connsiteY113" fmla="*/ 2143 h 10000"/>
              <a:gd name="connsiteX114" fmla="*/ 9722 w 9837"/>
              <a:gd name="connsiteY114" fmla="*/ 1918 h 10000"/>
              <a:gd name="connsiteX115" fmla="*/ 9764 w 9837"/>
              <a:gd name="connsiteY115" fmla="*/ 1690 h 10000"/>
              <a:gd name="connsiteX116" fmla="*/ 9804 w 9837"/>
              <a:gd name="connsiteY116" fmla="*/ 1457 h 10000"/>
              <a:gd name="connsiteX117" fmla="*/ 9837 w 9837"/>
              <a:gd name="connsiteY117" fmla="*/ 1222 h 10000"/>
              <a:gd name="connsiteX118" fmla="*/ 7127 w 9837"/>
              <a:gd name="connsiteY118" fmla="*/ 1876 h 10000"/>
              <a:gd name="connsiteX119" fmla="*/ 4865 w 9837"/>
              <a:gd name="connsiteY119"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32 w 10000"/>
              <a:gd name="connsiteY46" fmla="*/ 9868 h 10000"/>
              <a:gd name="connsiteX47" fmla="*/ 167 w 10000"/>
              <a:gd name="connsiteY47" fmla="*/ 9903 h 10000"/>
              <a:gd name="connsiteX48" fmla="*/ 332 w 10000"/>
              <a:gd name="connsiteY48" fmla="*/ 9927 h 10000"/>
              <a:gd name="connsiteX49" fmla="*/ 500 w 10000"/>
              <a:gd name="connsiteY49" fmla="*/ 9949 h 10000"/>
              <a:gd name="connsiteX50" fmla="*/ 668 w 10000"/>
              <a:gd name="connsiteY50" fmla="*/ 9965 h 10000"/>
              <a:gd name="connsiteX51" fmla="*/ 837 w 10000"/>
              <a:gd name="connsiteY51" fmla="*/ 9980 h 10000"/>
              <a:gd name="connsiteX52" fmla="*/ 1010 w 10000"/>
              <a:gd name="connsiteY52" fmla="*/ 9990 h 10000"/>
              <a:gd name="connsiteX53" fmla="*/ 1181 w 10000"/>
              <a:gd name="connsiteY53" fmla="*/ 9995 h 10000"/>
              <a:gd name="connsiteX54" fmla="*/ 1351 w 10000"/>
              <a:gd name="connsiteY54" fmla="*/ 10000 h 10000"/>
              <a:gd name="connsiteX55" fmla="*/ 1557 w 10000"/>
              <a:gd name="connsiteY55" fmla="*/ 9995 h 10000"/>
              <a:gd name="connsiteX56" fmla="*/ 1758 w 10000"/>
              <a:gd name="connsiteY56" fmla="*/ 9988 h 10000"/>
              <a:gd name="connsiteX57" fmla="*/ 1959 w 10000"/>
              <a:gd name="connsiteY57" fmla="*/ 9975 h 10000"/>
              <a:gd name="connsiteX58" fmla="*/ 2154 w 10000"/>
              <a:gd name="connsiteY58" fmla="*/ 9954 h 10000"/>
              <a:gd name="connsiteX59" fmla="*/ 2354 w 10000"/>
              <a:gd name="connsiteY59" fmla="*/ 9932 h 10000"/>
              <a:gd name="connsiteX60" fmla="*/ 2551 w 10000"/>
              <a:gd name="connsiteY60" fmla="*/ 9898 h 10000"/>
              <a:gd name="connsiteX61" fmla="*/ 2746 w 10000"/>
              <a:gd name="connsiteY61" fmla="*/ 9866 h 10000"/>
              <a:gd name="connsiteX62" fmla="*/ 2941 w 10000"/>
              <a:gd name="connsiteY62" fmla="*/ 9824 h 10000"/>
              <a:gd name="connsiteX63" fmla="*/ 3131 w 10000"/>
              <a:gd name="connsiteY63" fmla="*/ 9779 h 10000"/>
              <a:gd name="connsiteX64" fmla="*/ 3326 w 10000"/>
              <a:gd name="connsiteY64" fmla="*/ 9731 h 10000"/>
              <a:gd name="connsiteX65" fmla="*/ 3511 w 10000"/>
              <a:gd name="connsiteY65" fmla="*/ 9673 h 10000"/>
              <a:gd name="connsiteX66" fmla="*/ 3701 w 10000"/>
              <a:gd name="connsiteY66" fmla="*/ 9616 h 10000"/>
              <a:gd name="connsiteX67" fmla="*/ 3887 w 10000"/>
              <a:gd name="connsiteY67" fmla="*/ 9553 h 10000"/>
              <a:gd name="connsiteX68" fmla="*/ 4071 w 10000"/>
              <a:gd name="connsiteY68" fmla="*/ 9482 h 10000"/>
              <a:gd name="connsiteX69" fmla="*/ 4251 w 10000"/>
              <a:gd name="connsiteY69" fmla="*/ 9405 h 10000"/>
              <a:gd name="connsiteX70" fmla="*/ 4431 w 10000"/>
              <a:gd name="connsiteY70" fmla="*/ 9330 h 10000"/>
              <a:gd name="connsiteX71" fmla="*/ 4612 w 10000"/>
              <a:gd name="connsiteY71" fmla="*/ 9244 h 10000"/>
              <a:gd name="connsiteX72" fmla="*/ 4790 w 10000"/>
              <a:gd name="connsiteY72" fmla="*/ 9159 h 10000"/>
              <a:gd name="connsiteX73" fmla="*/ 4963 w 10000"/>
              <a:gd name="connsiteY73" fmla="*/ 9063 h 10000"/>
              <a:gd name="connsiteX74" fmla="*/ 5136 w 10000"/>
              <a:gd name="connsiteY74" fmla="*/ 8968 h 10000"/>
              <a:gd name="connsiteX75" fmla="*/ 5309 w 10000"/>
              <a:gd name="connsiteY75" fmla="*/ 8865 h 10000"/>
              <a:gd name="connsiteX76" fmla="*/ 5476 w 10000"/>
              <a:gd name="connsiteY76" fmla="*/ 8760 h 10000"/>
              <a:gd name="connsiteX77" fmla="*/ 5643 w 10000"/>
              <a:gd name="connsiteY77" fmla="*/ 8652 h 10000"/>
              <a:gd name="connsiteX78" fmla="*/ 5810 w 10000"/>
              <a:gd name="connsiteY78" fmla="*/ 8536 h 10000"/>
              <a:gd name="connsiteX79" fmla="*/ 5971 w 10000"/>
              <a:gd name="connsiteY79" fmla="*/ 8417 h 10000"/>
              <a:gd name="connsiteX80" fmla="*/ 6130 w 10000"/>
              <a:gd name="connsiteY80" fmla="*/ 8295 h 10000"/>
              <a:gd name="connsiteX81" fmla="*/ 6289 w 10000"/>
              <a:gd name="connsiteY81" fmla="*/ 8169 h 10000"/>
              <a:gd name="connsiteX82" fmla="*/ 6441 w 10000"/>
              <a:gd name="connsiteY82" fmla="*/ 8040 h 10000"/>
              <a:gd name="connsiteX83" fmla="*/ 6593 w 10000"/>
              <a:gd name="connsiteY83" fmla="*/ 7904 h 10000"/>
              <a:gd name="connsiteX84" fmla="*/ 6743 w 10000"/>
              <a:gd name="connsiteY84" fmla="*/ 7768 h 10000"/>
              <a:gd name="connsiteX85" fmla="*/ 6891 w 10000"/>
              <a:gd name="connsiteY85" fmla="*/ 7625 h 10000"/>
              <a:gd name="connsiteX86" fmla="*/ 7036 w 10000"/>
              <a:gd name="connsiteY86" fmla="*/ 7480 h 10000"/>
              <a:gd name="connsiteX87" fmla="*/ 7178 w 10000"/>
              <a:gd name="connsiteY87" fmla="*/ 7329 h 10000"/>
              <a:gd name="connsiteX88" fmla="*/ 7318 w 10000"/>
              <a:gd name="connsiteY88" fmla="*/ 7178 h 10000"/>
              <a:gd name="connsiteX89" fmla="*/ 7453 w 10000"/>
              <a:gd name="connsiteY89" fmla="*/ 7025 h 10000"/>
              <a:gd name="connsiteX90" fmla="*/ 7589 w 10000"/>
              <a:gd name="connsiteY90" fmla="*/ 6862 h 10000"/>
              <a:gd name="connsiteX91" fmla="*/ 7720 w 10000"/>
              <a:gd name="connsiteY91" fmla="*/ 6697 h 10000"/>
              <a:gd name="connsiteX92" fmla="*/ 7848 w 10000"/>
              <a:gd name="connsiteY92" fmla="*/ 6534 h 10000"/>
              <a:gd name="connsiteX93" fmla="*/ 7972 w 10000"/>
              <a:gd name="connsiteY93" fmla="*/ 6365 h 10000"/>
              <a:gd name="connsiteX94" fmla="*/ 8094 w 10000"/>
              <a:gd name="connsiteY94" fmla="*/ 6189 h 10000"/>
              <a:gd name="connsiteX95" fmla="*/ 8214 w 10000"/>
              <a:gd name="connsiteY95" fmla="*/ 6016 h 10000"/>
              <a:gd name="connsiteX96" fmla="*/ 8331 w 10000"/>
              <a:gd name="connsiteY96" fmla="*/ 5835 h 10000"/>
              <a:gd name="connsiteX97" fmla="*/ 8445 w 10000"/>
              <a:gd name="connsiteY97" fmla="*/ 5652 h 10000"/>
              <a:gd name="connsiteX98" fmla="*/ 8553 w 10000"/>
              <a:gd name="connsiteY98" fmla="*/ 5468 h 10000"/>
              <a:gd name="connsiteX99" fmla="*/ 8658 w 10000"/>
              <a:gd name="connsiteY99" fmla="*/ 5278 h 10000"/>
              <a:gd name="connsiteX100" fmla="*/ 8763 w 10000"/>
              <a:gd name="connsiteY100" fmla="*/ 5089 h 10000"/>
              <a:gd name="connsiteX101" fmla="*/ 8863 w 10000"/>
              <a:gd name="connsiteY101" fmla="*/ 4893 h 10000"/>
              <a:gd name="connsiteX102" fmla="*/ 8960 w 10000"/>
              <a:gd name="connsiteY102" fmla="*/ 4698 h 10000"/>
              <a:gd name="connsiteX103" fmla="*/ 9054 w 10000"/>
              <a:gd name="connsiteY103" fmla="*/ 4500 h 10000"/>
              <a:gd name="connsiteX104" fmla="*/ 9141 w 10000"/>
              <a:gd name="connsiteY104" fmla="*/ 4294 h 10000"/>
              <a:gd name="connsiteX105" fmla="*/ 9226 w 10000"/>
              <a:gd name="connsiteY105" fmla="*/ 4091 h 10000"/>
              <a:gd name="connsiteX106" fmla="*/ 9310 w 10000"/>
              <a:gd name="connsiteY106" fmla="*/ 3885 h 10000"/>
              <a:gd name="connsiteX107" fmla="*/ 9390 w 10000"/>
              <a:gd name="connsiteY107" fmla="*/ 3674 h 10000"/>
              <a:gd name="connsiteX108" fmla="*/ 9464 w 10000"/>
              <a:gd name="connsiteY108" fmla="*/ 3464 h 10000"/>
              <a:gd name="connsiteX109" fmla="*/ 9537 w 10000"/>
              <a:gd name="connsiteY109" fmla="*/ 3248 h 10000"/>
              <a:gd name="connsiteX110" fmla="*/ 9604 w 10000"/>
              <a:gd name="connsiteY110" fmla="*/ 3030 h 10000"/>
              <a:gd name="connsiteX111" fmla="*/ 9667 w 10000"/>
              <a:gd name="connsiteY111" fmla="*/ 2815 h 10000"/>
              <a:gd name="connsiteX112" fmla="*/ 9728 w 10000"/>
              <a:gd name="connsiteY112" fmla="*/ 2592 h 10000"/>
              <a:gd name="connsiteX113" fmla="*/ 9783 w 10000"/>
              <a:gd name="connsiteY113" fmla="*/ 2369 h 10000"/>
              <a:gd name="connsiteX114" fmla="*/ 9835 w 10000"/>
              <a:gd name="connsiteY114" fmla="*/ 2143 h 10000"/>
              <a:gd name="connsiteX115" fmla="*/ 9883 w 10000"/>
              <a:gd name="connsiteY115" fmla="*/ 1918 h 10000"/>
              <a:gd name="connsiteX116" fmla="*/ 9926 w 10000"/>
              <a:gd name="connsiteY116" fmla="*/ 1690 h 10000"/>
              <a:gd name="connsiteX117" fmla="*/ 9966 w 10000"/>
              <a:gd name="connsiteY117" fmla="*/ 1457 h 10000"/>
              <a:gd name="connsiteX118" fmla="*/ 10000 w 10000"/>
              <a:gd name="connsiteY118" fmla="*/ 1222 h 10000"/>
              <a:gd name="connsiteX119" fmla="*/ 7245 w 10000"/>
              <a:gd name="connsiteY119" fmla="*/ 1876 h 10000"/>
              <a:gd name="connsiteX120" fmla="*/ 4946 w 10000"/>
              <a:gd name="connsiteY120"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167 w 10000"/>
              <a:gd name="connsiteY46" fmla="*/ 9903 h 10000"/>
              <a:gd name="connsiteX47" fmla="*/ 332 w 10000"/>
              <a:gd name="connsiteY47" fmla="*/ 9927 h 10000"/>
              <a:gd name="connsiteX48" fmla="*/ 500 w 10000"/>
              <a:gd name="connsiteY48" fmla="*/ 9949 h 10000"/>
              <a:gd name="connsiteX49" fmla="*/ 668 w 10000"/>
              <a:gd name="connsiteY49" fmla="*/ 9965 h 10000"/>
              <a:gd name="connsiteX50" fmla="*/ 837 w 10000"/>
              <a:gd name="connsiteY50" fmla="*/ 9980 h 10000"/>
              <a:gd name="connsiteX51" fmla="*/ 1010 w 10000"/>
              <a:gd name="connsiteY51" fmla="*/ 9990 h 10000"/>
              <a:gd name="connsiteX52" fmla="*/ 1181 w 10000"/>
              <a:gd name="connsiteY52" fmla="*/ 9995 h 10000"/>
              <a:gd name="connsiteX53" fmla="*/ 1351 w 10000"/>
              <a:gd name="connsiteY53" fmla="*/ 10000 h 10000"/>
              <a:gd name="connsiteX54" fmla="*/ 1557 w 10000"/>
              <a:gd name="connsiteY54" fmla="*/ 9995 h 10000"/>
              <a:gd name="connsiteX55" fmla="*/ 1758 w 10000"/>
              <a:gd name="connsiteY55" fmla="*/ 9988 h 10000"/>
              <a:gd name="connsiteX56" fmla="*/ 1959 w 10000"/>
              <a:gd name="connsiteY56" fmla="*/ 9975 h 10000"/>
              <a:gd name="connsiteX57" fmla="*/ 2154 w 10000"/>
              <a:gd name="connsiteY57" fmla="*/ 9954 h 10000"/>
              <a:gd name="connsiteX58" fmla="*/ 2354 w 10000"/>
              <a:gd name="connsiteY58" fmla="*/ 9932 h 10000"/>
              <a:gd name="connsiteX59" fmla="*/ 2551 w 10000"/>
              <a:gd name="connsiteY59" fmla="*/ 9898 h 10000"/>
              <a:gd name="connsiteX60" fmla="*/ 2746 w 10000"/>
              <a:gd name="connsiteY60" fmla="*/ 9866 h 10000"/>
              <a:gd name="connsiteX61" fmla="*/ 2941 w 10000"/>
              <a:gd name="connsiteY61" fmla="*/ 9824 h 10000"/>
              <a:gd name="connsiteX62" fmla="*/ 3131 w 10000"/>
              <a:gd name="connsiteY62" fmla="*/ 9779 h 10000"/>
              <a:gd name="connsiteX63" fmla="*/ 3326 w 10000"/>
              <a:gd name="connsiteY63" fmla="*/ 9731 h 10000"/>
              <a:gd name="connsiteX64" fmla="*/ 3511 w 10000"/>
              <a:gd name="connsiteY64" fmla="*/ 9673 h 10000"/>
              <a:gd name="connsiteX65" fmla="*/ 3701 w 10000"/>
              <a:gd name="connsiteY65" fmla="*/ 9616 h 10000"/>
              <a:gd name="connsiteX66" fmla="*/ 3887 w 10000"/>
              <a:gd name="connsiteY66" fmla="*/ 9553 h 10000"/>
              <a:gd name="connsiteX67" fmla="*/ 4071 w 10000"/>
              <a:gd name="connsiteY67" fmla="*/ 9482 h 10000"/>
              <a:gd name="connsiteX68" fmla="*/ 4251 w 10000"/>
              <a:gd name="connsiteY68" fmla="*/ 9405 h 10000"/>
              <a:gd name="connsiteX69" fmla="*/ 4431 w 10000"/>
              <a:gd name="connsiteY69" fmla="*/ 9330 h 10000"/>
              <a:gd name="connsiteX70" fmla="*/ 4612 w 10000"/>
              <a:gd name="connsiteY70" fmla="*/ 9244 h 10000"/>
              <a:gd name="connsiteX71" fmla="*/ 4790 w 10000"/>
              <a:gd name="connsiteY71" fmla="*/ 9159 h 10000"/>
              <a:gd name="connsiteX72" fmla="*/ 4963 w 10000"/>
              <a:gd name="connsiteY72" fmla="*/ 9063 h 10000"/>
              <a:gd name="connsiteX73" fmla="*/ 5136 w 10000"/>
              <a:gd name="connsiteY73" fmla="*/ 8968 h 10000"/>
              <a:gd name="connsiteX74" fmla="*/ 5309 w 10000"/>
              <a:gd name="connsiteY74" fmla="*/ 8865 h 10000"/>
              <a:gd name="connsiteX75" fmla="*/ 5476 w 10000"/>
              <a:gd name="connsiteY75" fmla="*/ 8760 h 10000"/>
              <a:gd name="connsiteX76" fmla="*/ 5643 w 10000"/>
              <a:gd name="connsiteY76" fmla="*/ 8652 h 10000"/>
              <a:gd name="connsiteX77" fmla="*/ 5810 w 10000"/>
              <a:gd name="connsiteY77" fmla="*/ 8536 h 10000"/>
              <a:gd name="connsiteX78" fmla="*/ 5971 w 10000"/>
              <a:gd name="connsiteY78" fmla="*/ 8417 h 10000"/>
              <a:gd name="connsiteX79" fmla="*/ 6130 w 10000"/>
              <a:gd name="connsiteY79" fmla="*/ 8295 h 10000"/>
              <a:gd name="connsiteX80" fmla="*/ 6289 w 10000"/>
              <a:gd name="connsiteY80" fmla="*/ 8169 h 10000"/>
              <a:gd name="connsiteX81" fmla="*/ 6441 w 10000"/>
              <a:gd name="connsiteY81" fmla="*/ 8040 h 10000"/>
              <a:gd name="connsiteX82" fmla="*/ 6593 w 10000"/>
              <a:gd name="connsiteY82" fmla="*/ 7904 h 10000"/>
              <a:gd name="connsiteX83" fmla="*/ 6743 w 10000"/>
              <a:gd name="connsiteY83" fmla="*/ 7768 h 10000"/>
              <a:gd name="connsiteX84" fmla="*/ 6891 w 10000"/>
              <a:gd name="connsiteY84" fmla="*/ 7625 h 10000"/>
              <a:gd name="connsiteX85" fmla="*/ 7036 w 10000"/>
              <a:gd name="connsiteY85" fmla="*/ 7480 h 10000"/>
              <a:gd name="connsiteX86" fmla="*/ 7178 w 10000"/>
              <a:gd name="connsiteY86" fmla="*/ 7329 h 10000"/>
              <a:gd name="connsiteX87" fmla="*/ 7318 w 10000"/>
              <a:gd name="connsiteY87" fmla="*/ 7178 h 10000"/>
              <a:gd name="connsiteX88" fmla="*/ 7453 w 10000"/>
              <a:gd name="connsiteY88" fmla="*/ 7025 h 10000"/>
              <a:gd name="connsiteX89" fmla="*/ 7589 w 10000"/>
              <a:gd name="connsiteY89" fmla="*/ 6862 h 10000"/>
              <a:gd name="connsiteX90" fmla="*/ 7720 w 10000"/>
              <a:gd name="connsiteY90" fmla="*/ 6697 h 10000"/>
              <a:gd name="connsiteX91" fmla="*/ 7848 w 10000"/>
              <a:gd name="connsiteY91" fmla="*/ 6534 h 10000"/>
              <a:gd name="connsiteX92" fmla="*/ 7972 w 10000"/>
              <a:gd name="connsiteY92" fmla="*/ 6365 h 10000"/>
              <a:gd name="connsiteX93" fmla="*/ 8094 w 10000"/>
              <a:gd name="connsiteY93" fmla="*/ 6189 h 10000"/>
              <a:gd name="connsiteX94" fmla="*/ 8214 w 10000"/>
              <a:gd name="connsiteY94" fmla="*/ 6016 h 10000"/>
              <a:gd name="connsiteX95" fmla="*/ 8331 w 10000"/>
              <a:gd name="connsiteY95" fmla="*/ 5835 h 10000"/>
              <a:gd name="connsiteX96" fmla="*/ 8445 w 10000"/>
              <a:gd name="connsiteY96" fmla="*/ 5652 h 10000"/>
              <a:gd name="connsiteX97" fmla="*/ 8553 w 10000"/>
              <a:gd name="connsiteY97" fmla="*/ 5468 h 10000"/>
              <a:gd name="connsiteX98" fmla="*/ 8658 w 10000"/>
              <a:gd name="connsiteY98" fmla="*/ 5278 h 10000"/>
              <a:gd name="connsiteX99" fmla="*/ 8763 w 10000"/>
              <a:gd name="connsiteY99" fmla="*/ 5089 h 10000"/>
              <a:gd name="connsiteX100" fmla="*/ 8863 w 10000"/>
              <a:gd name="connsiteY100" fmla="*/ 4893 h 10000"/>
              <a:gd name="connsiteX101" fmla="*/ 8960 w 10000"/>
              <a:gd name="connsiteY101" fmla="*/ 4698 h 10000"/>
              <a:gd name="connsiteX102" fmla="*/ 9054 w 10000"/>
              <a:gd name="connsiteY102" fmla="*/ 4500 h 10000"/>
              <a:gd name="connsiteX103" fmla="*/ 9141 w 10000"/>
              <a:gd name="connsiteY103" fmla="*/ 4294 h 10000"/>
              <a:gd name="connsiteX104" fmla="*/ 9226 w 10000"/>
              <a:gd name="connsiteY104" fmla="*/ 4091 h 10000"/>
              <a:gd name="connsiteX105" fmla="*/ 9310 w 10000"/>
              <a:gd name="connsiteY105" fmla="*/ 3885 h 10000"/>
              <a:gd name="connsiteX106" fmla="*/ 9390 w 10000"/>
              <a:gd name="connsiteY106" fmla="*/ 3674 h 10000"/>
              <a:gd name="connsiteX107" fmla="*/ 9464 w 10000"/>
              <a:gd name="connsiteY107" fmla="*/ 3464 h 10000"/>
              <a:gd name="connsiteX108" fmla="*/ 9537 w 10000"/>
              <a:gd name="connsiteY108" fmla="*/ 3248 h 10000"/>
              <a:gd name="connsiteX109" fmla="*/ 9604 w 10000"/>
              <a:gd name="connsiteY109" fmla="*/ 3030 h 10000"/>
              <a:gd name="connsiteX110" fmla="*/ 9667 w 10000"/>
              <a:gd name="connsiteY110" fmla="*/ 2815 h 10000"/>
              <a:gd name="connsiteX111" fmla="*/ 9728 w 10000"/>
              <a:gd name="connsiteY111" fmla="*/ 2592 h 10000"/>
              <a:gd name="connsiteX112" fmla="*/ 9783 w 10000"/>
              <a:gd name="connsiteY112" fmla="*/ 2369 h 10000"/>
              <a:gd name="connsiteX113" fmla="*/ 9835 w 10000"/>
              <a:gd name="connsiteY113" fmla="*/ 2143 h 10000"/>
              <a:gd name="connsiteX114" fmla="*/ 9883 w 10000"/>
              <a:gd name="connsiteY114" fmla="*/ 1918 h 10000"/>
              <a:gd name="connsiteX115" fmla="*/ 9926 w 10000"/>
              <a:gd name="connsiteY115" fmla="*/ 1690 h 10000"/>
              <a:gd name="connsiteX116" fmla="*/ 9966 w 10000"/>
              <a:gd name="connsiteY116" fmla="*/ 1457 h 10000"/>
              <a:gd name="connsiteX117" fmla="*/ 10000 w 10000"/>
              <a:gd name="connsiteY117" fmla="*/ 1222 h 10000"/>
              <a:gd name="connsiteX118" fmla="*/ 7245 w 10000"/>
              <a:gd name="connsiteY118" fmla="*/ 1876 h 10000"/>
              <a:gd name="connsiteX119" fmla="*/ 4946 w 10000"/>
              <a:gd name="connsiteY119" fmla="*/ 0 h 10000"/>
              <a:gd name="connsiteX0" fmla="*/ 4779 w 9833"/>
              <a:gd name="connsiteY0" fmla="*/ 0 h 10000"/>
              <a:gd name="connsiteX1" fmla="*/ 4779 w 9833"/>
              <a:gd name="connsiteY1" fmla="*/ 0 h 10000"/>
              <a:gd name="connsiteX2" fmla="*/ 4769 w 9833"/>
              <a:gd name="connsiteY2" fmla="*/ 99 h 10000"/>
              <a:gd name="connsiteX3" fmla="*/ 4751 w 9833"/>
              <a:gd name="connsiteY3" fmla="*/ 201 h 10000"/>
              <a:gd name="connsiteX4" fmla="*/ 4738 w 9833"/>
              <a:gd name="connsiteY4" fmla="*/ 300 h 10000"/>
              <a:gd name="connsiteX5" fmla="*/ 4720 w 9833"/>
              <a:gd name="connsiteY5" fmla="*/ 394 h 10000"/>
              <a:gd name="connsiteX6" fmla="*/ 4699 w 9833"/>
              <a:gd name="connsiteY6" fmla="*/ 491 h 10000"/>
              <a:gd name="connsiteX7" fmla="*/ 4677 w 9833"/>
              <a:gd name="connsiteY7" fmla="*/ 587 h 10000"/>
              <a:gd name="connsiteX8" fmla="*/ 4656 w 9833"/>
              <a:gd name="connsiteY8" fmla="*/ 684 h 10000"/>
              <a:gd name="connsiteX9" fmla="*/ 4631 w 9833"/>
              <a:gd name="connsiteY9" fmla="*/ 778 h 10000"/>
              <a:gd name="connsiteX10" fmla="*/ 4605 w 9833"/>
              <a:gd name="connsiteY10" fmla="*/ 870 h 10000"/>
              <a:gd name="connsiteX11" fmla="*/ 4574 w 9833"/>
              <a:gd name="connsiteY11" fmla="*/ 961 h 10000"/>
              <a:gd name="connsiteX12" fmla="*/ 4549 w 9833"/>
              <a:gd name="connsiteY12" fmla="*/ 1053 h 10000"/>
              <a:gd name="connsiteX13" fmla="*/ 4516 w 9833"/>
              <a:gd name="connsiteY13" fmla="*/ 1145 h 10000"/>
              <a:gd name="connsiteX14" fmla="*/ 4481 w 9833"/>
              <a:gd name="connsiteY14" fmla="*/ 1231 h 10000"/>
              <a:gd name="connsiteX15" fmla="*/ 4447 w 9833"/>
              <a:gd name="connsiteY15" fmla="*/ 1318 h 10000"/>
              <a:gd name="connsiteX16" fmla="*/ 4413 w 9833"/>
              <a:gd name="connsiteY16" fmla="*/ 1405 h 10000"/>
              <a:gd name="connsiteX17" fmla="*/ 4374 w 9833"/>
              <a:gd name="connsiteY17" fmla="*/ 1494 h 10000"/>
              <a:gd name="connsiteX18" fmla="*/ 4336 w 9833"/>
              <a:gd name="connsiteY18" fmla="*/ 1578 h 10000"/>
              <a:gd name="connsiteX19" fmla="*/ 4296 w 9833"/>
              <a:gd name="connsiteY19" fmla="*/ 1663 h 10000"/>
              <a:gd name="connsiteX20" fmla="*/ 4253 w 9833"/>
              <a:gd name="connsiteY20" fmla="*/ 1742 h 10000"/>
              <a:gd name="connsiteX21" fmla="*/ 4208 w 9833"/>
              <a:gd name="connsiteY21" fmla="*/ 1824 h 10000"/>
              <a:gd name="connsiteX22" fmla="*/ 4165 w 9833"/>
              <a:gd name="connsiteY22" fmla="*/ 1903 h 10000"/>
              <a:gd name="connsiteX23" fmla="*/ 4119 w 9833"/>
              <a:gd name="connsiteY23" fmla="*/ 1985 h 10000"/>
              <a:gd name="connsiteX24" fmla="*/ 4071 w 9833"/>
              <a:gd name="connsiteY24" fmla="*/ 2059 h 10000"/>
              <a:gd name="connsiteX25" fmla="*/ 4021 w 9833"/>
              <a:gd name="connsiteY25" fmla="*/ 2133 h 10000"/>
              <a:gd name="connsiteX26" fmla="*/ 3970 w 9833"/>
              <a:gd name="connsiteY26" fmla="*/ 2210 h 10000"/>
              <a:gd name="connsiteX27" fmla="*/ 3919 w 9833"/>
              <a:gd name="connsiteY27" fmla="*/ 2282 h 10000"/>
              <a:gd name="connsiteX28" fmla="*/ 3865 w 9833"/>
              <a:gd name="connsiteY28" fmla="*/ 2354 h 10000"/>
              <a:gd name="connsiteX29" fmla="*/ 3811 w 9833"/>
              <a:gd name="connsiteY29" fmla="*/ 2426 h 10000"/>
              <a:gd name="connsiteX30" fmla="*/ 3757 w 9833"/>
              <a:gd name="connsiteY30" fmla="*/ 2495 h 10000"/>
              <a:gd name="connsiteX31" fmla="*/ 3698 w 9833"/>
              <a:gd name="connsiteY31" fmla="*/ 2562 h 10000"/>
              <a:gd name="connsiteX32" fmla="*/ 3642 w 9833"/>
              <a:gd name="connsiteY32" fmla="*/ 2626 h 10000"/>
              <a:gd name="connsiteX33" fmla="*/ 3581 w 9833"/>
              <a:gd name="connsiteY33" fmla="*/ 2691 h 10000"/>
              <a:gd name="connsiteX34" fmla="*/ 3523 w 9833"/>
              <a:gd name="connsiteY34" fmla="*/ 2753 h 10000"/>
              <a:gd name="connsiteX35" fmla="*/ 3458 w 9833"/>
              <a:gd name="connsiteY35" fmla="*/ 2817 h 10000"/>
              <a:gd name="connsiteX36" fmla="*/ 3397 w 9833"/>
              <a:gd name="connsiteY36" fmla="*/ 2874 h 10000"/>
              <a:gd name="connsiteX37" fmla="*/ 3333 w 9833"/>
              <a:gd name="connsiteY37" fmla="*/ 2934 h 10000"/>
              <a:gd name="connsiteX38" fmla="*/ 3268 w 9833"/>
              <a:gd name="connsiteY38" fmla="*/ 2989 h 10000"/>
              <a:gd name="connsiteX39" fmla="*/ 3202 w 9833"/>
              <a:gd name="connsiteY39" fmla="*/ 3043 h 10000"/>
              <a:gd name="connsiteX40" fmla="*/ 3135 w 9833"/>
              <a:gd name="connsiteY40" fmla="*/ 3097 h 10000"/>
              <a:gd name="connsiteX41" fmla="*/ 3068 w 9833"/>
              <a:gd name="connsiteY41" fmla="*/ 3149 h 10000"/>
              <a:gd name="connsiteX42" fmla="*/ 2999 w 9833"/>
              <a:gd name="connsiteY42" fmla="*/ 3196 h 10000"/>
              <a:gd name="connsiteX43" fmla="*/ 2928 w 9833"/>
              <a:gd name="connsiteY43" fmla="*/ 3243 h 10000"/>
              <a:gd name="connsiteX44" fmla="*/ 3057 w 9833"/>
              <a:gd name="connsiteY44" fmla="*/ 6577 h 10000"/>
              <a:gd name="connsiteX45" fmla="*/ 0 w 9833"/>
              <a:gd name="connsiteY45" fmla="*/ 9903 h 10000"/>
              <a:gd name="connsiteX46" fmla="*/ 165 w 9833"/>
              <a:gd name="connsiteY46" fmla="*/ 9927 h 10000"/>
              <a:gd name="connsiteX47" fmla="*/ 333 w 9833"/>
              <a:gd name="connsiteY47" fmla="*/ 9949 h 10000"/>
              <a:gd name="connsiteX48" fmla="*/ 501 w 9833"/>
              <a:gd name="connsiteY48" fmla="*/ 9965 h 10000"/>
              <a:gd name="connsiteX49" fmla="*/ 670 w 9833"/>
              <a:gd name="connsiteY49" fmla="*/ 9980 h 10000"/>
              <a:gd name="connsiteX50" fmla="*/ 843 w 9833"/>
              <a:gd name="connsiteY50" fmla="*/ 9990 h 10000"/>
              <a:gd name="connsiteX51" fmla="*/ 1014 w 9833"/>
              <a:gd name="connsiteY51" fmla="*/ 9995 h 10000"/>
              <a:gd name="connsiteX52" fmla="*/ 1184 w 9833"/>
              <a:gd name="connsiteY52" fmla="*/ 10000 h 10000"/>
              <a:gd name="connsiteX53" fmla="*/ 1390 w 9833"/>
              <a:gd name="connsiteY53" fmla="*/ 9995 h 10000"/>
              <a:gd name="connsiteX54" fmla="*/ 1591 w 9833"/>
              <a:gd name="connsiteY54" fmla="*/ 9988 h 10000"/>
              <a:gd name="connsiteX55" fmla="*/ 1792 w 9833"/>
              <a:gd name="connsiteY55" fmla="*/ 9975 h 10000"/>
              <a:gd name="connsiteX56" fmla="*/ 1987 w 9833"/>
              <a:gd name="connsiteY56" fmla="*/ 9954 h 10000"/>
              <a:gd name="connsiteX57" fmla="*/ 2187 w 9833"/>
              <a:gd name="connsiteY57" fmla="*/ 9932 h 10000"/>
              <a:gd name="connsiteX58" fmla="*/ 2384 w 9833"/>
              <a:gd name="connsiteY58" fmla="*/ 9898 h 10000"/>
              <a:gd name="connsiteX59" fmla="*/ 2579 w 9833"/>
              <a:gd name="connsiteY59" fmla="*/ 9866 h 10000"/>
              <a:gd name="connsiteX60" fmla="*/ 2774 w 9833"/>
              <a:gd name="connsiteY60" fmla="*/ 9824 h 10000"/>
              <a:gd name="connsiteX61" fmla="*/ 2964 w 9833"/>
              <a:gd name="connsiteY61" fmla="*/ 9779 h 10000"/>
              <a:gd name="connsiteX62" fmla="*/ 3159 w 9833"/>
              <a:gd name="connsiteY62" fmla="*/ 9731 h 10000"/>
              <a:gd name="connsiteX63" fmla="*/ 3344 w 9833"/>
              <a:gd name="connsiteY63" fmla="*/ 9673 h 10000"/>
              <a:gd name="connsiteX64" fmla="*/ 3534 w 9833"/>
              <a:gd name="connsiteY64" fmla="*/ 9616 h 10000"/>
              <a:gd name="connsiteX65" fmla="*/ 3720 w 9833"/>
              <a:gd name="connsiteY65" fmla="*/ 9553 h 10000"/>
              <a:gd name="connsiteX66" fmla="*/ 3904 w 9833"/>
              <a:gd name="connsiteY66" fmla="*/ 9482 h 10000"/>
              <a:gd name="connsiteX67" fmla="*/ 4084 w 9833"/>
              <a:gd name="connsiteY67" fmla="*/ 9405 h 10000"/>
              <a:gd name="connsiteX68" fmla="*/ 4264 w 9833"/>
              <a:gd name="connsiteY68" fmla="*/ 9330 h 10000"/>
              <a:gd name="connsiteX69" fmla="*/ 4445 w 9833"/>
              <a:gd name="connsiteY69" fmla="*/ 9244 h 10000"/>
              <a:gd name="connsiteX70" fmla="*/ 4623 w 9833"/>
              <a:gd name="connsiteY70" fmla="*/ 9159 h 10000"/>
              <a:gd name="connsiteX71" fmla="*/ 4796 w 9833"/>
              <a:gd name="connsiteY71" fmla="*/ 9063 h 10000"/>
              <a:gd name="connsiteX72" fmla="*/ 4969 w 9833"/>
              <a:gd name="connsiteY72" fmla="*/ 8968 h 10000"/>
              <a:gd name="connsiteX73" fmla="*/ 5142 w 9833"/>
              <a:gd name="connsiteY73" fmla="*/ 8865 h 10000"/>
              <a:gd name="connsiteX74" fmla="*/ 5309 w 9833"/>
              <a:gd name="connsiteY74" fmla="*/ 8760 h 10000"/>
              <a:gd name="connsiteX75" fmla="*/ 5476 w 9833"/>
              <a:gd name="connsiteY75" fmla="*/ 8652 h 10000"/>
              <a:gd name="connsiteX76" fmla="*/ 5643 w 9833"/>
              <a:gd name="connsiteY76" fmla="*/ 8536 h 10000"/>
              <a:gd name="connsiteX77" fmla="*/ 5804 w 9833"/>
              <a:gd name="connsiteY77" fmla="*/ 8417 h 10000"/>
              <a:gd name="connsiteX78" fmla="*/ 5963 w 9833"/>
              <a:gd name="connsiteY78" fmla="*/ 8295 h 10000"/>
              <a:gd name="connsiteX79" fmla="*/ 6122 w 9833"/>
              <a:gd name="connsiteY79" fmla="*/ 8169 h 10000"/>
              <a:gd name="connsiteX80" fmla="*/ 6274 w 9833"/>
              <a:gd name="connsiteY80" fmla="*/ 8040 h 10000"/>
              <a:gd name="connsiteX81" fmla="*/ 6426 w 9833"/>
              <a:gd name="connsiteY81" fmla="*/ 7904 h 10000"/>
              <a:gd name="connsiteX82" fmla="*/ 6576 w 9833"/>
              <a:gd name="connsiteY82" fmla="*/ 7768 h 10000"/>
              <a:gd name="connsiteX83" fmla="*/ 6724 w 9833"/>
              <a:gd name="connsiteY83" fmla="*/ 7625 h 10000"/>
              <a:gd name="connsiteX84" fmla="*/ 6869 w 9833"/>
              <a:gd name="connsiteY84" fmla="*/ 7480 h 10000"/>
              <a:gd name="connsiteX85" fmla="*/ 7011 w 9833"/>
              <a:gd name="connsiteY85" fmla="*/ 7329 h 10000"/>
              <a:gd name="connsiteX86" fmla="*/ 7151 w 9833"/>
              <a:gd name="connsiteY86" fmla="*/ 7178 h 10000"/>
              <a:gd name="connsiteX87" fmla="*/ 7286 w 9833"/>
              <a:gd name="connsiteY87" fmla="*/ 7025 h 10000"/>
              <a:gd name="connsiteX88" fmla="*/ 7422 w 9833"/>
              <a:gd name="connsiteY88" fmla="*/ 6862 h 10000"/>
              <a:gd name="connsiteX89" fmla="*/ 7553 w 9833"/>
              <a:gd name="connsiteY89" fmla="*/ 6697 h 10000"/>
              <a:gd name="connsiteX90" fmla="*/ 7681 w 9833"/>
              <a:gd name="connsiteY90" fmla="*/ 6534 h 10000"/>
              <a:gd name="connsiteX91" fmla="*/ 7805 w 9833"/>
              <a:gd name="connsiteY91" fmla="*/ 6365 h 10000"/>
              <a:gd name="connsiteX92" fmla="*/ 7927 w 9833"/>
              <a:gd name="connsiteY92" fmla="*/ 6189 h 10000"/>
              <a:gd name="connsiteX93" fmla="*/ 8047 w 9833"/>
              <a:gd name="connsiteY93" fmla="*/ 6016 h 10000"/>
              <a:gd name="connsiteX94" fmla="*/ 8164 w 9833"/>
              <a:gd name="connsiteY94" fmla="*/ 5835 h 10000"/>
              <a:gd name="connsiteX95" fmla="*/ 8278 w 9833"/>
              <a:gd name="connsiteY95" fmla="*/ 5652 h 10000"/>
              <a:gd name="connsiteX96" fmla="*/ 8386 w 9833"/>
              <a:gd name="connsiteY96" fmla="*/ 5468 h 10000"/>
              <a:gd name="connsiteX97" fmla="*/ 8491 w 9833"/>
              <a:gd name="connsiteY97" fmla="*/ 5278 h 10000"/>
              <a:gd name="connsiteX98" fmla="*/ 8596 w 9833"/>
              <a:gd name="connsiteY98" fmla="*/ 5089 h 10000"/>
              <a:gd name="connsiteX99" fmla="*/ 8696 w 9833"/>
              <a:gd name="connsiteY99" fmla="*/ 4893 h 10000"/>
              <a:gd name="connsiteX100" fmla="*/ 8793 w 9833"/>
              <a:gd name="connsiteY100" fmla="*/ 4698 h 10000"/>
              <a:gd name="connsiteX101" fmla="*/ 8887 w 9833"/>
              <a:gd name="connsiteY101" fmla="*/ 4500 h 10000"/>
              <a:gd name="connsiteX102" fmla="*/ 8974 w 9833"/>
              <a:gd name="connsiteY102" fmla="*/ 4294 h 10000"/>
              <a:gd name="connsiteX103" fmla="*/ 9059 w 9833"/>
              <a:gd name="connsiteY103" fmla="*/ 4091 h 10000"/>
              <a:gd name="connsiteX104" fmla="*/ 9143 w 9833"/>
              <a:gd name="connsiteY104" fmla="*/ 3885 h 10000"/>
              <a:gd name="connsiteX105" fmla="*/ 9223 w 9833"/>
              <a:gd name="connsiteY105" fmla="*/ 3674 h 10000"/>
              <a:gd name="connsiteX106" fmla="*/ 9297 w 9833"/>
              <a:gd name="connsiteY106" fmla="*/ 3464 h 10000"/>
              <a:gd name="connsiteX107" fmla="*/ 9370 w 9833"/>
              <a:gd name="connsiteY107" fmla="*/ 3248 h 10000"/>
              <a:gd name="connsiteX108" fmla="*/ 9437 w 9833"/>
              <a:gd name="connsiteY108" fmla="*/ 3030 h 10000"/>
              <a:gd name="connsiteX109" fmla="*/ 9500 w 9833"/>
              <a:gd name="connsiteY109" fmla="*/ 2815 h 10000"/>
              <a:gd name="connsiteX110" fmla="*/ 9561 w 9833"/>
              <a:gd name="connsiteY110" fmla="*/ 2592 h 10000"/>
              <a:gd name="connsiteX111" fmla="*/ 9616 w 9833"/>
              <a:gd name="connsiteY111" fmla="*/ 2369 h 10000"/>
              <a:gd name="connsiteX112" fmla="*/ 9668 w 9833"/>
              <a:gd name="connsiteY112" fmla="*/ 2143 h 10000"/>
              <a:gd name="connsiteX113" fmla="*/ 9716 w 9833"/>
              <a:gd name="connsiteY113" fmla="*/ 1918 h 10000"/>
              <a:gd name="connsiteX114" fmla="*/ 9759 w 9833"/>
              <a:gd name="connsiteY114" fmla="*/ 1690 h 10000"/>
              <a:gd name="connsiteX115" fmla="*/ 9799 w 9833"/>
              <a:gd name="connsiteY115" fmla="*/ 1457 h 10000"/>
              <a:gd name="connsiteX116" fmla="*/ 9833 w 9833"/>
              <a:gd name="connsiteY116" fmla="*/ 1222 h 10000"/>
              <a:gd name="connsiteX117" fmla="*/ 7078 w 9833"/>
              <a:gd name="connsiteY117" fmla="*/ 1876 h 10000"/>
              <a:gd name="connsiteX118" fmla="*/ 4779 w 9833"/>
              <a:gd name="connsiteY118" fmla="*/ 0 h 10000"/>
              <a:gd name="connsiteX0" fmla="*/ 4860 w 10000"/>
              <a:gd name="connsiteY0" fmla="*/ 0 h 10000"/>
              <a:gd name="connsiteX1" fmla="*/ 4860 w 10000"/>
              <a:gd name="connsiteY1" fmla="*/ 0 h 10000"/>
              <a:gd name="connsiteX2" fmla="*/ 4850 w 10000"/>
              <a:gd name="connsiteY2" fmla="*/ 99 h 10000"/>
              <a:gd name="connsiteX3" fmla="*/ 4832 w 10000"/>
              <a:gd name="connsiteY3" fmla="*/ 201 h 10000"/>
              <a:gd name="connsiteX4" fmla="*/ 4818 w 10000"/>
              <a:gd name="connsiteY4" fmla="*/ 300 h 10000"/>
              <a:gd name="connsiteX5" fmla="*/ 4800 w 10000"/>
              <a:gd name="connsiteY5" fmla="*/ 394 h 10000"/>
              <a:gd name="connsiteX6" fmla="*/ 4779 w 10000"/>
              <a:gd name="connsiteY6" fmla="*/ 491 h 10000"/>
              <a:gd name="connsiteX7" fmla="*/ 4756 w 10000"/>
              <a:gd name="connsiteY7" fmla="*/ 587 h 10000"/>
              <a:gd name="connsiteX8" fmla="*/ 4735 w 10000"/>
              <a:gd name="connsiteY8" fmla="*/ 684 h 10000"/>
              <a:gd name="connsiteX9" fmla="*/ 4710 w 10000"/>
              <a:gd name="connsiteY9" fmla="*/ 778 h 10000"/>
              <a:gd name="connsiteX10" fmla="*/ 4683 w 10000"/>
              <a:gd name="connsiteY10" fmla="*/ 870 h 10000"/>
              <a:gd name="connsiteX11" fmla="*/ 4652 w 10000"/>
              <a:gd name="connsiteY11" fmla="*/ 961 h 10000"/>
              <a:gd name="connsiteX12" fmla="*/ 4626 w 10000"/>
              <a:gd name="connsiteY12" fmla="*/ 1053 h 10000"/>
              <a:gd name="connsiteX13" fmla="*/ 4593 w 10000"/>
              <a:gd name="connsiteY13" fmla="*/ 1145 h 10000"/>
              <a:gd name="connsiteX14" fmla="*/ 4557 w 10000"/>
              <a:gd name="connsiteY14" fmla="*/ 1231 h 10000"/>
              <a:gd name="connsiteX15" fmla="*/ 4523 w 10000"/>
              <a:gd name="connsiteY15" fmla="*/ 1318 h 10000"/>
              <a:gd name="connsiteX16" fmla="*/ 4488 w 10000"/>
              <a:gd name="connsiteY16" fmla="*/ 1405 h 10000"/>
              <a:gd name="connsiteX17" fmla="*/ 4448 w 10000"/>
              <a:gd name="connsiteY17" fmla="*/ 1494 h 10000"/>
              <a:gd name="connsiteX18" fmla="*/ 4410 w 10000"/>
              <a:gd name="connsiteY18" fmla="*/ 1578 h 10000"/>
              <a:gd name="connsiteX19" fmla="*/ 4369 w 10000"/>
              <a:gd name="connsiteY19" fmla="*/ 1663 h 10000"/>
              <a:gd name="connsiteX20" fmla="*/ 4325 w 10000"/>
              <a:gd name="connsiteY20" fmla="*/ 1742 h 10000"/>
              <a:gd name="connsiteX21" fmla="*/ 4279 w 10000"/>
              <a:gd name="connsiteY21" fmla="*/ 1824 h 10000"/>
              <a:gd name="connsiteX22" fmla="*/ 4236 w 10000"/>
              <a:gd name="connsiteY22" fmla="*/ 1903 h 10000"/>
              <a:gd name="connsiteX23" fmla="*/ 4189 w 10000"/>
              <a:gd name="connsiteY23" fmla="*/ 1985 h 10000"/>
              <a:gd name="connsiteX24" fmla="*/ 4140 w 10000"/>
              <a:gd name="connsiteY24" fmla="*/ 2059 h 10000"/>
              <a:gd name="connsiteX25" fmla="*/ 4089 w 10000"/>
              <a:gd name="connsiteY25" fmla="*/ 2133 h 10000"/>
              <a:gd name="connsiteX26" fmla="*/ 4037 w 10000"/>
              <a:gd name="connsiteY26" fmla="*/ 2210 h 10000"/>
              <a:gd name="connsiteX27" fmla="*/ 3986 w 10000"/>
              <a:gd name="connsiteY27" fmla="*/ 2282 h 10000"/>
              <a:gd name="connsiteX28" fmla="*/ 3931 w 10000"/>
              <a:gd name="connsiteY28" fmla="*/ 2354 h 10000"/>
              <a:gd name="connsiteX29" fmla="*/ 3876 w 10000"/>
              <a:gd name="connsiteY29" fmla="*/ 2426 h 10000"/>
              <a:gd name="connsiteX30" fmla="*/ 3821 w 10000"/>
              <a:gd name="connsiteY30" fmla="*/ 2495 h 10000"/>
              <a:gd name="connsiteX31" fmla="*/ 3761 w 10000"/>
              <a:gd name="connsiteY31" fmla="*/ 2562 h 10000"/>
              <a:gd name="connsiteX32" fmla="*/ 3704 w 10000"/>
              <a:gd name="connsiteY32" fmla="*/ 2626 h 10000"/>
              <a:gd name="connsiteX33" fmla="*/ 3642 w 10000"/>
              <a:gd name="connsiteY33" fmla="*/ 2691 h 10000"/>
              <a:gd name="connsiteX34" fmla="*/ 3583 w 10000"/>
              <a:gd name="connsiteY34" fmla="*/ 2753 h 10000"/>
              <a:gd name="connsiteX35" fmla="*/ 3517 w 10000"/>
              <a:gd name="connsiteY35" fmla="*/ 2817 h 10000"/>
              <a:gd name="connsiteX36" fmla="*/ 3455 w 10000"/>
              <a:gd name="connsiteY36" fmla="*/ 2874 h 10000"/>
              <a:gd name="connsiteX37" fmla="*/ 3390 w 10000"/>
              <a:gd name="connsiteY37" fmla="*/ 2934 h 10000"/>
              <a:gd name="connsiteX38" fmla="*/ 3324 w 10000"/>
              <a:gd name="connsiteY38" fmla="*/ 2989 h 10000"/>
              <a:gd name="connsiteX39" fmla="*/ 3256 w 10000"/>
              <a:gd name="connsiteY39" fmla="*/ 3043 h 10000"/>
              <a:gd name="connsiteX40" fmla="*/ 3188 w 10000"/>
              <a:gd name="connsiteY40" fmla="*/ 3097 h 10000"/>
              <a:gd name="connsiteX41" fmla="*/ 3120 w 10000"/>
              <a:gd name="connsiteY41" fmla="*/ 3149 h 10000"/>
              <a:gd name="connsiteX42" fmla="*/ 3050 w 10000"/>
              <a:gd name="connsiteY42" fmla="*/ 3196 h 10000"/>
              <a:gd name="connsiteX43" fmla="*/ 2978 w 10000"/>
              <a:gd name="connsiteY43" fmla="*/ 3243 h 10000"/>
              <a:gd name="connsiteX44" fmla="*/ 3109 w 10000"/>
              <a:gd name="connsiteY44" fmla="*/ 6577 h 10000"/>
              <a:gd name="connsiteX45" fmla="*/ 0 w 10000"/>
              <a:gd name="connsiteY45" fmla="*/ 9903 h 10000"/>
              <a:gd name="connsiteX46" fmla="*/ 339 w 10000"/>
              <a:gd name="connsiteY46" fmla="*/ 9949 h 10000"/>
              <a:gd name="connsiteX47" fmla="*/ 510 w 10000"/>
              <a:gd name="connsiteY47" fmla="*/ 9965 h 10000"/>
              <a:gd name="connsiteX48" fmla="*/ 681 w 10000"/>
              <a:gd name="connsiteY48" fmla="*/ 9980 h 10000"/>
              <a:gd name="connsiteX49" fmla="*/ 857 w 10000"/>
              <a:gd name="connsiteY49" fmla="*/ 9990 h 10000"/>
              <a:gd name="connsiteX50" fmla="*/ 1031 w 10000"/>
              <a:gd name="connsiteY50" fmla="*/ 9995 h 10000"/>
              <a:gd name="connsiteX51" fmla="*/ 1204 w 10000"/>
              <a:gd name="connsiteY51" fmla="*/ 10000 h 10000"/>
              <a:gd name="connsiteX52" fmla="*/ 1414 w 10000"/>
              <a:gd name="connsiteY52" fmla="*/ 9995 h 10000"/>
              <a:gd name="connsiteX53" fmla="*/ 1618 w 10000"/>
              <a:gd name="connsiteY53" fmla="*/ 9988 h 10000"/>
              <a:gd name="connsiteX54" fmla="*/ 1822 w 10000"/>
              <a:gd name="connsiteY54" fmla="*/ 9975 h 10000"/>
              <a:gd name="connsiteX55" fmla="*/ 2021 w 10000"/>
              <a:gd name="connsiteY55" fmla="*/ 9954 h 10000"/>
              <a:gd name="connsiteX56" fmla="*/ 2224 w 10000"/>
              <a:gd name="connsiteY56" fmla="*/ 9932 h 10000"/>
              <a:gd name="connsiteX57" fmla="*/ 2424 w 10000"/>
              <a:gd name="connsiteY57" fmla="*/ 9898 h 10000"/>
              <a:gd name="connsiteX58" fmla="*/ 2623 w 10000"/>
              <a:gd name="connsiteY58" fmla="*/ 9866 h 10000"/>
              <a:gd name="connsiteX59" fmla="*/ 2821 w 10000"/>
              <a:gd name="connsiteY59" fmla="*/ 9824 h 10000"/>
              <a:gd name="connsiteX60" fmla="*/ 3014 w 10000"/>
              <a:gd name="connsiteY60" fmla="*/ 9779 h 10000"/>
              <a:gd name="connsiteX61" fmla="*/ 3213 w 10000"/>
              <a:gd name="connsiteY61" fmla="*/ 9731 h 10000"/>
              <a:gd name="connsiteX62" fmla="*/ 3401 w 10000"/>
              <a:gd name="connsiteY62" fmla="*/ 9673 h 10000"/>
              <a:gd name="connsiteX63" fmla="*/ 3594 w 10000"/>
              <a:gd name="connsiteY63" fmla="*/ 9616 h 10000"/>
              <a:gd name="connsiteX64" fmla="*/ 3783 w 10000"/>
              <a:gd name="connsiteY64" fmla="*/ 9553 h 10000"/>
              <a:gd name="connsiteX65" fmla="*/ 3970 w 10000"/>
              <a:gd name="connsiteY65" fmla="*/ 9482 h 10000"/>
              <a:gd name="connsiteX66" fmla="*/ 4153 w 10000"/>
              <a:gd name="connsiteY66" fmla="*/ 9405 h 10000"/>
              <a:gd name="connsiteX67" fmla="*/ 4336 w 10000"/>
              <a:gd name="connsiteY67" fmla="*/ 9330 h 10000"/>
              <a:gd name="connsiteX68" fmla="*/ 4520 w 10000"/>
              <a:gd name="connsiteY68" fmla="*/ 9244 h 10000"/>
              <a:gd name="connsiteX69" fmla="*/ 4702 w 10000"/>
              <a:gd name="connsiteY69" fmla="*/ 9159 h 10000"/>
              <a:gd name="connsiteX70" fmla="*/ 4877 w 10000"/>
              <a:gd name="connsiteY70" fmla="*/ 9063 h 10000"/>
              <a:gd name="connsiteX71" fmla="*/ 5053 w 10000"/>
              <a:gd name="connsiteY71" fmla="*/ 8968 h 10000"/>
              <a:gd name="connsiteX72" fmla="*/ 5229 w 10000"/>
              <a:gd name="connsiteY72" fmla="*/ 8865 h 10000"/>
              <a:gd name="connsiteX73" fmla="*/ 5399 w 10000"/>
              <a:gd name="connsiteY73" fmla="*/ 8760 h 10000"/>
              <a:gd name="connsiteX74" fmla="*/ 5569 w 10000"/>
              <a:gd name="connsiteY74" fmla="*/ 8652 h 10000"/>
              <a:gd name="connsiteX75" fmla="*/ 5739 w 10000"/>
              <a:gd name="connsiteY75" fmla="*/ 8536 h 10000"/>
              <a:gd name="connsiteX76" fmla="*/ 5903 w 10000"/>
              <a:gd name="connsiteY76" fmla="*/ 8417 h 10000"/>
              <a:gd name="connsiteX77" fmla="*/ 6064 w 10000"/>
              <a:gd name="connsiteY77" fmla="*/ 8295 h 10000"/>
              <a:gd name="connsiteX78" fmla="*/ 6226 w 10000"/>
              <a:gd name="connsiteY78" fmla="*/ 8169 h 10000"/>
              <a:gd name="connsiteX79" fmla="*/ 6381 w 10000"/>
              <a:gd name="connsiteY79" fmla="*/ 8040 h 10000"/>
              <a:gd name="connsiteX80" fmla="*/ 6535 w 10000"/>
              <a:gd name="connsiteY80" fmla="*/ 7904 h 10000"/>
              <a:gd name="connsiteX81" fmla="*/ 6688 w 10000"/>
              <a:gd name="connsiteY81" fmla="*/ 7768 h 10000"/>
              <a:gd name="connsiteX82" fmla="*/ 6838 w 10000"/>
              <a:gd name="connsiteY82" fmla="*/ 7625 h 10000"/>
              <a:gd name="connsiteX83" fmla="*/ 6986 w 10000"/>
              <a:gd name="connsiteY83" fmla="*/ 7480 h 10000"/>
              <a:gd name="connsiteX84" fmla="*/ 7130 w 10000"/>
              <a:gd name="connsiteY84" fmla="*/ 7329 h 10000"/>
              <a:gd name="connsiteX85" fmla="*/ 7272 w 10000"/>
              <a:gd name="connsiteY85" fmla="*/ 7178 h 10000"/>
              <a:gd name="connsiteX86" fmla="*/ 7410 w 10000"/>
              <a:gd name="connsiteY86" fmla="*/ 7025 h 10000"/>
              <a:gd name="connsiteX87" fmla="*/ 7548 w 10000"/>
              <a:gd name="connsiteY87" fmla="*/ 6862 h 10000"/>
              <a:gd name="connsiteX88" fmla="*/ 7681 w 10000"/>
              <a:gd name="connsiteY88" fmla="*/ 6697 h 10000"/>
              <a:gd name="connsiteX89" fmla="*/ 7811 w 10000"/>
              <a:gd name="connsiteY89" fmla="*/ 6534 h 10000"/>
              <a:gd name="connsiteX90" fmla="*/ 7938 w 10000"/>
              <a:gd name="connsiteY90" fmla="*/ 6365 h 10000"/>
              <a:gd name="connsiteX91" fmla="*/ 8062 w 10000"/>
              <a:gd name="connsiteY91" fmla="*/ 6189 h 10000"/>
              <a:gd name="connsiteX92" fmla="*/ 8184 w 10000"/>
              <a:gd name="connsiteY92" fmla="*/ 6016 h 10000"/>
              <a:gd name="connsiteX93" fmla="*/ 8303 w 10000"/>
              <a:gd name="connsiteY93" fmla="*/ 5835 h 10000"/>
              <a:gd name="connsiteX94" fmla="*/ 8419 w 10000"/>
              <a:gd name="connsiteY94" fmla="*/ 5652 h 10000"/>
              <a:gd name="connsiteX95" fmla="*/ 8528 w 10000"/>
              <a:gd name="connsiteY95" fmla="*/ 5468 h 10000"/>
              <a:gd name="connsiteX96" fmla="*/ 8635 w 10000"/>
              <a:gd name="connsiteY96" fmla="*/ 5278 h 10000"/>
              <a:gd name="connsiteX97" fmla="*/ 8742 w 10000"/>
              <a:gd name="connsiteY97" fmla="*/ 5089 h 10000"/>
              <a:gd name="connsiteX98" fmla="*/ 8844 w 10000"/>
              <a:gd name="connsiteY98" fmla="*/ 4893 h 10000"/>
              <a:gd name="connsiteX99" fmla="*/ 8942 w 10000"/>
              <a:gd name="connsiteY99" fmla="*/ 4698 h 10000"/>
              <a:gd name="connsiteX100" fmla="*/ 9038 w 10000"/>
              <a:gd name="connsiteY100" fmla="*/ 4500 h 10000"/>
              <a:gd name="connsiteX101" fmla="*/ 9126 w 10000"/>
              <a:gd name="connsiteY101" fmla="*/ 4294 h 10000"/>
              <a:gd name="connsiteX102" fmla="*/ 9213 w 10000"/>
              <a:gd name="connsiteY102" fmla="*/ 4091 h 10000"/>
              <a:gd name="connsiteX103" fmla="*/ 9298 w 10000"/>
              <a:gd name="connsiteY103" fmla="*/ 3885 h 10000"/>
              <a:gd name="connsiteX104" fmla="*/ 9380 w 10000"/>
              <a:gd name="connsiteY104" fmla="*/ 3674 h 10000"/>
              <a:gd name="connsiteX105" fmla="*/ 9455 w 10000"/>
              <a:gd name="connsiteY105" fmla="*/ 3464 h 10000"/>
              <a:gd name="connsiteX106" fmla="*/ 9529 w 10000"/>
              <a:gd name="connsiteY106" fmla="*/ 3248 h 10000"/>
              <a:gd name="connsiteX107" fmla="*/ 9597 w 10000"/>
              <a:gd name="connsiteY107" fmla="*/ 3030 h 10000"/>
              <a:gd name="connsiteX108" fmla="*/ 9661 w 10000"/>
              <a:gd name="connsiteY108" fmla="*/ 2815 h 10000"/>
              <a:gd name="connsiteX109" fmla="*/ 9723 w 10000"/>
              <a:gd name="connsiteY109" fmla="*/ 2592 h 10000"/>
              <a:gd name="connsiteX110" fmla="*/ 9779 w 10000"/>
              <a:gd name="connsiteY110" fmla="*/ 2369 h 10000"/>
              <a:gd name="connsiteX111" fmla="*/ 9832 w 10000"/>
              <a:gd name="connsiteY111" fmla="*/ 2143 h 10000"/>
              <a:gd name="connsiteX112" fmla="*/ 9881 w 10000"/>
              <a:gd name="connsiteY112" fmla="*/ 1918 h 10000"/>
              <a:gd name="connsiteX113" fmla="*/ 9925 w 10000"/>
              <a:gd name="connsiteY113" fmla="*/ 1690 h 10000"/>
              <a:gd name="connsiteX114" fmla="*/ 9965 w 10000"/>
              <a:gd name="connsiteY114" fmla="*/ 1457 h 10000"/>
              <a:gd name="connsiteX115" fmla="*/ 10000 w 10000"/>
              <a:gd name="connsiteY115" fmla="*/ 1222 h 10000"/>
              <a:gd name="connsiteX116" fmla="*/ 7198 w 10000"/>
              <a:gd name="connsiteY116" fmla="*/ 1876 h 10000"/>
              <a:gd name="connsiteX117" fmla="*/ 4860 w 10000"/>
              <a:gd name="connsiteY117" fmla="*/ 0 h 10000"/>
              <a:gd name="connsiteX0" fmla="*/ 4687 w 9827"/>
              <a:gd name="connsiteY0" fmla="*/ 0 h 10203"/>
              <a:gd name="connsiteX1" fmla="*/ 4687 w 9827"/>
              <a:gd name="connsiteY1" fmla="*/ 0 h 10203"/>
              <a:gd name="connsiteX2" fmla="*/ 4677 w 9827"/>
              <a:gd name="connsiteY2" fmla="*/ 99 h 10203"/>
              <a:gd name="connsiteX3" fmla="*/ 4659 w 9827"/>
              <a:gd name="connsiteY3" fmla="*/ 201 h 10203"/>
              <a:gd name="connsiteX4" fmla="*/ 4645 w 9827"/>
              <a:gd name="connsiteY4" fmla="*/ 300 h 10203"/>
              <a:gd name="connsiteX5" fmla="*/ 4627 w 9827"/>
              <a:gd name="connsiteY5" fmla="*/ 394 h 10203"/>
              <a:gd name="connsiteX6" fmla="*/ 4606 w 9827"/>
              <a:gd name="connsiteY6" fmla="*/ 491 h 10203"/>
              <a:gd name="connsiteX7" fmla="*/ 4583 w 9827"/>
              <a:gd name="connsiteY7" fmla="*/ 587 h 10203"/>
              <a:gd name="connsiteX8" fmla="*/ 4562 w 9827"/>
              <a:gd name="connsiteY8" fmla="*/ 684 h 10203"/>
              <a:gd name="connsiteX9" fmla="*/ 4537 w 9827"/>
              <a:gd name="connsiteY9" fmla="*/ 778 h 10203"/>
              <a:gd name="connsiteX10" fmla="*/ 4510 w 9827"/>
              <a:gd name="connsiteY10" fmla="*/ 870 h 10203"/>
              <a:gd name="connsiteX11" fmla="*/ 4479 w 9827"/>
              <a:gd name="connsiteY11" fmla="*/ 961 h 10203"/>
              <a:gd name="connsiteX12" fmla="*/ 4453 w 9827"/>
              <a:gd name="connsiteY12" fmla="*/ 1053 h 10203"/>
              <a:gd name="connsiteX13" fmla="*/ 4420 w 9827"/>
              <a:gd name="connsiteY13" fmla="*/ 1145 h 10203"/>
              <a:gd name="connsiteX14" fmla="*/ 4384 w 9827"/>
              <a:gd name="connsiteY14" fmla="*/ 1231 h 10203"/>
              <a:gd name="connsiteX15" fmla="*/ 4350 w 9827"/>
              <a:gd name="connsiteY15" fmla="*/ 1318 h 10203"/>
              <a:gd name="connsiteX16" fmla="*/ 4315 w 9827"/>
              <a:gd name="connsiteY16" fmla="*/ 1405 h 10203"/>
              <a:gd name="connsiteX17" fmla="*/ 4275 w 9827"/>
              <a:gd name="connsiteY17" fmla="*/ 1494 h 10203"/>
              <a:gd name="connsiteX18" fmla="*/ 4237 w 9827"/>
              <a:gd name="connsiteY18" fmla="*/ 1578 h 10203"/>
              <a:gd name="connsiteX19" fmla="*/ 4196 w 9827"/>
              <a:gd name="connsiteY19" fmla="*/ 1663 h 10203"/>
              <a:gd name="connsiteX20" fmla="*/ 4152 w 9827"/>
              <a:gd name="connsiteY20" fmla="*/ 1742 h 10203"/>
              <a:gd name="connsiteX21" fmla="*/ 4106 w 9827"/>
              <a:gd name="connsiteY21" fmla="*/ 1824 h 10203"/>
              <a:gd name="connsiteX22" fmla="*/ 4063 w 9827"/>
              <a:gd name="connsiteY22" fmla="*/ 1903 h 10203"/>
              <a:gd name="connsiteX23" fmla="*/ 4016 w 9827"/>
              <a:gd name="connsiteY23" fmla="*/ 1985 h 10203"/>
              <a:gd name="connsiteX24" fmla="*/ 3967 w 9827"/>
              <a:gd name="connsiteY24" fmla="*/ 2059 h 10203"/>
              <a:gd name="connsiteX25" fmla="*/ 3916 w 9827"/>
              <a:gd name="connsiteY25" fmla="*/ 2133 h 10203"/>
              <a:gd name="connsiteX26" fmla="*/ 3864 w 9827"/>
              <a:gd name="connsiteY26" fmla="*/ 2210 h 10203"/>
              <a:gd name="connsiteX27" fmla="*/ 3813 w 9827"/>
              <a:gd name="connsiteY27" fmla="*/ 2282 h 10203"/>
              <a:gd name="connsiteX28" fmla="*/ 3758 w 9827"/>
              <a:gd name="connsiteY28" fmla="*/ 2354 h 10203"/>
              <a:gd name="connsiteX29" fmla="*/ 3703 w 9827"/>
              <a:gd name="connsiteY29" fmla="*/ 2426 h 10203"/>
              <a:gd name="connsiteX30" fmla="*/ 3648 w 9827"/>
              <a:gd name="connsiteY30" fmla="*/ 2495 h 10203"/>
              <a:gd name="connsiteX31" fmla="*/ 3588 w 9827"/>
              <a:gd name="connsiteY31" fmla="*/ 2562 h 10203"/>
              <a:gd name="connsiteX32" fmla="*/ 3531 w 9827"/>
              <a:gd name="connsiteY32" fmla="*/ 2626 h 10203"/>
              <a:gd name="connsiteX33" fmla="*/ 3469 w 9827"/>
              <a:gd name="connsiteY33" fmla="*/ 2691 h 10203"/>
              <a:gd name="connsiteX34" fmla="*/ 3410 w 9827"/>
              <a:gd name="connsiteY34" fmla="*/ 2753 h 10203"/>
              <a:gd name="connsiteX35" fmla="*/ 3344 w 9827"/>
              <a:gd name="connsiteY35" fmla="*/ 2817 h 10203"/>
              <a:gd name="connsiteX36" fmla="*/ 3282 w 9827"/>
              <a:gd name="connsiteY36" fmla="*/ 2874 h 10203"/>
              <a:gd name="connsiteX37" fmla="*/ 3217 w 9827"/>
              <a:gd name="connsiteY37" fmla="*/ 2934 h 10203"/>
              <a:gd name="connsiteX38" fmla="*/ 3151 w 9827"/>
              <a:gd name="connsiteY38" fmla="*/ 2989 h 10203"/>
              <a:gd name="connsiteX39" fmla="*/ 3083 w 9827"/>
              <a:gd name="connsiteY39" fmla="*/ 3043 h 10203"/>
              <a:gd name="connsiteX40" fmla="*/ 3015 w 9827"/>
              <a:gd name="connsiteY40" fmla="*/ 3097 h 10203"/>
              <a:gd name="connsiteX41" fmla="*/ 2947 w 9827"/>
              <a:gd name="connsiteY41" fmla="*/ 3149 h 10203"/>
              <a:gd name="connsiteX42" fmla="*/ 2877 w 9827"/>
              <a:gd name="connsiteY42" fmla="*/ 3196 h 10203"/>
              <a:gd name="connsiteX43" fmla="*/ 2805 w 9827"/>
              <a:gd name="connsiteY43" fmla="*/ 3243 h 10203"/>
              <a:gd name="connsiteX44" fmla="*/ 2936 w 9827"/>
              <a:gd name="connsiteY44" fmla="*/ 6577 h 10203"/>
              <a:gd name="connsiteX45" fmla="*/ 166 w 9827"/>
              <a:gd name="connsiteY45" fmla="*/ 9949 h 10203"/>
              <a:gd name="connsiteX46" fmla="*/ 337 w 9827"/>
              <a:gd name="connsiteY46" fmla="*/ 9965 h 10203"/>
              <a:gd name="connsiteX47" fmla="*/ 508 w 9827"/>
              <a:gd name="connsiteY47" fmla="*/ 9980 h 10203"/>
              <a:gd name="connsiteX48" fmla="*/ 684 w 9827"/>
              <a:gd name="connsiteY48" fmla="*/ 9990 h 10203"/>
              <a:gd name="connsiteX49" fmla="*/ 858 w 9827"/>
              <a:gd name="connsiteY49" fmla="*/ 9995 h 10203"/>
              <a:gd name="connsiteX50" fmla="*/ 1031 w 9827"/>
              <a:gd name="connsiteY50" fmla="*/ 10000 h 10203"/>
              <a:gd name="connsiteX51" fmla="*/ 1241 w 9827"/>
              <a:gd name="connsiteY51" fmla="*/ 9995 h 10203"/>
              <a:gd name="connsiteX52" fmla="*/ 1445 w 9827"/>
              <a:gd name="connsiteY52" fmla="*/ 9988 h 10203"/>
              <a:gd name="connsiteX53" fmla="*/ 1649 w 9827"/>
              <a:gd name="connsiteY53" fmla="*/ 9975 h 10203"/>
              <a:gd name="connsiteX54" fmla="*/ 1848 w 9827"/>
              <a:gd name="connsiteY54" fmla="*/ 9954 h 10203"/>
              <a:gd name="connsiteX55" fmla="*/ 2051 w 9827"/>
              <a:gd name="connsiteY55" fmla="*/ 9932 h 10203"/>
              <a:gd name="connsiteX56" fmla="*/ 2251 w 9827"/>
              <a:gd name="connsiteY56" fmla="*/ 9898 h 10203"/>
              <a:gd name="connsiteX57" fmla="*/ 2450 w 9827"/>
              <a:gd name="connsiteY57" fmla="*/ 9866 h 10203"/>
              <a:gd name="connsiteX58" fmla="*/ 2648 w 9827"/>
              <a:gd name="connsiteY58" fmla="*/ 9824 h 10203"/>
              <a:gd name="connsiteX59" fmla="*/ 2841 w 9827"/>
              <a:gd name="connsiteY59" fmla="*/ 9779 h 10203"/>
              <a:gd name="connsiteX60" fmla="*/ 3040 w 9827"/>
              <a:gd name="connsiteY60" fmla="*/ 9731 h 10203"/>
              <a:gd name="connsiteX61" fmla="*/ 3228 w 9827"/>
              <a:gd name="connsiteY61" fmla="*/ 9673 h 10203"/>
              <a:gd name="connsiteX62" fmla="*/ 3421 w 9827"/>
              <a:gd name="connsiteY62" fmla="*/ 9616 h 10203"/>
              <a:gd name="connsiteX63" fmla="*/ 3610 w 9827"/>
              <a:gd name="connsiteY63" fmla="*/ 9553 h 10203"/>
              <a:gd name="connsiteX64" fmla="*/ 3797 w 9827"/>
              <a:gd name="connsiteY64" fmla="*/ 9482 h 10203"/>
              <a:gd name="connsiteX65" fmla="*/ 3980 w 9827"/>
              <a:gd name="connsiteY65" fmla="*/ 9405 h 10203"/>
              <a:gd name="connsiteX66" fmla="*/ 4163 w 9827"/>
              <a:gd name="connsiteY66" fmla="*/ 9330 h 10203"/>
              <a:gd name="connsiteX67" fmla="*/ 4347 w 9827"/>
              <a:gd name="connsiteY67" fmla="*/ 9244 h 10203"/>
              <a:gd name="connsiteX68" fmla="*/ 4529 w 9827"/>
              <a:gd name="connsiteY68" fmla="*/ 9159 h 10203"/>
              <a:gd name="connsiteX69" fmla="*/ 4704 w 9827"/>
              <a:gd name="connsiteY69" fmla="*/ 9063 h 10203"/>
              <a:gd name="connsiteX70" fmla="*/ 4880 w 9827"/>
              <a:gd name="connsiteY70" fmla="*/ 8968 h 10203"/>
              <a:gd name="connsiteX71" fmla="*/ 5056 w 9827"/>
              <a:gd name="connsiteY71" fmla="*/ 8865 h 10203"/>
              <a:gd name="connsiteX72" fmla="*/ 5226 w 9827"/>
              <a:gd name="connsiteY72" fmla="*/ 8760 h 10203"/>
              <a:gd name="connsiteX73" fmla="*/ 5396 w 9827"/>
              <a:gd name="connsiteY73" fmla="*/ 8652 h 10203"/>
              <a:gd name="connsiteX74" fmla="*/ 5566 w 9827"/>
              <a:gd name="connsiteY74" fmla="*/ 8536 h 10203"/>
              <a:gd name="connsiteX75" fmla="*/ 5730 w 9827"/>
              <a:gd name="connsiteY75" fmla="*/ 8417 h 10203"/>
              <a:gd name="connsiteX76" fmla="*/ 5891 w 9827"/>
              <a:gd name="connsiteY76" fmla="*/ 8295 h 10203"/>
              <a:gd name="connsiteX77" fmla="*/ 6053 w 9827"/>
              <a:gd name="connsiteY77" fmla="*/ 8169 h 10203"/>
              <a:gd name="connsiteX78" fmla="*/ 6208 w 9827"/>
              <a:gd name="connsiteY78" fmla="*/ 8040 h 10203"/>
              <a:gd name="connsiteX79" fmla="*/ 6362 w 9827"/>
              <a:gd name="connsiteY79" fmla="*/ 7904 h 10203"/>
              <a:gd name="connsiteX80" fmla="*/ 6515 w 9827"/>
              <a:gd name="connsiteY80" fmla="*/ 7768 h 10203"/>
              <a:gd name="connsiteX81" fmla="*/ 6665 w 9827"/>
              <a:gd name="connsiteY81" fmla="*/ 7625 h 10203"/>
              <a:gd name="connsiteX82" fmla="*/ 6813 w 9827"/>
              <a:gd name="connsiteY82" fmla="*/ 7480 h 10203"/>
              <a:gd name="connsiteX83" fmla="*/ 6957 w 9827"/>
              <a:gd name="connsiteY83" fmla="*/ 7329 h 10203"/>
              <a:gd name="connsiteX84" fmla="*/ 7099 w 9827"/>
              <a:gd name="connsiteY84" fmla="*/ 7178 h 10203"/>
              <a:gd name="connsiteX85" fmla="*/ 7237 w 9827"/>
              <a:gd name="connsiteY85" fmla="*/ 7025 h 10203"/>
              <a:gd name="connsiteX86" fmla="*/ 7375 w 9827"/>
              <a:gd name="connsiteY86" fmla="*/ 6862 h 10203"/>
              <a:gd name="connsiteX87" fmla="*/ 7508 w 9827"/>
              <a:gd name="connsiteY87" fmla="*/ 6697 h 10203"/>
              <a:gd name="connsiteX88" fmla="*/ 7638 w 9827"/>
              <a:gd name="connsiteY88" fmla="*/ 6534 h 10203"/>
              <a:gd name="connsiteX89" fmla="*/ 7765 w 9827"/>
              <a:gd name="connsiteY89" fmla="*/ 6365 h 10203"/>
              <a:gd name="connsiteX90" fmla="*/ 7889 w 9827"/>
              <a:gd name="connsiteY90" fmla="*/ 6189 h 10203"/>
              <a:gd name="connsiteX91" fmla="*/ 8011 w 9827"/>
              <a:gd name="connsiteY91" fmla="*/ 6016 h 10203"/>
              <a:gd name="connsiteX92" fmla="*/ 8130 w 9827"/>
              <a:gd name="connsiteY92" fmla="*/ 5835 h 10203"/>
              <a:gd name="connsiteX93" fmla="*/ 8246 w 9827"/>
              <a:gd name="connsiteY93" fmla="*/ 5652 h 10203"/>
              <a:gd name="connsiteX94" fmla="*/ 8355 w 9827"/>
              <a:gd name="connsiteY94" fmla="*/ 5468 h 10203"/>
              <a:gd name="connsiteX95" fmla="*/ 8462 w 9827"/>
              <a:gd name="connsiteY95" fmla="*/ 5278 h 10203"/>
              <a:gd name="connsiteX96" fmla="*/ 8569 w 9827"/>
              <a:gd name="connsiteY96" fmla="*/ 5089 h 10203"/>
              <a:gd name="connsiteX97" fmla="*/ 8671 w 9827"/>
              <a:gd name="connsiteY97" fmla="*/ 4893 h 10203"/>
              <a:gd name="connsiteX98" fmla="*/ 8769 w 9827"/>
              <a:gd name="connsiteY98" fmla="*/ 4698 h 10203"/>
              <a:gd name="connsiteX99" fmla="*/ 8865 w 9827"/>
              <a:gd name="connsiteY99" fmla="*/ 4500 h 10203"/>
              <a:gd name="connsiteX100" fmla="*/ 8953 w 9827"/>
              <a:gd name="connsiteY100" fmla="*/ 4294 h 10203"/>
              <a:gd name="connsiteX101" fmla="*/ 9040 w 9827"/>
              <a:gd name="connsiteY101" fmla="*/ 4091 h 10203"/>
              <a:gd name="connsiteX102" fmla="*/ 9125 w 9827"/>
              <a:gd name="connsiteY102" fmla="*/ 3885 h 10203"/>
              <a:gd name="connsiteX103" fmla="*/ 9207 w 9827"/>
              <a:gd name="connsiteY103" fmla="*/ 3674 h 10203"/>
              <a:gd name="connsiteX104" fmla="*/ 9282 w 9827"/>
              <a:gd name="connsiteY104" fmla="*/ 3464 h 10203"/>
              <a:gd name="connsiteX105" fmla="*/ 9356 w 9827"/>
              <a:gd name="connsiteY105" fmla="*/ 3248 h 10203"/>
              <a:gd name="connsiteX106" fmla="*/ 9424 w 9827"/>
              <a:gd name="connsiteY106" fmla="*/ 3030 h 10203"/>
              <a:gd name="connsiteX107" fmla="*/ 9488 w 9827"/>
              <a:gd name="connsiteY107" fmla="*/ 2815 h 10203"/>
              <a:gd name="connsiteX108" fmla="*/ 9550 w 9827"/>
              <a:gd name="connsiteY108" fmla="*/ 2592 h 10203"/>
              <a:gd name="connsiteX109" fmla="*/ 9606 w 9827"/>
              <a:gd name="connsiteY109" fmla="*/ 2369 h 10203"/>
              <a:gd name="connsiteX110" fmla="*/ 9659 w 9827"/>
              <a:gd name="connsiteY110" fmla="*/ 2143 h 10203"/>
              <a:gd name="connsiteX111" fmla="*/ 9708 w 9827"/>
              <a:gd name="connsiteY111" fmla="*/ 1918 h 10203"/>
              <a:gd name="connsiteX112" fmla="*/ 9752 w 9827"/>
              <a:gd name="connsiteY112" fmla="*/ 1690 h 10203"/>
              <a:gd name="connsiteX113" fmla="*/ 9792 w 9827"/>
              <a:gd name="connsiteY113" fmla="*/ 1457 h 10203"/>
              <a:gd name="connsiteX114" fmla="*/ 9827 w 9827"/>
              <a:gd name="connsiteY114" fmla="*/ 1222 h 10203"/>
              <a:gd name="connsiteX115" fmla="*/ 7025 w 9827"/>
              <a:gd name="connsiteY115" fmla="*/ 1876 h 10203"/>
              <a:gd name="connsiteX116" fmla="*/ 4687 w 9827"/>
              <a:gd name="connsiteY116" fmla="*/ 0 h 10203"/>
              <a:gd name="connsiteX0" fmla="*/ 4427 w 9657"/>
              <a:gd name="connsiteY0" fmla="*/ 0 h 9801"/>
              <a:gd name="connsiteX1" fmla="*/ 4427 w 9657"/>
              <a:gd name="connsiteY1" fmla="*/ 0 h 9801"/>
              <a:gd name="connsiteX2" fmla="*/ 4416 w 9657"/>
              <a:gd name="connsiteY2" fmla="*/ 97 h 9801"/>
              <a:gd name="connsiteX3" fmla="*/ 4398 w 9657"/>
              <a:gd name="connsiteY3" fmla="*/ 197 h 9801"/>
              <a:gd name="connsiteX4" fmla="*/ 4384 w 9657"/>
              <a:gd name="connsiteY4" fmla="*/ 294 h 9801"/>
              <a:gd name="connsiteX5" fmla="*/ 4365 w 9657"/>
              <a:gd name="connsiteY5" fmla="*/ 386 h 9801"/>
              <a:gd name="connsiteX6" fmla="*/ 4344 w 9657"/>
              <a:gd name="connsiteY6" fmla="*/ 481 h 9801"/>
              <a:gd name="connsiteX7" fmla="*/ 4321 w 9657"/>
              <a:gd name="connsiteY7" fmla="*/ 575 h 9801"/>
              <a:gd name="connsiteX8" fmla="*/ 4299 w 9657"/>
              <a:gd name="connsiteY8" fmla="*/ 670 h 9801"/>
              <a:gd name="connsiteX9" fmla="*/ 4274 w 9657"/>
              <a:gd name="connsiteY9" fmla="*/ 763 h 9801"/>
              <a:gd name="connsiteX10" fmla="*/ 4246 w 9657"/>
              <a:gd name="connsiteY10" fmla="*/ 853 h 9801"/>
              <a:gd name="connsiteX11" fmla="*/ 4215 w 9657"/>
              <a:gd name="connsiteY11" fmla="*/ 942 h 9801"/>
              <a:gd name="connsiteX12" fmla="*/ 4188 w 9657"/>
              <a:gd name="connsiteY12" fmla="*/ 1032 h 9801"/>
              <a:gd name="connsiteX13" fmla="*/ 4155 w 9657"/>
              <a:gd name="connsiteY13" fmla="*/ 1122 h 9801"/>
              <a:gd name="connsiteX14" fmla="*/ 4118 w 9657"/>
              <a:gd name="connsiteY14" fmla="*/ 1207 h 9801"/>
              <a:gd name="connsiteX15" fmla="*/ 4084 w 9657"/>
              <a:gd name="connsiteY15" fmla="*/ 1292 h 9801"/>
              <a:gd name="connsiteX16" fmla="*/ 4048 w 9657"/>
              <a:gd name="connsiteY16" fmla="*/ 1377 h 9801"/>
              <a:gd name="connsiteX17" fmla="*/ 4007 w 9657"/>
              <a:gd name="connsiteY17" fmla="*/ 1464 h 9801"/>
              <a:gd name="connsiteX18" fmla="*/ 3969 w 9657"/>
              <a:gd name="connsiteY18" fmla="*/ 1547 h 9801"/>
              <a:gd name="connsiteX19" fmla="*/ 3927 w 9657"/>
              <a:gd name="connsiteY19" fmla="*/ 1630 h 9801"/>
              <a:gd name="connsiteX20" fmla="*/ 3882 w 9657"/>
              <a:gd name="connsiteY20" fmla="*/ 1707 h 9801"/>
              <a:gd name="connsiteX21" fmla="*/ 3835 w 9657"/>
              <a:gd name="connsiteY21" fmla="*/ 1788 h 9801"/>
              <a:gd name="connsiteX22" fmla="*/ 3792 w 9657"/>
              <a:gd name="connsiteY22" fmla="*/ 1865 h 9801"/>
              <a:gd name="connsiteX23" fmla="*/ 3744 w 9657"/>
              <a:gd name="connsiteY23" fmla="*/ 1946 h 9801"/>
              <a:gd name="connsiteX24" fmla="*/ 3694 w 9657"/>
              <a:gd name="connsiteY24" fmla="*/ 2018 h 9801"/>
              <a:gd name="connsiteX25" fmla="*/ 3642 w 9657"/>
              <a:gd name="connsiteY25" fmla="*/ 2091 h 9801"/>
              <a:gd name="connsiteX26" fmla="*/ 3589 w 9657"/>
              <a:gd name="connsiteY26" fmla="*/ 2166 h 9801"/>
              <a:gd name="connsiteX27" fmla="*/ 3537 w 9657"/>
              <a:gd name="connsiteY27" fmla="*/ 2237 h 9801"/>
              <a:gd name="connsiteX28" fmla="*/ 3481 w 9657"/>
              <a:gd name="connsiteY28" fmla="*/ 2307 h 9801"/>
              <a:gd name="connsiteX29" fmla="*/ 3425 w 9657"/>
              <a:gd name="connsiteY29" fmla="*/ 2378 h 9801"/>
              <a:gd name="connsiteX30" fmla="*/ 3369 w 9657"/>
              <a:gd name="connsiteY30" fmla="*/ 2445 h 9801"/>
              <a:gd name="connsiteX31" fmla="*/ 3308 w 9657"/>
              <a:gd name="connsiteY31" fmla="*/ 2511 h 9801"/>
              <a:gd name="connsiteX32" fmla="*/ 3250 w 9657"/>
              <a:gd name="connsiteY32" fmla="*/ 2574 h 9801"/>
              <a:gd name="connsiteX33" fmla="*/ 3187 w 9657"/>
              <a:gd name="connsiteY33" fmla="*/ 2637 h 9801"/>
              <a:gd name="connsiteX34" fmla="*/ 3127 w 9657"/>
              <a:gd name="connsiteY34" fmla="*/ 2698 h 9801"/>
              <a:gd name="connsiteX35" fmla="*/ 3060 w 9657"/>
              <a:gd name="connsiteY35" fmla="*/ 2761 h 9801"/>
              <a:gd name="connsiteX36" fmla="*/ 2997 w 9657"/>
              <a:gd name="connsiteY36" fmla="*/ 2817 h 9801"/>
              <a:gd name="connsiteX37" fmla="*/ 2931 w 9657"/>
              <a:gd name="connsiteY37" fmla="*/ 2876 h 9801"/>
              <a:gd name="connsiteX38" fmla="*/ 2863 w 9657"/>
              <a:gd name="connsiteY38" fmla="*/ 2930 h 9801"/>
              <a:gd name="connsiteX39" fmla="*/ 2794 w 9657"/>
              <a:gd name="connsiteY39" fmla="*/ 2982 h 9801"/>
              <a:gd name="connsiteX40" fmla="*/ 2725 w 9657"/>
              <a:gd name="connsiteY40" fmla="*/ 3035 h 9801"/>
              <a:gd name="connsiteX41" fmla="*/ 2656 w 9657"/>
              <a:gd name="connsiteY41" fmla="*/ 3086 h 9801"/>
              <a:gd name="connsiteX42" fmla="*/ 2585 w 9657"/>
              <a:gd name="connsiteY42" fmla="*/ 3132 h 9801"/>
              <a:gd name="connsiteX43" fmla="*/ 2511 w 9657"/>
              <a:gd name="connsiteY43" fmla="*/ 3178 h 9801"/>
              <a:gd name="connsiteX44" fmla="*/ 2645 w 9657"/>
              <a:gd name="connsiteY44" fmla="*/ 6446 h 9801"/>
              <a:gd name="connsiteX45" fmla="*/ 0 w 9657"/>
              <a:gd name="connsiteY45" fmla="*/ 9767 h 9801"/>
              <a:gd name="connsiteX46" fmla="*/ 174 w 9657"/>
              <a:gd name="connsiteY46" fmla="*/ 9781 h 9801"/>
              <a:gd name="connsiteX47" fmla="*/ 353 w 9657"/>
              <a:gd name="connsiteY47" fmla="*/ 9791 h 9801"/>
              <a:gd name="connsiteX48" fmla="*/ 530 w 9657"/>
              <a:gd name="connsiteY48" fmla="*/ 9796 h 9801"/>
              <a:gd name="connsiteX49" fmla="*/ 706 w 9657"/>
              <a:gd name="connsiteY49" fmla="*/ 9801 h 9801"/>
              <a:gd name="connsiteX50" fmla="*/ 920 w 9657"/>
              <a:gd name="connsiteY50" fmla="*/ 9796 h 9801"/>
              <a:gd name="connsiteX51" fmla="*/ 1127 w 9657"/>
              <a:gd name="connsiteY51" fmla="*/ 9789 h 9801"/>
              <a:gd name="connsiteX52" fmla="*/ 1335 w 9657"/>
              <a:gd name="connsiteY52" fmla="*/ 9777 h 9801"/>
              <a:gd name="connsiteX53" fmla="*/ 1538 w 9657"/>
              <a:gd name="connsiteY53" fmla="*/ 9756 h 9801"/>
              <a:gd name="connsiteX54" fmla="*/ 1744 w 9657"/>
              <a:gd name="connsiteY54" fmla="*/ 9734 h 9801"/>
              <a:gd name="connsiteX55" fmla="*/ 1948 w 9657"/>
              <a:gd name="connsiteY55" fmla="*/ 9701 h 9801"/>
              <a:gd name="connsiteX56" fmla="*/ 2150 w 9657"/>
              <a:gd name="connsiteY56" fmla="*/ 9670 h 9801"/>
              <a:gd name="connsiteX57" fmla="*/ 2352 w 9657"/>
              <a:gd name="connsiteY57" fmla="*/ 9629 h 9801"/>
              <a:gd name="connsiteX58" fmla="*/ 2548 w 9657"/>
              <a:gd name="connsiteY58" fmla="*/ 9584 h 9801"/>
              <a:gd name="connsiteX59" fmla="*/ 2751 w 9657"/>
              <a:gd name="connsiteY59" fmla="*/ 9537 h 9801"/>
              <a:gd name="connsiteX60" fmla="*/ 2942 w 9657"/>
              <a:gd name="connsiteY60" fmla="*/ 9481 h 9801"/>
              <a:gd name="connsiteX61" fmla="*/ 3138 w 9657"/>
              <a:gd name="connsiteY61" fmla="*/ 9425 h 9801"/>
              <a:gd name="connsiteX62" fmla="*/ 3331 w 9657"/>
              <a:gd name="connsiteY62" fmla="*/ 9363 h 9801"/>
              <a:gd name="connsiteX63" fmla="*/ 3521 w 9657"/>
              <a:gd name="connsiteY63" fmla="*/ 9293 h 9801"/>
              <a:gd name="connsiteX64" fmla="*/ 3707 w 9657"/>
              <a:gd name="connsiteY64" fmla="*/ 9218 h 9801"/>
              <a:gd name="connsiteX65" fmla="*/ 3893 w 9657"/>
              <a:gd name="connsiteY65" fmla="*/ 9144 h 9801"/>
              <a:gd name="connsiteX66" fmla="*/ 4081 w 9657"/>
              <a:gd name="connsiteY66" fmla="*/ 9060 h 9801"/>
              <a:gd name="connsiteX67" fmla="*/ 4266 w 9657"/>
              <a:gd name="connsiteY67" fmla="*/ 8977 h 9801"/>
              <a:gd name="connsiteX68" fmla="*/ 4444 w 9657"/>
              <a:gd name="connsiteY68" fmla="*/ 8883 h 9801"/>
              <a:gd name="connsiteX69" fmla="*/ 4623 w 9657"/>
              <a:gd name="connsiteY69" fmla="*/ 8790 h 9801"/>
              <a:gd name="connsiteX70" fmla="*/ 4802 w 9657"/>
              <a:gd name="connsiteY70" fmla="*/ 8689 h 9801"/>
              <a:gd name="connsiteX71" fmla="*/ 4975 w 9657"/>
              <a:gd name="connsiteY71" fmla="*/ 8586 h 9801"/>
              <a:gd name="connsiteX72" fmla="*/ 5148 w 9657"/>
              <a:gd name="connsiteY72" fmla="*/ 8480 h 9801"/>
              <a:gd name="connsiteX73" fmla="*/ 5321 w 9657"/>
              <a:gd name="connsiteY73" fmla="*/ 8366 h 9801"/>
              <a:gd name="connsiteX74" fmla="*/ 5488 w 9657"/>
              <a:gd name="connsiteY74" fmla="*/ 8250 h 9801"/>
              <a:gd name="connsiteX75" fmla="*/ 5652 w 9657"/>
              <a:gd name="connsiteY75" fmla="*/ 8130 h 9801"/>
              <a:gd name="connsiteX76" fmla="*/ 5817 w 9657"/>
              <a:gd name="connsiteY76" fmla="*/ 8006 h 9801"/>
              <a:gd name="connsiteX77" fmla="*/ 5974 w 9657"/>
              <a:gd name="connsiteY77" fmla="*/ 7880 h 9801"/>
              <a:gd name="connsiteX78" fmla="*/ 6131 w 9657"/>
              <a:gd name="connsiteY78" fmla="*/ 7747 h 9801"/>
              <a:gd name="connsiteX79" fmla="*/ 6287 w 9657"/>
              <a:gd name="connsiteY79" fmla="*/ 7613 h 9801"/>
              <a:gd name="connsiteX80" fmla="*/ 6439 w 9657"/>
              <a:gd name="connsiteY80" fmla="*/ 7473 h 9801"/>
              <a:gd name="connsiteX81" fmla="*/ 6590 w 9657"/>
              <a:gd name="connsiteY81" fmla="*/ 7331 h 9801"/>
              <a:gd name="connsiteX82" fmla="*/ 6736 w 9657"/>
              <a:gd name="connsiteY82" fmla="*/ 7183 h 9801"/>
              <a:gd name="connsiteX83" fmla="*/ 6881 w 9657"/>
              <a:gd name="connsiteY83" fmla="*/ 7035 h 9801"/>
              <a:gd name="connsiteX84" fmla="*/ 7021 w 9657"/>
              <a:gd name="connsiteY84" fmla="*/ 6885 h 9801"/>
              <a:gd name="connsiteX85" fmla="*/ 7162 w 9657"/>
              <a:gd name="connsiteY85" fmla="*/ 6725 h 9801"/>
              <a:gd name="connsiteX86" fmla="*/ 7297 w 9657"/>
              <a:gd name="connsiteY86" fmla="*/ 6564 h 9801"/>
              <a:gd name="connsiteX87" fmla="*/ 7429 w 9657"/>
              <a:gd name="connsiteY87" fmla="*/ 6404 h 9801"/>
              <a:gd name="connsiteX88" fmla="*/ 7559 w 9657"/>
              <a:gd name="connsiteY88" fmla="*/ 6238 h 9801"/>
              <a:gd name="connsiteX89" fmla="*/ 7685 w 9657"/>
              <a:gd name="connsiteY89" fmla="*/ 6066 h 9801"/>
              <a:gd name="connsiteX90" fmla="*/ 7809 w 9657"/>
              <a:gd name="connsiteY90" fmla="*/ 5896 h 9801"/>
              <a:gd name="connsiteX91" fmla="*/ 7930 w 9657"/>
              <a:gd name="connsiteY91" fmla="*/ 5719 h 9801"/>
              <a:gd name="connsiteX92" fmla="*/ 8048 w 9657"/>
              <a:gd name="connsiteY92" fmla="*/ 5540 h 9801"/>
              <a:gd name="connsiteX93" fmla="*/ 8159 w 9657"/>
              <a:gd name="connsiteY93" fmla="*/ 5359 h 9801"/>
              <a:gd name="connsiteX94" fmla="*/ 8268 w 9657"/>
              <a:gd name="connsiteY94" fmla="*/ 5173 h 9801"/>
              <a:gd name="connsiteX95" fmla="*/ 8377 w 9657"/>
              <a:gd name="connsiteY95" fmla="*/ 4988 h 9801"/>
              <a:gd name="connsiteX96" fmla="*/ 8481 w 9657"/>
              <a:gd name="connsiteY96" fmla="*/ 4796 h 9801"/>
              <a:gd name="connsiteX97" fmla="*/ 8580 w 9657"/>
              <a:gd name="connsiteY97" fmla="*/ 4605 h 9801"/>
              <a:gd name="connsiteX98" fmla="*/ 8678 w 9657"/>
              <a:gd name="connsiteY98" fmla="*/ 4410 h 9801"/>
              <a:gd name="connsiteX99" fmla="*/ 8768 w 9657"/>
              <a:gd name="connsiteY99" fmla="*/ 4209 h 9801"/>
              <a:gd name="connsiteX100" fmla="*/ 8856 w 9657"/>
              <a:gd name="connsiteY100" fmla="*/ 4010 h 9801"/>
              <a:gd name="connsiteX101" fmla="*/ 8943 w 9657"/>
              <a:gd name="connsiteY101" fmla="*/ 3808 h 9801"/>
              <a:gd name="connsiteX102" fmla="*/ 9026 w 9657"/>
              <a:gd name="connsiteY102" fmla="*/ 3601 h 9801"/>
              <a:gd name="connsiteX103" fmla="*/ 9102 w 9657"/>
              <a:gd name="connsiteY103" fmla="*/ 3395 h 9801"/>
              <a:gd name="connsiteX104" fmla="*/ 9178 w 9657"/>
              <a:gd name="connsiteY104" fmla="*/ 3183 h 9801"/>
              <a:gd name="connsiteX105" fmla="*/ 9247 w 9657"/>
              <a:gd name="connsiteY105" fmla="*/ 2970 h 9801"/>
              <a:gd name="connsiteX106" fmla="*/ 9312 w 9657"/>
              <a:gd name="connsiteY106" fmla="*/ 2759 h 9801"/>
              <a:gd name="connsiteX107" fmla="*/ 9375 w 9657"/>
              <a:gd name="connsiteY107" fmla="*/ 2540 h 9801"/>
              <a:gd name="connsiteX108" fmla="*/ 9432 w 9657"/>
              <a:gd name="connsiteY108" fmla="*/ 2322 h 9801"/>
              <a:gd name="connsiteX109" fmla="*/ 9486 w 9657"/>
              <a:gd name="connsiteY109" fmla="*/ 2100 h 9801"/>
              <a:gd name="connsiteX110" fmla="*/ 9536 w 9657"/>
              <a:gd name="connsiteY110" fmla="*/ 1880 h 9801"/>
              <a:gd name="connsiteX111" fmla="*/ 9581 w 9657"/>
              <a:gd name="connsiteY111" fmla="*/ 1656 h 9801"/>
              <a:gd name="connsiteX112" fmla="*/ 9621 w 9657"/>
              <a:gd name="connsiteY112" fmla="*/ 1428 h 9801"/>
              <a:gd name="connsiteX113" fmla="*/ 9657 w 9657"/>
              <a:gd name="connsiteY113" fmla="*/ 1198 h 9801"/>
              <a:gd name="connsiteX114" fmla="*/ 6806 w 9657"/>
              <a:gd name="connsiteY114" fmla="*/ 1839 h 9801"/>
              <a:gd name="connsiteX115" fmla="*/ 4427 w 9657"/>
              <a:gd name="connsiteY115" fmla="*/ 0 h 9801"/>
              <a:gd name="connsiteX0" fmla="*/ 4552 w 9968"/>
              <a:gd name="connsiteY0" fmla="*/ 0 h 10234"/>
              <a:gd name="connsiteX1" fmla="*/ 4552 w 9968"/>
              <a:gd name="connsiteY1" fmla="*/ 0 h 10234"/>
              <a:gd name="connsiteX2" fmla="*/ 4541 w 9968"/>
              <a:gd name="connsiteY2" fmla="*/ 99 h 10234"/>
              <a:gd name="connsiteX3" fmla="*/ 4522 w 9968"/>
              <a:gd name="connsiteY3" fmla="*/ 201 h 10234"/>
              <a:gd name="connsiteX4" fmla="*/ 4508 w 9968"/>
              <a:gd name="connsiteY4" fmla="*/ 300 h 10234"/>
              <a:gd name="connsiteX5" fmla="*/ 4488 w 9968"/>
              <a:gd name="connsiteY5" fmla="*/ 394 h 10234"/>
              <a:gd name="connsiteX6" fmla="*/ 4466 w 9968"/>
              <a:gd name="connsiteY6" fmla="*/ 491 h 10234"/>
              <a:gd name="connsiteX7" fmla="*/ 4442 w 9968"/>
              <a:gd name="connsiteY7" fmla="*/ 587 h 10234"/>
              <a:gd name="connsiteX8" fmla="*/ 4420 w 9968"/>
              <a:gd name="connsiteY8" fmla="*/ 684 h 10234"/>
              <a:gd name="connsiteX9" fmla="*/ 4394 w 9968"/>
              <a:gd name="connsiteY9" fmla="*/ 778 h 10234"/>
              <a:gd name="connsiteX10" fmla="*/ 4365 w 9968"/>
              <a:gd name="connsiteY10" fmla="*/ 870 h 10234"/>
              <a:gd name="connsiteX11" fmla="*/ 4333 w 9968"/>
              <a:gd name="connsiteY11" fmla="*/ 961 h 10234"/>
              <a:gd name="connsiteX12" fmla="*/ 4305 w 9968"/>
              <a:gd name="connsiteY12" fmla="*/ 1053 h 10234"/>
              <a:gd name="connsiteX13" fmla="*/ 4271 w 9968"/>
              <a:gd name="connsiteY13" fmla="*/ 1145 h 10234"/>
              <a:gd name="connsiteX14" fmla="*/ 4232 w 9968"/>
              <a:gd name="connsiteY14" fmla="*/ 1232 h 10234"/>
              <a:gd name="connsiteX15" fmla="*/ 4197 w 9968"/>
              <a:gd name="connsiteY15" fmla="*/ 1318 h 10234"/>
              <a:gd name="connsiteX16" fmla="*/ 4160 w 9968"/>
              <a:gd name="connsiteY16" fmla="*/ 1405 h 10234"/>
              <a:gd name="connsiteX17" fmla="*/ 4117 w 9968"/>
              <a:gd name="connsiteY17" fmla="*/ 1494 h 10234"/>
              <a:gd name="connsiteX18" fmla="*/ 4078 w 9968"/>
              <a:gd name="connsiteY18" fmla="*/ 1578 h 10234"/>
              <a:gd name="connsiteX19" fmla="*/ 4034 w 9968"/>
              <a:gd name="connsiteY19" fmla="*/ 1663 h 10234"/>
              <a:gd name="connsiteX20" fmla="*/ 3988 w 9968"/>
              <a:gd name="connsiteY20" fmla="*/ 1742 h 10234"/>
              <a:gd name="connsiteX21" fmla="*/ 3939 w 9968"/>
              <a:gd name="connsiteY21" fmla="*/ 1824 h 10234"/>
              <a:gd name="connsiteX22" fmla="*/ 3895 w 9968"/>
              <a:gd name="connsiteY22" fmla="*/ 1903 h 10234"/>
              <a:gd name="connsiteX23" fmla="*/ 3845 w 9968"/>
              <a:gd name="connsiteY23" fmla="*/ 1986 h 10234"/>
              <a:gd name="connsiteX24" fmla="*/ 3793 w 9968"/>
              <a:gd name="connsiteY24" fmla="*/ 2059 h 10234"/>
              <a:gd name="connsiteX25" fmla="*/ 3739 w 9968"/>
              <a:gd name="connsiteY25" fmla="*/ 2133 h 10234"/>
              <a:gd name="connsiteX26" fmla="*/ 3684 w 9968"/>
              <a:gd name="connsiteY26" fmla="*/ 2210 h 10234"/>
              <a:gd name="connsiteX27" fmla="*/ 3631 w 9968"/>
              <a:gd name="connsiteY27" fmla="*/ 2282 h 10234"/>
              <a:gd name="connsiteX28" fmla="*/ 3573 w 9968"/>
              <a:gd name="connsiteY28" fmla="*/ 2354 h 10234"/>
              <a:gd name="connsiteX29" fmla="*/ 3515 w 9968"/>
              <a:gd name="connsiteY29" fmla="*/ 2426 h 10234"/>
              <a:gd name="connsiteX30" fmla="*/ 3457 w 9968"/>
              <a:gd name="connsiteY30" fmla="*/ 2495 h 10234"/>
              <a:gd name="connsiteX31" fmla="*/ 3393 w 9968"/>
              <a:gd name="connsiteY31" fmla="*/ 2562 h 10234"/>
              <a:gd name="connsiteX32" fmla="*/ 3333 w 9968"/>
              <a:gd name="connsiteY32" fmla="*/ 2626 h 10234"/>
              <a:gd name="connsiteX33" fmla="*/ 3268 w 9968"/>
              <a:gd name="connsiteY33" fmla="*/ 2691 h 10234"/>
              <a:gd name="connsiteX34" fmla="*/ 3206 w 9968"/>
              <a:gd name="connsiteY34" fmla="*/ 2753 h 10234"/>
              <a:gd name="connsiteX35" fmla="*/ 3137 w 9968"/>
              <a:gd name="connsiteY35" fmla="*/ 2817 h 10234"/>
              <a:gd name="connsiteX36" fmla="*/ 3071 w 9968"/>
              <a:gd name="connsiteY36" fmla="*/ 2874 h 10234"/>
              <a:gd name="connsiteX37" fmla="*/ 3003 w 9968"/>
              <a:gd name="connsiteY37" fmla="*/ 2934 h 10234"/>
              <a:gd name="connsiteX38" fmla="*/ 2933 w 9968"/>
              <a:gd name="connsiteY38" fmla="*/ 2989 h 10234"/>
              <a:gd name="connsiteX39" fmla="*/ 2861 w 9968"/>
              <a:gd name="connsiteY39" fmla="*/ 3043 h 10234"/>
              <a:gd name="connsiteX40" fmla="*/ 2790 w 9968"/>
              <a:gd name="connsiteY40" fmla="*/ 3097 h 10234"/>
              <a:gd name="connsiteX41" fmla="*/ 2718 w 9968"/>
              <a:gd name="connsiteY41" fmla="*/ 3149 h 10234"/>
              <a:gd name="connsiteX42" fmla="*/ 2645 w 9968"/>
              <a:gd name="connsiteY42" fmla="*/ 3196 h 10234"/>
              <a:gd name="connsiteX43" fmla="*/ 2568 w 9968"/>
              <a:gd name="connsiteY43" fmla="*/ 3243 h 10234"/>
              <a:gd name="connsiteX44" fmla="*/ 2707 w 9968"/>
              <a:gd name="connsiteY44" fmla="*/ 6577 h 10234"/>
              <a:gd name="connsiteX45" fmla="*/ 148 w 9968"/>
              <a:gd name="connsiteY45" fmla="*/ 9980 h 10234"/>
              <a:gd name="connsiteX46" fmla="*/ 334 w 9968"/>
              <a:gd name="connsiteY46" fmla="*/ 9990 h 10234"/>
              <a:gd name="connsiteX47" fmla="*/ 517 w 9968"/>
              <a:gd name="connsiteY47" fmla="*/ 9995 h 10234"/>
              <a:gd name="connsiteX48" fmla="*/ 699 w 9968"/>
              <a:gd name="connsiteY48" fmla="*/ 10000 h 10234"/>
              <a:gd name="connsiteX49" fmla="*/ 921 w 9968"/>
              <a:gd name="connsiteY49" fmla="*/ 9995 h 10234"/>
              <a:gd name="connsiteX50" fmla="*/ 1135 w 9968"/>
              <a:gd name="connsiteY50" fmla="*/ 9988 h 10234"/>
              <a:gd name="connsiteX51" fmla="*/ 1350 w 9968"/>
              <a:gd name="connsiteY51" fmla="*/ 9976 h 10234"/>
              <a:gd name="connsiteX52" fmla="*/ 1561 w 9968"/>
              <a:gd name="connsiteY52" fmla="*/ 9954 h 10234"/>
              <a:gd name="connsiteX53" fmla="*/ 1774 w 9968"/>
              <a:gd name="connsiteY53" fmla="*/ 9932 h 10234"/>
              <a:gd name="connsiteX54" fmla="*/ 1985 w 9968"/>
              <a:gd name="connsiteY54" fmla="*/ 9898 h 10234"/>
              <a:gd name="connsiteX55" fmla="*/ 2194 w 9968"/>
              <a:gd name="connsiteY55" fmla="*/ 9866 h 10234"/>
              <a:gd name="connsiteX56" fmla="*/ 2404 w 9968"/>
              <a:gd name="connsiteY56" fmla="*/ 9825 h 10234"/>
              <a:gd name="connsiteX57" fmla="*/ 2607 w 9968"/>
              <a:gd name="connsiteY57" fmla="*/ 9779 h 10234"/>
              <a:gd name="connsiteX58" fmla="*/ 2817 w 9968"/>
              <a:gd name="connsiteY58" fmla="*/ 9731 h 10234"/>
              <a:gd name="connsiteX59" fmla="*/ 3014 w 9968"/>
              <a:gd name="connsiteY59" fmla="*/ 9674 h 10234"/>
              <a:gd name="connsiteX60" fmla="*/ 3217 w 9968"/>
              <a:gd name="connsiteY60" fmla="*/ 9616 h 10234"/>
              <a:gd name="connsiteX61" fmla="*/ 3417 w 9968"/>
              <a:gd name="connsiteY61" fmla="*/ 9553 h 10234"/>
              <a:gd name="connsiteX62" fmla="*/ 3614 w 9968"/>
              <a:gd name="connsiteY62" fmla="*/ 9482 h 10234"/>
              <a:gd name="connsiteX63" fmla="*/ 3807 w 9968"/>
              <a:gd name="connsiteY63" fmla="*/ 9405 h 10234"/>
              <a:gd name="connsiteX64" fmla="*/ 3999 w 9968"/>
              <a:gd name="connsiteY64" fmla="*/ 9330 h 10234"/>
              <a:gd name="connsiteX65" fmla="*/ 4194 w 9968"/>
              <a:gd name="connsiteY65" fmla="*/ 9244 h 10234"/>
              <a:gd name="connsiteX66" fmla="*/ 4386 w 9968"/>
              <a:gd name="connsiteY66" fmla="*/ 9159 h 10234"/>
              <a:gd name="connsiteX67" fmla="*/ 4570 w 9968"/>
              <a:gd name="connsiteY67" fmla="*/ 9063 h 10234"/>
              <a:gd name="connsiteX68" fmla="*/ 4755 w 9968"/>
              <a:gd name="connsiteY68" fmla="*/ 8968 h 10234"/>
              <a:gd name="connsiteX69" fmla="*/ 4941 w 9968"/>
              <a:gd name="connsiteY69" fmla="*/ 8865 h 10234"/>
              <a:gd name="connsiteX70" fmla="*/ 5120 w 9968"/>
              <a:gd name="connsiteY70" fmla="*/ 8760 h 10234"/>
              <a:gd name="connsiteX71" fmla="*/ 5299 w 9968"/>
              <a:gd name="connsiteY71" fmla="*/ 8652 h 10234"/>
              <a:gd name="connsiteX72" fmla="*/ 5478 w 9968"/>
              <a:gd name="connsiteY72" fmla="*/ 8536 h 10234"/>
              <a:gd name="connsiteX73" fmla="*/ 5651 w 9968"/>
              <a:gd name="connsiteY73" fmla="*/ 8418 h 10234"/>
              <a:gd name="connsiteX74" fmla="*/ 5821 w 9968"/>
              <a:gd name="connsiteY74" fmla="*/ 8295 h 10234"/>
              <a:gd name="connsiteX75" fmla="*/ 5992 w 9968"/>
              <a:gd name="connsiteY75" fmla="*/ 8169 h 10234"/>
              <a:gd name="connsiteX76" fmla="*/ 6154 w 9968"/>
              <a:gd name="connsiteY76" fmla="*/ 8040 h 10234"/>
              <a:gd name="connsiteX77" fmla="*/ 6317 w 9968"/>
              <a:gd name="connsiteY77" fmla="*/ 7904 h 10234"/>
              <a:gd name="connsiteX78" fmla="*/ 6478 w 9968"/>
              <a:gd name="connsiteY78" fmla="*/ 7768 h 10234"/>
              <a:gd name="connsiteX79" fmla="*/ 6636 w 9968"/>
              <a:gd name="connsiteY79" fmla="*/ 7625 h 10234"/>
              <a:gd name="connsiteX80" fmla="*/ 6792 w 9968"/>
              <a:gd name="connsiteY80" fmla="*/ 7480 h 10234"/>
              <a:gd name="connsiteX81" fmla="*/ 6943 w 9968"/>
              <a:gd name="connsiteY81" fmla="*/ 7329 h 10234"/>
              <a:gd name="connsiteX82" fmla="*/ 7093 w 9968"/>
              <a:gd name="connsiteY82" fmla="*/ 7178 h 10234"/>
              <a:gd name="connsiteX83" fmla="*/ 7238 w 9968"/>
              <a:gd name="connsiteY83" fmla="*/ 7025 h 10234"/>
              <a:gd name="connsiteX84" fmla="*/ 7384 w 9968"/>
              <a:gd name="connsiteY84" fmla="*/ 6862 h 10234"/>
              <a:gd name="connsiteX85" fmla="*/ 7524 w 9968"/>
              <a:gd name="connsiteY85" fmla="*/ 6697 h 10234"/>
              <a:gd name="connsiteX86" fmla="*/ 7661 w 9968"/>
              <a:gd name="connsiteY86" fmla="*/ 6534 h 10234"/>
              <a:gd name="connsiteX87" fmla="*/ 7795 w 9968"/>
              <a:gd name="connsiteY87" fmla="*/ 6365 h 10234"/>
              <a:gd name="connsiteX88" fmla="*/ 7926 w 9968"/>
              <a:gd name="connsiteY88" fmla="*/ 6189 h 10234"/>
              <a:gd name="connsiteX89" fmla="*/ 8054 w 9968"/>
              <a:gd name="connsiteY89" fmla="*/ 6016 h 10234"/>
              <a:gd name="connsiteX90" fmla="*/ 8180 w 9968"/>
              <a:gd name="connsiteY90" fmla="*/ 5835 h 10234"/>
              <a:gd name="connsiteX91" fmla="*/ 8302 w 9968"/>
              <a:gd name="connsiteY91" fmla="*/ 5652 h 10234"/>
              <a:gd name="connsiteX92" fmla="*/ 8417 w 9968"/>
              <a:gd name="connsiteY92" fmla="*/ 5468 h 10234"/>
              <a:gd name="connsiteX93" fmla="*/ 8530 w 9968"/>
              <a:gd name="connsiteY93" fmla="*/ 5278 h 10234"/>
              <a:gd name="connsiteX94" fmla="*/ 8643 w 9968"/>
              <a:gd name="connsiteY94" fmla="*/ 5089 h 10234"/>
              <a:gd name="connsiteX95" fmla="*/ 8750 w 9968"/>
              <a:gd name="connsiteY95" fmla="*/ 4893 h 10234"/>
              <a:gd name="connsiteX96" fmla="*/ 8853 w 9968"/>
              <a:gd name="connsiteY96" fmla="*/ 4699 h 10234"/>
              <a:gd name="connsiteX97" fmla="*/ 8954 w 9968"/>
              <a:gd name="connsiteY97" fmla="*/ 4500 h 10234"/>
              <a:gd name="connsiteX98" fmla="*/ 9047 w 9968"/>
              <a:gd name="connsiteY98" fmla="*/ 4294 h 10234"/>
              <a:gd name="connsiteX99" fmla="*/ 9139 w 9968"/>
              <a:gd name="connsiteY99" fmla="*/ 4091 h 10234"/>
              <a:gd name="connsiteX100" fmla="*/ 9229 w 9968"/>
              <a:gd name="connsiteY100" fmla="*/ 3885 h 10234"/>
              <a:gd name="connsiteX101" fmla="*/ 9315 w 9968"/>
              <a:gd name="connsiteY101" fmla="*/ 3674 h 10234"/>
              <a:gd name="connsiteX102" fmla="*/ 9393 w 9968"/>
              <a:gd name="connsiteY102" fmla="*/ 3464 h 10234"/>
              <a:gd name="connsiteX103" fmla="*/ 9472 w 9968"/>
              <a:gd name="connsiteY103" fmla="*/ 3248 h 10234"/>
              <a:gd name="connsiteX104" fmla="*/ 9543 w 9968"/>
              <a:gd name="connsiteY104" fmla="*/ 3030 h 10234"/>
              <a:gd name="connsiteX105" fmla="*/ 9611 w 9968"/>
              <a:gd name="connsiteY105" fmla="*/ 2815 h 10234"/>
              <a:gd name="connsiteX106" fmla="*/ 9676 w 9968"/>
              <a:gd name="connsiteY106" fmla="*/ 2592 h 10234"/>
              <a:gd name="connsiteX107" fmla="*/ 9735 w 9968"/>
              <a:gd name="connsiteY107" fmla="*/ 2369 h 10234"/>
              <a:gd name="connsiteX108" fmla="*/ 9791 w 9968"/>
              <a:gd name="connsiteY108" fmla="*/ 2143 h 10234"/>
              <a:gd name="connsiteX109" fmla="*/ 9843 w 9968"/>
              <a:gd name="connsiteY109" fmla="*/ 1918 h 10234"/>
              <a:gd name="connsiteX110" fmla="*/ 9889 w 9968"/>
              <a:gd name="connsiteY110" fmla="*/ 1690 h 10234"/>
              <a:gd name="connsiteX111" fmla="*/ 9931 w 9968"/>
              <a:gd name="connsiteY111" fmla="*/ 1457 h 10234"/>
              <a:gd name="connsiteX112" fmla="*/ 9968 w 9968"/>
              <a:gd name="connsiteY112" fmla="*/ 1222 h 10234"/>
              <a:gd name="connsiteX113" fmla="*/ 7016 w 9968"/>
              <a:gd name="connsiteY113" fmla="*/ 1876 h 10234"/>
              <a:gd name="connsiteX114" fmla="*/ 4552 w 9968"/>
              <a:gd name="connsiteY114" fmla="*/ 0 h 10234"/>
              <a:gd name="connsiteX0" fmla="*/ 4367 w 9800"/>
              <a:gd name="connsiteY0" fmla="*/ 0 h 10009"/>
              <a:gd name="connsiteX1" fmla="*/ 4367 w 9800"/>
              <a:gd name="connsiteY1" fmla="*/ 0 h 10009"/>
              <a:gd name="connsiteX2" fmla="*/ 4356 w 9800"/>
              <a:gd name="connsiteY2" fmla="*/ 97 h 10009"/>
              <a:gd name="connsiteX3" fmla="*/ 4337 w 9800"/>
              <a:gd name="connsiteY3" fmla="*/ 196 h 10009"/>
              <a:gd name="connsiteX4" fmla="*/ 4322 w 9800"/>
              <a:gd name="connsiteY4" fmla="*/ 293 h 10009"/>
              <a:gd name="connsiteX5" fmla="*/ 4302 w 9800"/>
              <a:gd name="connsiteY5" fmla="*/ 385 h 10009"/>
              <a:gd name="connsiteX6" fmla="*/ 4280 w 9800"/>
              <a:gd name="connsiteY6" fmla="*/ 480 h 10009"/>
              <a:gd name="connsiteX7" fmla="*/ 4256 w 9800"/>
              <a:gd name="connsiteY7" fmla="*/ 574 h 10009"/>
              <a:gd name="connsiteX8" fmla="*/ 4234 w 9800"/>
              <a:gd name="connsiteY8" fmla="*/ 668 h 10009"/>
              <a:gd name="connsiteX9" fmla="*/ 4208 w 9800"/>
              <a:gd name="connsiteY9" fmla="*/ 760 h 10009"/>
              <a:gd name="connsiteX10" fmla="*/ 4179 w 9800"/>
              <a:gd name="connsiteY10" fmla="*/ 850 h 10009"/>
              <a:gd name="connsiteX11" fmla="*/ 4147 w 9800"/>
              <a:gd name="connsiteY11" fmla="*/ 939 h 10009"/>
              <a:gd name="connsiteX12" fmla="*/ 4119 w 9800"/>
              <a:gd name="connsiteY12" fmla="*/ 1029 h 10009"/>
              <a:gd name="connsiteX13" fmla="*/ 4085 w 9800"/>
              <a:gd name="connsiteY13" fmla="*/ 1119 h 10009"/>
              <a:gd name="connsiteX14" fmla="*/ 4046 w 9800"/>
              <a:gd name="connsiteY14" fmla="*/ 1204 h 10009"/>
              <a:gd name="connsiteX15" fmla="*/ 4010 w 9800"/>
              <a:gd name="connsiteY15" fmla="*/ 1288 h 10009"/>
              <a:gd name="connsiteX16" fmla="*/ 3973 w 9800"/>
              <a:gd name="connsiteY16" fmla="*/ 1373 h 10009"/>
              <a:gd name="connsiteX17" fmla="*/ 3930 w 9800"/>
              <a:gd name="connsiteY17" fmla="*/ 1460 h 10009"/>
              <a:gd name="connsiteX18" fmla="*/ 3891 w 9800"/>
              <a:gd name="connsiteY18" fmla="*/ 1542 h 10009"/>
              <a:gd name="connsiteX19" fmla="*/ 3847 w 9800"/>
              <a:gd name="connsiteY19" fmla="*/ 1625 h 10009"/>
              <a:gd name="connsiteX20" fmla="*/ 3801 w 9800"/>
              <a:gd name="connsiteY20" fmla="*/ 1702 h 10009"/>
              <a:gd name="connsiteX21" fmla="*/ 3752 w 9800"/>
              <a:gd name="connsiteY21" fmla="*/ 1782 h 10009"/>
              <a:gd name="connsiteX22" fmla="*/ 3708 w 9800"/>
              <a:gd name="connsiteY22" fmla="*/ 1859 h 10009"/>
              <a:gd name="connsiteX23" fmla="*/ 3657 w 9800"/>
              <a:gd name="connsiteY23" fmla="*/ 1941 h 10009"/>
              <a:gd name="connsiteX24" fmla="*/ 3605 w 9800"/>
              <a:gd name="connsiteY24" fmla="*/ 2012 h 10009"/>
              <a:gd name="connsiteX25" fmla="*/ 3551 w 9800"/>
              <a:gd name="connsiteY25" fmla="*/ 2084 h 10009"/>
              <a:gd name="connsiteX26" fmla="*/ 3496 w 9800"/>
              <a:gd name="connsiteY26" fmla="*/ 2159 h 10009"/>
              <a:gd name="connsiteX27" fmla="*/ 3443 w 9800"/>
              <a:gd name="connsiteY27" fmla="*/ 2230 h 10009"/>
              <a:gd name="connsiteX28" fmla="*/ 3384 w 9800"/>
              <a:gd name="connsiteY28" fmla="*/ 2300 h 10009"/>
              <a:gd name="connsiteX29" fmla="*/ 3326 w 9800"/>
              <a:gd name="connsiteY29" fmla="*/ 2371 h 10009"/>
              <a:gd name="connsiteX30" fmla="*/ 3268 w 9800"/>
              <a:gd name="connsiteY30" fmla="*/ 2438 h 10009"/>
              <a:gd name="connsiteX31" fmla="*/ 3204 w 9800"/>
              <a:gd name="connsiteY31" fmla="*/ 2503 h 10009"/>
              <a:gd name="connsiteX32" fmla="*/ 3144 w 9800"/>
              <a:gd name="connsiteY32" fmla="*/ 2566 h 10009"/>
              <a:gd name="connsiteX33" fmla="*/ 3078 w 9800"/>
              <a:gd name="connsiteY33" fmla="*/ 2629 h 10009"/>
              <a:gd name="connsiteX34" fmla="*/ 3016 w 9800"/>
              <a:gd name="connsiteY34" fmla="*/ 2690 h 10009"/>
              <a:gd name="connsiteX35" fmla="*/ 2947 w 9800"/>
              <a:gd name="connsiteY35" fmla="*/ 2753 h 10009"/>
              <a:gd name="connsiteX36" fmla="*/ 2881 w 9800"/>
              <a:gd name="connsiteY36" fmla="*/ 2808 h 10009"/>
              <a:gd name="connsiteX37" fmla="*/ 2813 w 9800"/>
              <a:gd name="connsiteY37" fmla="*/ 2867 h 10009"/>
              <a:gd name="connsiteX38" fmla="*/ 2742 w 9800"/>
              <a:gd name="connsiteY38" fmla="*/ 2921 h 10009"/>
              <a:gd name="connsiteX39" fmla="*/ 2670 w 9800"/>
              <a:gd name="connsiteY39" fmla="*/ 2973 h 10009"/>
              <a:gd name="connsiteX40" fmla="*/ 2599 w 9800"/>
              <a:gd name="connsiteY40" fmla="*/ 3026 h 10009"/>
              <a:gd name="connsiteX41" fmla="*/ 2527 w 9800"/>
              <a:gd name="connsiteY41" fmla="*/ 3077 h 10009"/>
              <a:gd name="connsiteX42" fmla="*/ 2453 w 9800"/>
              <a:gd name="connsiteY42" fmla="*/ 3123 h 10009"/>
              <a:gd name="connsiteX43" fmla="*/ 2376 w 9800"/>
              <a:gd name="connsiteY43" fmla="*/ 3169 h 10009"/>
              <a:gd name="connsiteX44" fmla="*/ 2516 w 9800"/>
              <a:gd name="connsiteY44" fmla="*/ 6427 h 10009"/>
              <a:gd name="connsiteX45" fmla="*/ 135 w 9800"/>
              <a:gd name="connsiteY45" fmla="*/ 9762 h 10009"/>
              <a:gd name="connsiteX46" fmla="*/ 319 w 9800"/>
              <a:gd name="connsiteY46" fmla="*/ 9766 h 10009"/>
              <a:gd name="connsiteX47" fmla="*/ 501 w 9800"/>
              <a:gd name="connsiteY47" fmla="*/ 9771 h 10009"/>
              <a:gd name="connsiteX48" fmla="*/ 724 w 9800"/>
              <a:gd name="connsiteY48" fmla="*/ 9766 h 10009"/>
              <a:gd name="connsiteX49" fmla="*/ 939 w 9800"/>
              <a:gd name="connsiteY49" fmla="*/ 9760 h 10009"/>
              <a:gd name="connsiteX50" fmla="*/ 1154 w 9800"/>
              <a:gd name="connsiteY50" fmla="*/ 9748 h 10009"/>
              <a:gd name="connsiteX51" fmla="*/ 1366 w 9800"/>
              <a:gd name="connsiteY51" fmla="*/ 9726 h 10009"/>
              <a:gd name="connsiteX52" fmla="*/ 1580 w 9800"/>
              <a:gd name="connsiteY52" fmla="*/ 9705 h 10009"/>
              <a:gd name="connsiteX53" fmla="*/ 1791 w 9800"/>
              <a:gd name="connsiteY53" fmla="*/ 9672 h 10009"/>
              <a:gd name="connsiteX54" fmla="*/ 2001 w 9800"/>
              <a:gd name="connsiteY54" fmla="*/ 9640 h 10009"/>
              <a:gd name="connsiteX55" fmla="*/ 2212 w 9800"/>
              <a:gd name="connsiteY55" fmla="*/ 9600 h 10009"/>
              <a:gd name="connsiteX56" fmla="*/ 2415 w 9800"/>
              <a:gd name="connsiteY56" fmla="*/ 9555 h 10009"/>
              <a:gd name="connsiteX57" fmla="*/ 2626 w 9800"/>
              <a:gd name="connsiteY57" fmla="*/ 9509 h 10009"/>
              <a:gd name="connsiteX58" fmla="*/ 2824 w 9800"/>
              <a:gd name="connsiteY58" fmla="*/ 9453 h 10009"/>
              <a:gd name="connsiteX59" fmla="*/ 3027 w 9800"/>
              <a:gd name="connsiteY59" fmla="*/ 9396 h 10009"/>
              <a:gd name="connsiteX60" fmla="*/ 3228 w 9800"/>
              <a:gd name="connsiteY60" fmla="*/ 9335 h 10009"/>
              <a:gd name="connsiteX61" fmla="*/ 3426 w 9800"/>
              <a:gd name="connsiteY61" fmla="*/ 9265 h 10009"/>
              <a:gd name="connsiteX62" fmla="*/ 3619 w 9800"/>
              <a:gd name="connsiteY62" fmla="*/ 9190 h 10009"/>
              <a:gd name="connsiteX63" fmla="*/ 3812 w 9800"/>
              <a:gd name="connsiteY63" fmla="*/ 9117 h 10009"/>
              <a:gd name="connsiteX64" fmla="*/ 4007 w 9800"/>
              <a:gd name="connsiteY64" fmla="*/ 9033 h 10009"/>
              <a:gd name="connsiteX65" fmla="*/ 4200 w 9800"/>
              <a:gd name="connsiteY65" fmla="*/ 8950 h 10009"/>
              <a:gd name="connsiteX66" fmla="*/ 4385 w 9800"/>
              <a:gd name="connsiteY66" fmla="*/ 8856 h 10009"/>
              <a:gd name="connsiteX67" fmla="*/ 4570 w 9800"/>
              <a:gd name="connsiteY67" fmla="*/ 8763 h 10009"/>
              <a:gd name="connsiteX68" fmla="*/ 4757 w 9800"/>
              <a:gd name="connsiteY68" fmla="*/ 8662 h 10009"/>
              <a:gd name="connsiteX69" fmla="*/ 4936 w 9800"/>
              <a:gd name="connsiteY69" fmla="*/ 8560 h 10009"/>
              <a:gd name="connsiteX70" fmla="*/ 5116 w 9800"/>
              <a:gd name="connsiteY70" fmla="*/ 8454 h 10009"/>
              <a:gd name="connsiteX71" fmla="*/ 5296 w 9800"/>
              <a:gd name="connsiteY71" fmla="*/ 8341 h 10009"/>
              <a:gd name="connsiteX72" fmla="*/ 5469 w 9800"/>
              <a:gd name="connsiteY72" fmla="*/ 8226 h 10009"/>
              <a:gd name="connsiteX73" fmla="*/ 5640 w 9800"/>
              <a:gd name="connsiteY73" fmla="*/ 8105 h 10009"/>
              <a:gd name="connsiteX74" fmla="*/ 5811 w 9800"/>
              <a:gd name="connsiteY74" fmla="*/ 7982 h 10009"/>
              <a:gd name="connsiteX75" fmla="*/ 5974 w 9800"/>
              <a:gd name="connsiteY75" fmla="*/ 7856 h 10009"/>
              <a:gd name="connsiteX76" fmla="*/ 6137 w 9800"/>
              <a:gd name="connsiteY76" fmla="*/ 7723 h 10009"/>
              <a:gd name="connsiteX77" fmla="*/ 6299 w 9800"/>
              <a:gd name="connsiteY77" fmla="*/ 7590 h 10009"/>
              <a:gd name="connsiteX78" fmla="*/ 6457 w 9800"/>
              <a:gd name="connsiteY78" fmla="*/ 7451 h 10009"/>
              <a:gd name="connsiteX79" fmla="*/ 6614 w 9800"/>
              <a:gd name="connsiteY79" fmla="*/ 7309 h 10009"/>
              <a:gd name="connsiteX80" fmla="*/ 6765 w 9800"/>
              <a:gd name="connsiteY80" fmla="*/ 7161 h 10009"/>
              <a:gd name="connsiteX81" fmla="*/ 6916 w 9800"/>
              <a:gd name="connsiteY81" fmla="*/ 7014 h 10009"/>
              <a:gd name="connsiteX82" fmla="*/ 7061 w 9800"/>
              <a:gd name="connsiteY82" fmla="*/ 6864 h 10009"/>
              <a:gd name="connsiteX83" fmla="*/ 7208 w 9800"/>
              <a:gd name="connsiteY83" fmla="*/ 6705 h 10009"/>
              <a:gd name="connsiteX84" fmla="*/ 7348 w 9800"/>
              <a:gd name="connsiteY84" fmla="*/ 6544 h 10009"/>
              <a:gd name="connsiteX85" fmla="*/ 7486 w 9800"/>
              <a:gd name="connsiteY85" fmla="*/ 6385 h 10009"/>
              <a:gd name="connsiteX86" fmla="*/ 7620 w 9800"/>
              <a:gd name="connsiteY86" fmla="*/ 6219 h 10009"/>
              <a:gd name="connsiteX87" fmla="*/ 7751 w 9800"/>
              <a:gd name="connsiteY87" fmla="*/ 6047 h 10009"/>
              <a:gd name="connsiteX88" fmla="*/ 7880 w 9800"/>
              <a:gd name="connsiteY88" fmla="*/ 5878 h 10009"/>
              <a:gd name="connsiteX89" fmla="*/ 8006 w 9800"/>
              <a:gd name="connsiteY89" fmla="*/ 5702 h 10009"/>
              <a:gd name="connsiteX90" fmla="*/ 8129 w 9800"/>
              <a:gd name="connsiteY90" fmla="*/ 5523 h 10009"/>
              <a:gd name="connsiteX91" fmla="*/ 8244 w 9800"/>
              <a:gd name="connsiteY91" fmla="*/ 5343 h 10009"/>
              <a:gd name="connsiteX92" fmla="*/ 8357 w 9800"/>
              <a:gd name="connsiteY92" fmla="*/ 5157 h 10009"/>
              <a:gd name="connsiteX93" fmla="*/ 8471 w 9800"/>
              <a:gd name="connsiteY93" fmla="*/ 4973 h 10009"/>
              <a:gd name="connsiteX94" fmla="*/ 8578 w 9800"/>
              <a:gd name="connsiteY94" fmla="*/ 4781 h 10009"/>
              <a:gd name="connsiteX95" fmla="*/ 8681 w 9800"/>
              <a:gd name="connsiteY95" fmla="*/ 4592 h 10009"/>
              <a:gd name="connsiteX96" fmla="*/ 8783 w 9800"/>
              <a:gd name="connsiteY96" fmla="*/ 4397 h 10009"/>
              <a:gd name="connsiteX97" fmla="*/ 8876 w 9800"/>
              <a:gd name="connsiteY97" fmla="*/ 4196 h 10009"/>
              <a:gd name="connsiteX98" fmla="*/ 8968 w 9800"/>
              <a:gd name="connsiteY98" fmla="*/ 3997 h 10009"/>
              <a:gd name="connsiteX99" fmla="*/ 9059 w 9800"/>
              <a:gd name="connsiteY99" fmla="*/ 3796 h 10009"/>
              <a:gd name="connsiteX100" fmla="*/ 9145 w 9800"/>
              <a:gd name="connsiteY100" fmla="*/ 3590 h 10009"/>
              <a:gd name="connsiteX101" fmla="*/ 9223 w 9800"/>
              <a:gd name="connsiteY101" fmla="*/ 3385 h 10009"/>
              <a:gd name="connsiteX102" fmla="*/ 9302 w 9800"/>
              <a:gd name="connsiteY102" fmla="*/ 3174 h 10009"/>
              <a:gd name="connsiteX103" fmla="*/ 9374 w 9800"/>
              <a:gd name="connsiteY103" fmla="*/ 2961 h 10009"/>
              <a:gd name="connsiteX104" fmla="*/ 9442 w 9800"/>
              <a:gd name="connsiteY104" fmla="*/ 2751 h 10009"/>
              <a:gd name="connsiteX105" fmla="*/ 9507 w 9800"/>
              <a:gd name="connsiteY105" fmla="*/ 2533 h 10009"/>
              <a:gd name="connsiteX106" fmla="*/ 9566 w 9800"/>
              <a:gd name="connsiteY106" fmla="*/ 2315 h 10009"/>
              <a:gd name="connsiteX107" fmla="*/ 9622 w 9800"/>
              <a:gd name="connsiteY107" fmla="*/ 2094 h 10009"/>
              <a:gd name="connsiteX108" fmla="*/ 9675 w 9800"/>
              <a:gd name="connsiteY108" fmla="*/ 1874 h 10009"/>
              <a:gd name="connsiteX109" fmla="*/ 9721 w 9800"/>
              <a:gd name="connsiteY109" fmla="*/ 1651 h 10009"/>
              <a:gd name="connsiteX110" fmla="*/ 9763 w 9800"/>
              <a:gd name="connsiteY110" fmla="*/ 1424 h 10009"/>
              <a:gd name="connsiteX111" fmla="*/ 9800 w 9800"/>
              <a:gd name="connsiteY111" fmla="*/ 1194 h 10009"/>
              <a:gd name="connsiteX112" fmla="*/ 6839 w 9800"/>
              <a:gd name="connsiteY112" fmla="*/ 1833 h 10009"/>
              <a:gd name="connsiteX113" fmla="*/ 4367 w 9800"/>
              <a:gd name="connsiteY113" fmla="*/ 0 h 10009"/>
              <a:gd name="connsiteX0" fmla="*/ 4130 w 9674"/>
              <a:gd name="connsiteY0" fmla="*/ 0 h 9762"/>
              <a:gd name="connsiteX1" fmla="*/ 4130 w 9674"/>
              <a:gd name="connsiteY1" fmla="*/ 0 h 9762"/>
              <a:gd name="connsiteX2" fmla="*/ 4119 w 9674"/>
              <a:gd name="connsiteY2" fmla="*/ 97 h 9762"/>
              <a:gd name="connsiteX3" fmla="*/ 4100 w 9674"/>
              <a:gd name="connsiteY3" fmla="*/ 196 h 9762"/>
              <a:gd name="connsiteX4" fmla="*/ 4084 w 9674"/>
              <a:gd name="connsiteY4" fmla="*/ 293 h 9762"/>
              <a:gd name="connsiteX5" fmla="*/ 4064 w 9674"/>
              <a:gd name="connsiteY5" fmla="*/ 385 h 9762"/>
              <a:gd name="connsiteX6" fmla="*/ 4041 w 9674"/>
              <a:gd name="connsiteY6" fmla="*/ 480 h 9762"/>
              <a:gd name="connsiteX7" fmla="*/ 4017 w 9674"/>
              <a:gd name="connsiteY7" fmla="*/ 573 h 9762"/>
              <a:gd name="connsiteX8" fmla="*/ 3994 w 9674"/>
              <a:gd name="connsiteY8" fmla="*/ 667 h 9762"/>
              <a:gd name="connsiteX9" fmla="*/ 3968 w 9674"/>
              <a:gd name="connsiteY9" fmla="*/ 759 h 9762"/>
              <a:gd name="connsiteX10" fmla="*/ 3938 w 9674"/>
              <a:gd name="connsiteY10" fmla="*/ 849 h 9762"/>
              <a:gd name="connsiteX11" fmla="*/ 3906 w 9674"/>
              <a:gd name="connsiteY11" fmla="*/ 938 h 9762"/>
              <a:gd name="connsiteX12" fmla="*/ 3877 w 9674"/>
              <a:gd name="connsiteY12" fmla="*/ 1028 h 9762"/>
              <a:gd name="connsiteX13" fmla="*/ 3842 w 9674"/>
              <a:gd name="connsiteY13" fmla="*/ 1118 h 9762"/>
              <a:gd name="connsiteX14" fmla="*/ 3803 w 9674"/>
              <a:gd name="connsiteY14" fmla="*/ 1203 h 9762"/>
              <a:gd name="connsiteX15" fmla="*/ 3766 w 9674"/>
              <a:gd name="connsiteY15" fmla="*/ 1287 h 9762"/>
              <a:gd name="connsiteX16" fmla="*/ 3728 w 9674"/>
              <a:gd name="connsiteY16" fmla="*/ 1372 h 9762"/>
              <a:gd name="connsiteX17" fmla="*/ 3684 w 9674"/>
              <a:gd name="connsiteY17" fmla="*/ 1459 h 9762"/>
              <a:gd name="connsiteX18" fmla="*/ 3644 w 9674"/>
              <a:gd name="connsiteY18" fmla="*/ 1541 h 9762"/>
              <a:gd name="connsiteX19" fmla="*/ 3600 w 9674"/>
              <a:gd name="connsiteY19" fmla="*/ 1624 h 9762"/>
              <a:gd name="connsiteX20" fmla="*/ 3553 w 9674"/>
              <a:gd name="connsiteY20" fmla="*/ 1700 h 9762"/>
              <a:gd name="connsiteX21" fmla="*/ 3503 w 9674"/>
              <a:gd name="connsiteY21" fmla="*/ 1780 h 9762"/>
              <a:gd name="connsiteX22" fmla="*/ 3458 w 9674"/>
              <a:gd name="connsiteY22" fmla="*/ 1857 h 9762"/>
              <a:gd name="connsiteX23" fmla="*/ 3406 w 9674"/>
              <a:gd name="connsiteY23" fmla="*/ 1939 h 9762"/>
              <a:gd name="connsiteX24" fmla="*/ 3353 w 9674"/>
              <a:gd name="connsiteY24" fmla="*/ 2010 h 9762"/>
              <a:gd name="connsiteX25" fmla="*/ 3297 w 9674"/>
              <a:gd name="connsiteY25" fmla="*/ 2082 h 9762"/>
              <a:gd name="connsiteX26" fmla="*/ 3241 w 9674"/>
              <a:gd name="connsiteY26" fmla="*/ 2157 h 9762"/>
              <a:gd name="connsiteX27" fmla="*/ 3187 w 9674"/>
              <a:gd name="connsiteY27" fmla="*/ 2228 h 9762"/>
              <a:gd name="connsiteX28" fmla="*/ 3127 w 9674"/>
              <a:gd name="connsiteY28" fmla="*/ 2298 h 9762"/>
              <a:gd name="connsiteX29" fmla="*/ 3068 w 9674"/>
              <a:gd name="connsiteY29" fmla="*/ 2369 h 9762"/>
              <a:gd name="connsiteX30" fmla="*/ 3009 w 9674"/>
              <a:gd name="connsiteY30" fmla="*/ 2436 h 9762"/>
              <a:gd name="connsiteX31" fmla="*/ 2943 w 9674"/>
              <a:gd name="connsiteY31" fmla="*/ 2501 h 9762"/>
              <a:gd name="connsiteX32" fmla="*/ 2882 w 9674"/>
              <a:gd name="connsiteY32" fmla="*/ 2564 h 9762"/>
              <a:gd name="connsiteX33" fmla="*/ 2815 w 9674"/>
              <a:gd name="connsiteY33" fmla="*/ 2627 h 9762"/>
              <a:gd name="connsiteX34" fmla="*/ 2752 w 9674"/>
              <a:gd name="connsiteY34" fmla="*/ 2688 h 9762"/>
              <a:gd name="connsiteX35" fmla="*/ 2681 w 9674"/>
              <a:gd name="connsiteY35" fmla="*/ 2751 h 9762"/>
              <a:gd name="connsiteX36" fmla="*/ 2614 w 9674"/>
              <a:gd name="connsiteY36" fmla="*/ 2805 h 9762"/>
              <a:gd name="connsiteX37" fmla="*/ 2544 w 9674"/>
              <a:gd name="connsiteY37" fmla="*/ 2864 h 9762"/>
              <a:gd name="connsiteX38" fmla="*/ 2472 w 9674"/>
              <a:gd name="connsiteY38" fmla="*/ 2918 h 9762"/>
              <a:gd name="connsiteX39" fmla="*/ 2398 w 9674"/>
              <a:gd name="connsiteY39" fmla="*/ 2970 h 9762"/>
              <a:gd name="connsiteX40" fmla="*/ 2326 w 9674"/>
              <a:gd name="connsiteY40" fmla="*/ 3023 h 9762"/>
              <a:gd name="connsiteX41" fmla="*/ 2253 w 9674"/>
              <a:gd name="connsiteY41" fmla="*/ 3074 h 9762"/>
              <a:gd name="connsiteX42" fmla="*/ 2177 w 9674"/>
              <a:gd name="connsiteY42" fmla="*/ 3120 h 9762"/>
              <a:gd name="connsiteX43" fmla="*/ 2098 w 9674"/>
              <a:gd name="connsiteY43" fmla="*/ 3166 h 9762"/>
              <a:gd name="connsiteX44" fmla="*/ 2241 w 9674"/>
              <a:gd name="connsiteY44" fmla="*/ 6421 h 9762"/>
              <a:gd name="connsiteX45" fmla="*/ 0 w 9674"/>
              <a:gd name="connsiteY45" fmla="*/ 9757 h 9762"/>
              <a:gd name="connsiteX46" fmla="*/ 185 w 9674"/>
              <a:gd name="connsiteY46" fmla="*/ 9762 h 9762"/>
              <a:gd name="connsiteX47" fmla="*/ 413 w 9674"/>
              <a:gd name="connsiteY47" fmla="*/ 9757 h 9762"/>
              <a:gd name="connsiteX48" fmla="*/ 632 w 9674"/>
              <a:gd name="connsiteY48" fmla="*/ 9751 h 9762"/>
              <a:gd name="connsiteX49" fmla="*/ 852 w 9674"/>
              <a:gd name="connsiteY49" fmla="*/ 9739 h 9762"/>
              <a:gd name="connsiteX50" fmla="*/ 1068 w 9674"/>
              <a:gd name="connsiteY50" fmla="*/ 9717 h 9762"/>
              <a:gd name="connsiteX51" fmla="*/ 1286 w 9674"/>
              <a:gd name="connsiteY51" fmla="*/ 9696 h 9762"/>
              <a:gd name="connsiteX52" fmla="*/ 1502 w 9674"/>
              <a:gd name="connsiteY52" fmla="*/ 9663 h 9762"/>
              <a:gd name="connsiteX53" fmla="*/ 1716 w 9674"/>
              <a:gd name="connsiteY53" fmla="*/ 9631 h 9762"/>
              <a:gd name="connsiteX54" fmla="*/ 1931 w 9674"/>
              <a:gd name="connsiteY54" fmla="*/ 9591 h 9762"/>
              <a:gd name="connsiteX55" fmla="*/ 2138 w 9674"/>
              <a:gd name="connsiteY55" fmla="*/ 9546 h 9762"/>
              <a:gd name="connsiteX56" fmla="*/ 2354 w 9674"/>
              <a:gd name="connsiteY56" fmla="*/ 9500 h 9762"/>
              <a:gd name="connsiteX57" fmla="*/ 2556 w 9674"/>
              <a:gd name="connsiteY57" fmla="*/ 9444 h 9762"/>
              <a:gd name="connsiteX58" fmla="*/ 2763 w 9674"/>
              <a:gd name="connsiteY58" fmla="*/ 9388 h 9762"/>
              <a:gd name="connsiteX59" fmla="*/ 2968 w 9674"/>
              <a:gd name="connsiteY59" fmla="*/ 9327 h 9762"/>
              <a:gd name="connsiteX60" fmla="*/ 3170 w 9674"/>
              <a:gd name="connsiteY60" fmla="*/ 9257 h 9762"/>
              <a:gd name="connsiteX61" fmla="*/ 3367 w 9674"/>
              <a:gd name="connsiteY61" fmla="*/ 9182 h 9762"/>
              <a:gd name="connsiteX62" fmla="*/ 3564 w 9674"/>
              <a:gd name="connsiteY62" fmla="*/ 9109 h 9762"/>
              <a:gd name="connsiteX63" fmla="*/ 3763 w 9674"/>
              <a:gd name="connsiteY63" fmla="*/ 9025 h 9762"/>
              <a:gd name="connsiteX64" fmla="*/ 3960 w 9674"/>
              <a:gd name="connsiteY64" fmla="*/ 8942 h 9762"/>
              <a:gd name="connsiteX65" fmla="*/ 4148 w 9674"/>
              <a:gd name="connsiteY65" fmla="*/ 8848 h 9762"/>
              <a:gd name="connsiteX66" fmla="*/ 4337 w 9674"/>
              <a:gd name="connsiteY66" fmla="*/ 8755 h 9762"/>
              <a:gd name="connsiteX67" fmla="*/ 4528 w 9674"/>
              <a:gd name="connsiteY67" fmla="*/ 8654 h 9762"/>
              <a:gd name="connsiteX68" fmla="*/ 4711 w 9674"/>
              <a:gd name="connsiteY68" fmla="*/ 8552 h 9762"/>
              <a:gd name="connsiteX69" fmla="*/ 4894 w 9674"/>
              <a:gd name="connsiteY69" fmla="*/ 8446 h 9762"/>
              <a:gd name="connsiteX70" fmla="*/ 5078 w 9674"/>
              <a:gd name="connsiteY70" fmla="*/ 8333 h 9762"/>
              <a:gd name="connsiteX71" fmla="*/ 5255 w 9674"/>
              <a:gd name="connsiteY71" fmla="*/ 8219 h 9762"/>
              <a:gd name="connsiteX72" fmla="*/ 5429 w 9674"/>
              <a:gd name="connsiteY72" fmla="*/ 8098 h 9762"/>
              <a:gd name="connsiteX73" fmla="*/ 5604 w 9674"/>
              <a:gd name="connsiteY73" fmla="*/ 7975 h 9762"/>
              <a:gd name="connsiteX74" fmla="*/ 5770 w 9674"/>
              <a:gd name="connsiteY74" fmla="*/ 7849 h 9762"/>
              <a:gd name="connsiteX75" fmla="*/ 5936 w 9674"/>
              <a:gd name="connsiteY75" fmla="*/ 7716 h 9762"/>
              <a:gd name="connsiteX76" fmla="*/ 6102 w 9674"/>
              <a:gd name="connsiteY76" fmla="*/ 7583 h 9762"/>
              <a:gd name="connsiteX77" fmla="*/ 6263 w 9674"/>
              <a:gd name="connsiteY77" fmla="*/ 7444 h 9762"/>
              <a:gd name="connsiteX78" fmla="*/ 6423 w 9674"/>
              <a:gd name="connsiteY78" fmla="*/ 7302 h 9762"/>
              <a:gd name="connsiteX79" fmla="*/ 6577 w 9674"/>
              <a:gd name="connsiteY79" fmla="*/ 7155 h 9762"/>
              <a:gd name="connsiteX80" fmla="*/ 6731 w 9674"/>
              <a:gd name="connsiteY80" fmla="*/ 7008 h 9762"/>
              <a:gd name="connsiteX81" fmla="*/ 6879 w 9674"/>
              <a:gd name="connsiteY81" fmla="*/ 6858 h 9762"/>
              <a:gd name="connsiteX82" fmla="*/ 7029 w 9674"/>
              <a:gd name="connsiteY82" fmla="*/ 6699 h 9762"/>
              <a:gd name="connsiteX83" fmla="*/ 7172 w 9674"/>
              <a:gd name="connsiteY83" fmla="*/ 6538 h 9762"/>
              <a:gd name="connsiteX84" fmla="*/ 7313 w 9674"/>
              <a:gd name="connsiteY84" fmla="*/ 6379 h 9762"/>
              <a:gd name="connsiteX85" fmla="*/ 7450 w 9674"/>
              <a:gd name="connsiteY85" fmla="*/ 6213 h 9762"/>
              <a:gd name="connsiteX86" fmla="*/ 7583 w 9674"/>
              <a:gd name="connsiteY86" fmla="*/ 6042 h 9762"/>
              <a:gd name="connsiteX87" fmla="*/ 7715 w 9674"/>
              <a:gd name="connsiteY87" fmla="*/ 5873 h 9762"/>
              <a:gd name="connsiteX88" fmla="*/ 7843 w 9674"/>
              <a:gd name="connsiteY88" fmla="*/ 5697 h 9762"/>
              <a:gd name="connsiteX89" fmla="*/ 7969 w 9674"/>
              <a:gd name="connsiteY89" fmla="*/ 5518 h 9762"/>
              <a:gd name="connsiteX90" fmla="*/ 8086 w 9674"/>
              <a:gd name="connsiteY90" fmla="*/ 5338 h 9762"/>
              <a:gd name="connsiteX91" fmla="*/ 8202 w 9674"/>
              <a:gd name="connsiteY91" fmla="*/ 5152 h 9762"/>
              <a:gd name="connsiteX92" fmla="*/ 8318 w 9674"/>
              <a:gd name="connsiteY92" fmla="*/ 4969 h 9762"/>
              <a:gd name="connsiteX93" fmla="*/ 8427 w 9674"/>
              <a:gd name="connsiteY93" fmla="*/ 4777 h 9762"/>
              <a:gd name="connsiteX94" fmla="*/ 8532 w 9674"/>
              <a:gd name="connsiteY94" fmla="*/ 4588 h 9762"/>
              <a:gd name="connsiteX95" fmla="*/ 8636 w 9674"/>
              <a:gd name="connsiteY95" fmla="*/ 4393 h 9762"/>
              <a:gd name="connsiteX96" fmla="*/ 8731 w 9674"/>
              <a:gd name="connsiteY96" fmla="*/ 4192 h 9762"/>
              <a:gd name="connsiteX97" fmla="*/ 8825 w 9674"/>
              <a:gd name="connsiteY97" fmla="*/ 3993 h 9762"/>
              <a:gd name="connsiteX98" fmla="*/ 8918 w 9674"/>
              <a:gd name="connsiteY98" fmla="*/ 3793 h 9762"/>
              <a:gd name="connsiteX99" fmla="*/ 9006 w 9674"/>
              <a:gd name="connsiteY99" fmla="*/ 3587 h 9762"/>
              <a:gd name="connsiteX100" fmla="*/ 9085 w 9674"/>
              <a:gd name="connsiteY100" fmla="*/ 3382 h 9762"/>
              <a:gd name="connsiteX101" fmla="*/ 9166 w 9674"/>
              <a:gd name="connsiteY101" fmla="*/ 3171 h 9762"/>
              <a:gd name="connsiteX102" fmla="*/ 9239 w 9674"/>
              <a:gd name="connsiteY102" fmla="*/ 2958 h 9762"/>
              <a:gd name="connsiteX103" fmla="*/ 9309 w 9674"/>
              <a:gd name="connsiteY103" fmla="*/ 2749 h 9762"/>
              <a:gd name="connsiteX104" fmla="*/ 9375 w 9674"/>
              <a:gd name="connsiteY104" fmla="*/ 2531 h 9762"/>
              <a:gd name="connsiteX105" fmla="*/ 9435 w 9674"/>
              <a:gd name="connsiteY105" fmla="*/ 2313 h 9762"/>
              <a:gd name="connsiteX106" fmla="*/ 9492 w 9674"/>
              <a:gd name="connsiteY106" fmla="*/ 2092 h 9762"/>
              <a:gd name="connsiteX107" fmla="*/ 9546 w 9674"/>
              <a:gd name="connsiteY107" fmla="*/ 1872 h 9762"/>
              <a:gd name="connsiteX108" fmla="*/ 9593 w 9674"/>
              <a:gd name="connsiteY108" fmla="*/ 1650 h 9762"/>
              <a:gd name="connsiteX109" fmla="*/ 9636 w 9674"/>
              <a:gd name="connsiteY109" fmla="*/ 1423 h 9762"/>
              <a:gd name="connsiteX110" fmla="*/ 9674 w 9674"/>
              <a:gd name="connsiteY110" fmla="*/ 1193 h 9762"/>
              <a:gd name="connsiteX111" fmla="*/ 6653 w 9674"/>
              <a:gd name="connsiteY111" fmla="*/ 1831 h 9762"/>
              <a:gd name="connsiteX112" fmla="*/ 4130 w 9674"/>
              <a:gd name="connsiteY112" fmla="*/ 0 h 9762"/>
              <a:gd name="connsiteX0" fmla="*/ 4078 w 9809"/>
              <a:gd name="connsiteY0" fmla="*/ 0 h 10000"/>
              <a:gd name="connsiteX1" fmla="*/ 4078 w 9809"/>
              <a:gd name="connsiteY1" fmla="*/ 0 h 10000"/>
              <a:gd name="connsiteX2" fmla="*/ 4067 w 9809"/>
              <a:gd name="connsiteY2" fmla="*/ 99 h 10000"/>
              <a:gd name="connsiteX3" fmla="*/ 4047 w 9809"/>
              <a:gd name="connsiteY3" fmla="*/ 201 h 10000"/>
              <a:gd name="connsiteX4" fmla="*/ 4031 w 9809"/>
              <a:gd name="connsiteY4" fmla="*/ 300 h 10000"/>
              <a:gd name="connsiteX5" fmla="*/ 4010 w 9809"/>
              <a:gd name="connsiteY5" fmla="*/ 394 h 10000"/>
              <a:gd name="connsiteX6" fmla="*/ 3986 w 9809"/>
              <a:gd name="connsiteY6" fmla="*/ 492 h 10000"/>
              <a:gd name="connsiteX7" fmla="*/ 3961 w 9809"/>
              <a:gd name="connsiteY7" fmla="*/ 587 h 10000"/>
              <a:gd name="connsiteX8" fmla="*/ 3938 w 9809"/>
              <a:gd name="connsiteY8" fmla="*/ 683 h 10000"/>
              <a:gd name="connsiteX9" fmla="*/ 3911 w 9809"/>
              <a:gd name="connsiteY9" fmla="*/ 778 h 10000"/>
              <a:gd name="connsiteX10" fmla="*/ 3880 w 9809"/>
              <a:gd name="connsiteY10" fmla="*/ 870 h 10000"/>
              <a:gd name="connsiteX11" fmla="*/ 3847 w 9809"/>
              <a:gd name="connsiteY11" fmla="*/ 961 h 10000"/>
              <a:gd name="connsiteX12" fmla="*/ 3817 w 9809"/>
              <a:gd name="connsiteY12" fmla="*/ 1053 h 10000"/>
              <a:gd name="connsiteX13" fmla="*/ 3780 w 9809"/>
              <a:gd name="connsiteY13" fmla="*/ 1145 h 10000"/>
              <a:gd name="connsiteX14" fmla="*/ 3740 w 9809"/>
              <a:gd name="connsiteY14" fmla="*/ 1232 h 10000"/>
              <a:gd name="connsiteX15" fmla="*/ 3702 w 9809"/>
              <a:gd name="connsiteY15" fmla="*/ 1318 h 10000"/>
              <a:gd name="connsiteX16" fmla="*/ 3663 w 9809"/>
              <a:gd name="connsiteY16" fmla="*/ 1405 h 10000"/>
              <a:gd name="connsiteX17" fmla="*/ 3617 w 9809"/>
              <a:gd name="connsiteY17" fmla="*/ 1495 h 10000"/>
              <a:gd name="connsiteX18" fmla="*/ 3576 w 9809"/>
              <a:gd name="connsiteY18" fmla="*/ 1579 h 10000"/>
              <a:gd name="connsiteX19" fmla="*/ 3530 w 9809"/>
              <a:gd name="connsiteY19" fmla="*/ 1664 h 10000"/>
              <a:gd name="connsiteX20" fmla="*/ 3482 w 9809"/>
              <a:gd name="connsiteY20" fmla="*/ 1741 h 10000"/>
              <a:gd name="connsiteX21" fmla="*/ 3430 w 9809"/>
              <a:gd name="connsiteY21" fmla="*/ 1823 h 10000"/>
              <a:gd name="connsiteX22" fmla="*/ 3384 w 9809"/>
              <a:gd name="connsiteY22" fmla="*/ 1902 h 10000"/>
              <a:gd name="connsiteX23" fmla="*/ 3330 w 9809"/>
              <a:gd name="connsiteY23" fmla="*/ 1986 h 10000"/>
              <a:gd name="connsiteX24" fmla="*/ 3275 w 9809"/>
              <a:gd name="connsiteY24" fmla="*/ 2059 h 10000"/>
              <a:gd name="connsiteX25" fmla="*/ 3217 w 9809"/>
              <a:gd name="connsiteY25" fmla="*/ 2133 h 10000"/>
              <a:gd name="connsiteX26" fmla="*/ 3159 w 9809"/>
              <a:gd name="connsiteY26" fmla="*/ 2210 h 10000"/>
              <a:gd name="connsiteX27" fmla="*/ 3103 w 9809"/>
              <a:gd name="connsiteY27" fmla="*/ 2282 h 10000"/>
              <a:gd name="connsiteX28" fmla="*/ 3041 w 9809"/>
              <a:gd name="connsiteY28" fmla="*/ 2354 h 10000"/>
              <a:gd name="connsiteX29" fmla="*/ 2980 w 9809"/>
              <a:gd name="connsiteY29" fmla="*/ 2427 h 10000"/>
              <a:gd name="connsiteX30" fmla="*/ 2919 w 9809"/>
              <a:gd name="connsiteY30" fmla="*/ 2495 h 10000"/>
              <a:gd name="connsiteX31" fmla="*/ 2851 w 9809"/>
              <a:gd name="connsiteY31" fmla="*/ 2562 h 10000"/>
              <a:gd name="connsiteX32" fmla="*/ 2788 w 9809"/>
              <a:gd name="connsiteY32" fmla="*/ 2627 h 10000"/>
              <a:gd name="connsiteX33" fmla="*/ 2719 w 9809"/>
              <a:gd name="connsiteY33" fmla="*/ 2691 h 10000"/>
              <a:gd name="connsiteX34" fmla="*/ 2654 w 9809"/>
              <a:gd name="connsiteY34" fmla="*/ 2754 h 10000"/>
              <a:gd name="connsiteX35" fmla="*/ 2580 w 9809"/>
              <a:gd name="connsiteY35" fmla="*/ 2818 h 10000"/>
              <a:gd name="connsiteX36" fmla="*/ 2511 w 9809"/>
              <a:gd name="connsiteY36" fmla="*/ 2873 h 10000"/>
              <a:gd name="connsiteX37" fmla="*/ 2439 w 9809"/>
              <a:gd name="connsiteY37" fmla="*/ 2934 h 10000"/>
              <a:gd name="connsiteX38" fmla="*/ 2364 w 9809"/>
              <a:gd name="connsiteY38" fmla="*/ 2989 h 10000"/>
              <a:gd name="connsiteX39" fmla="*/ 2288 w 9809"/>
              <a:gd name="connsiteY39" fmla="*/ 3042 h 10000"/>
              <a:gd name="connsiteX40" fmla="*/ 2213 w 9809"/>
              <a:gd name="connsiteY40" fmla="*/ 3097 h 10000"/>
              <a:gd name="connsiteX41" fmla="*/ 2138 w 9809"/>
              <a:gd name="connsiteY41" fmla="*/ 3149 h 10000"/>
              <a:gd name="connsiteX42" fmla="*/ 2059 w 9809"/>
              <a:gd name="connsiteY42" fmla="*/ 3196 h 10000"/>
              <a:gd name="connsiteX43" fmla="*/ 1978 w 9809"/>
              <a:gd name="connsiteY43" fmla="*/ 3243 h 10000"/>
              <a:gd name="connsiteX44" fmla="*/ 2126 w 9809"/>
              <a:gd name="connsiteY44" fmla="*/ 6578 h 10000"/>
              <a:gd name="connsiteX45" fmla="*/ 0 w 9809"/>
              <a:gd name="connsiteY45" fmla="*/ 10000 h 10000"/>
              <a:gd name="connsiteX46" fmla="*/ 236 w 9809"/>
              <a:gd name="connsiteY46" fmla="*/ 9995 h 10000"/>
              <a:gd name="connsiteX47" fmla="*/ 462 w 9809"/>
              <a:gd name="connsiteY47" fmla="*/ 9989 h 10000"/>
              <a:gd name="connsiteX48" fmla="*/ 690 w 9809"/>
              <a:gd name="connsiteY48" fmla="*/ 9976 h 10000"/>
              <a:gd name="connsiteX49" fmla="*/ 913 w 9809"/>
              <a:gd name="connsiteY49" fmla="*/ 9954 h 10000"/>
              <a:gd name="connsiteX50" fmla="*/ 1138 w 9809"/>
              <a:gd name="connsiteY50" fmla="*/ 9932 h 10000"/>
              <a:gd name="connsiteX51" fmla="*/ 1362 w 9809"/>
              <a:gd name="connsiteY51" fmla="*/ 9899 h 10000"/>
              <a:gd name="connsiteX52" fmla="*/ 1583 w 9809"/>
              <a:gd name="connsiteY52" fmla="*/ 9866 h 10000"/>
              <a:gd name="connsiteX53" fmla="*/ 1805 w 9809"/>
              <a:gd name="connsiteY53" fmla="*/ 9825 h 10000"/>
              <a:gd name="connsiteX54" fmla="*/ 2019 w 9809"/>
              <a:gd name="connsiteY54" fmla="*/ 9779 h 10000"/>
              <a:gd name="connsiteX55" fmla="*/ 2242 w 9809"/>
              <a:gd name="connsiteY55" fmla="*/ 9732 h 10000"/>
              <a:gd name="connsiteX56" fmla="*/ 2451 w 9809"/>
              <a:gd name="connsiteY56" fmla="*/ 9674 h 10000"/>
              <a:gd name="connsiteX57" fmla="*/ 2665 w 9809"/>
              <a:gd name="connsiteY57" fmla="*/ 9617 h 10000"/>
              <a:gd name="connsiteX58" fmla="*/ 2877 w 9809"/>
              <a:gd name="connsiteY58" fmla="*/ 9554 h 10000"/>
              <a:gd name="connsiteX59" fmla="*/ 3086 w 9809"/>
              <a:gd name="connsiteY59" fmla="*/ 9483 h 10000"/>
              <a:gd name="connsiteX60" fmla="*/ 3289 w 9809"/>
              <a:gd name="connsiteY60" fmla="*/ 9406 h 10000"/>
              <a:gd name="connsiteX61" fmla="*/ 3493 w 9809"/>
              <a:gd name="connsiteY61" fmla="*/ 9331 h 10000"/>
              <a:gd name="connsiteX62" fmla="*/ 3699 w 9809"/>
              <a:gd name="connsiteY62" fmla="*/ 9245 h 10000"/>
              <a:gd name="connsiteX63" fmla="*/ 3902 w 9809"/>
              <a:gd name="connsiteY63" fmla="*/ 9160 h 10000"/>
              <a:gd name="connsiteX64" fmla="*/ 4097 w 9809"/>
              <a:gd name="connsiteY64" fmla="*/ 9064 h 10000"/>
              <a:gd name="connsiteX65" fmla="*/ 4292 w 9809"/>
              <a:gd name="connsiteY65" fmla="*/ 8968 h 10000"/>
              <a:gd name="connsiteX66" fmla="*/ 4490 w 9809"/>
              <a:gd name="connsiteY66" fmla="*/ 8865 h 10000"/>
              <a:gd name="connsiteX67" fmla="*/ 4679 w 9809"/>
              <a:gd name="connsiteY67" fmla="*/ 8760 h 10000"/>
              <a:gd name="connsiteX68" fmla="*/ 4868 w 9809"/>
              <a:gd name="connsiteY68" fmla="*/ 8652 h 10000"/>
              <a:gd name="connsiteX69" fmla="*/ 5058 w 9809"/>
              <a:gd name="connsiteY69" fmla="*/ 8536 h 10000"/>
              <a:gd name="connsiteX70" fmla="*/ 5241 w 9809"/>
              <a:gd name="connsiteY70" fmla="*/ 8419 h 10000"/>
              <a:gd name="connsiteX71" fmla="*/ 5421 w 9809"/>
              <a:gd name="connsiteY71" fmla="*/ 8295 h 10000"/>
              <a:gd name="connsiteX72" fmla="*/ 5602 w 9809"/>
              <a:gd name="connsiteY72" fmla="*/ 8169 h 10000"/>
              <a:gd name="connsiteX73" fmla="*/ 5773 w 9809"/>
              <a:gd name="connsiteY73" fmla="*/ 8040 h 10000"/>
              <a:gd name="connsiteX74" fmla="*/ 5945 w 9809"/>
              <a:gd name="connsiteY74" fmla="*/ 7904 h 10000"/>
              <a:gd name="connsiteX75" fmla="*/ 6117 w 9809"/>
              <a:gd name="connsiteY75" fmla="*/ 7768 h 10000"/>
              <a:gd name="connsiteX76" fmla="*/ 6283 w 9809"/>
              <a:gd name="connsiteY76" fmla="*/ 7625 h 10000"/>
              <a:gd name="connsiteX77" fmla="*/ 6448 w 9809"/>
              <a:gd name="connsiteY77" fmla="*/ 7480 h 10000"/>
              <a:gd name="connsiteX78" fmla="*/ 6608 w 9809"/>
              <a:gd name="connsiteY78" fmla="*/ 7329 h 10000"/>
              <a:gd name="connsiteX79" fmla="*/ 6767 w 9809"/>
              <a:gd name="connsiteY79" fmla="*/ 7179 h 10000"/>
              <a:gd name="connsiteX80" fmla="*/ 6920 w 9809"/>
              <a:gd name="connsiteY80" fmla="*/ 7025 h 10000"/>
              <a:gd name="connsiteX81" fmla="*/ 7075 w 9809"/>
              <a:gd name="connsiteY81" fmla="*/ 6862 h 10000"/>
              <a:gd name="connsiteX82" fmla="*/ 7223 w 9809"/>
              <a:gd name="connsiteY82" fmla="*/ 6697 h 10000"/>
              <a:gd name="connsiteX83" fmla="*/ 7368 w 9809"/>
              <a:gd name="connsiteY83" fmla="*/ 6535 h 10000"/>
              <a:gd name="connsiteX84" fmla="*/ 7510 w 9809"/>
              <a:gd name="connsiteY84" fmla="*/ 6364 h 10000"/>
              <a:gd name="connsiteX85" fmla="*/ 7648 w 9809"/>
              <a:gd name="connsiteY85" fmla="*/ 6189 h 10000"/>
              <a:gd name="connsiteX86" fmla="*/ 7784 w 9809"/>
              <a:gd name="connsiteY86" fmla="*/ 6016 h 10000"/>
              <a:gd name="connsiteX87" fmla="*/ 7916 w 9809"/>
              <a:gd name="connsiteY87" fmla="*/ 5836 h 10000"/>
              <a:gd name="connsiteX88" fmla="*/ 8047 w 9809"/>
              <a:gd name="connsiteY88" fmla="*/ 5653 h 10000"/>
              <a:gd name="connsiteX89" fmla="*/ 8167 w 9809"/>
              <a:gd name="connsiteY89" fmla="*/ 5468 h 10000"/>
              <a:gd name="connsiteX90" fmla="*/ 8287 w 9809"/>
              <a:gd name="connsiteY90" fmla="*/ 5278 h 10000"/>
              <a:gd name="connsiteX91" fmla="*/ 8407 w 9809"/>
              <a:gd name="connsiteY91" fmla="*/ 5090 h 10000"/>
              <a:gd name="connsiteX92" fmla="*/ 8520 w 9809"/>
              <a:gd name="connsiteY92" fmla="*/ 4893 h 10000"/>
              <a:gd name="connsiteX93" fmla="*/ 8629 w 9809"/>
              <a:gd name="connsiteY93" fmla="*/ 4700 h 10000"/>
              <a:gd name="connsiteX94" fmla="*/ 8736 w 9809"/>
              <a:gd name="connsiteY94" fmla="*/ 4500 h 10000"/>
              <a:gd name="connsiteX95" fmla="*/ 8834 w 9809"/>
              <a:gd name="connsiteY95" fmla="*/ 4294 h 10000"/>
              <a:gd name="connsiteX96" fmla="*/ 8931 w 9809"/>
              <a:gd name="connsiteY96" fmla="*/ 4090 h 10000"/>
              <a:gd name="connsiteX97" fmla="*/ 9028 w 9809"/>
              <a:gd name="connsiteY97" fmla="*/ 3885 h 10000"/>
              <a:gd name="connsiteX98" fmla="*/ 9118 w 9809"/>
              <a:gd name="connsiteY98" fmla="*/ 3674 h 10000"/>
              <a:gd name="connsiteX99" fmla="*/ 9200 w 9809"/>
              <a:gd name="connsiteY99" fmla="*/ 3464 h 10000"/>
              <a:gd name="connsiteX100" fmla="*/ 9284 w 9809"/>
              <a:gd name="connsiteY100" fmla="*/ 3248 h 10000"/>
              <a:gd name="connsiteX101" fmla="*/ 9359 w 9809"/>
              <a:gd name="connsiteY101" fmla="*/ 3030 h 10000"/>
              <a:gd name="connsiteX102" fmla="*/ 9432 w 9809"/>
              <a:gd name="connsiteY102" fmla="*/ 2816 h 10000"/>
              <a:gd name="connsiteX103" fmla="*/ 9500 w 9809"/>
              <a:gd name="connsiteY103" fmla="*/ 2593 h 10000"/>
              <a:gd name="connsiteX104" fmla="*/ 9562 w 9809"/>
              <a:gd name="connsiteY104" fmla="*/ 2369 h 10000"/>
              <a:gd name="connsiteX105" fmla="*/ 9621 w 9809"/>
              <a:gd name="connsiteY105" fmla="*/ 2143 h 10000"/>
              <a:gd name="connsiteX106" fmla="*/ 9677 w 9809"/>
              <a:gd name="connsiteY106" fmla="*/ 1918 h 10000"/>
              <a:gd name="connsiteX107" fmla="*/ 9725 w 9809"/>
              <a:gd name="connsiteY107" fmla="*/ 1690 h 10000"/>
              <a:gd name="connsiteX108" fmla="*/ 9770 w 9809"/>
              <a:gd name="connsiteY108" fmla="*/ 1458 h 10000"/>
              <a:gd name="connsiteX109" fmla="*/ 9809 w 9809"/>
              <a:gd name="connsiteY109" fmla="*/ 1222 h 10000"/>
              <a:gd name="connsiteX110" fmla="*/ 6686 w 9809"/>
              <a:gd name="connsiteY110" fmla="*/ 1876 h 10000"/>
              <a:gd name="connsiteX111" fmla="*/ 4078 w 9809"/>
              <a:gd name="connsiteY111" fmla="*/ 0 h 10000"/>
              <a:gd name="connsiteX0" fmla="*/ 3916 w 9759"/>
              <a:gd name="connsiteY0" fmla="*/ 0 h 9995"/>
              <a:gd name="connsiteX1" fmla="*/ 3916 w 9759"/>
              <a:gd name="connsiteY1" fmla="*/ 0 h 9995"/>
              <a:gd name="connsiteX2" fmla="*/ 3905 w 9759"/>
              <a:gd name="connsiteY2" fmla="*/ 99 h 9995"/>
              <a:gd name="connsiteX3" fmla="*/ 3885 w 9759"/>
              <a:gd name="connsiteY3" fmla="*/ 201 h 9995"/>
              <a:gd name="connsiteX4" fmla="*/ 3868 w 9759"/>
              <a:gd name="connsiteY4" fmla="*/ 300 h 9995"/>
              <a:gd name="connsiteX5" fmla="*/ 3847 w 9759"/>
              <a:gd name="connsiteY5" fmla="*/ 394 h 9995"/>
              <a:gd name="connsiteX6" fmla="*/ 3823 w 9759"/>
              <a:gd name="connsiteY6" fmla="*/ 492 h 9995"/>
              <a:gd name="connsiteX7" fmla="*/ 3797 w 9759"/>
              <a:gd name="connsiteY7" fmla="*/ 587 h 9995"/>
              <a:gd name="connsiteX8" fmla="*/ 3774 w 9759"/>
              <a:gd name="connsiteY8" fmla="*/ 683 h 9995"/>
              <a:gd name="connsiteX9" fmla="*/ 3746 w 9759"/>
              <a:gd name="connsiteY9" fmla="*/ 778 h 9995"/>
              <a:gd name="connsiteX10" fmla="*/ 3715 w 9759"/>
              <a:gd name="connsiteY10" fmla="*/ 870 h 9995"/>
              <a:gd name="connsiteX11" fmla="*/ 3681 w 9759"/>
              <a:gd name="connsiteY11" fmla="*/ 961 h 9995"/>
              <a:gd name="connsiteX12" fmla="*/ 3650 w 9759"/>
              <a:gd name="connsiteY12" fmla="*/ 1053 h 9995"/>
              <a:gd name="connsiteX13" fmla="*/ 3613 w 9759"/>
              <a:gd name="connsiteY13" fmla="*/ 1145 h 9995"/>
              <a:gd name="connsiteX14" fmla="*/ 3572 w 9759"/>
              <a:gd name="connsiteY14" fmla="*/ 1232 h 9995"/>
              <a:gd name="connsiteX15" fmla="*/ 3533 w 9759"/>
              <a:gd name="connsiteY15" fmla="*/ 1318 h 9995"/>
              <a:gd name="connsiteX16" fmla="*/ 3493 w 9759"/>
              <a:gd name="connsiteY16" fmla="*/ 1405 h 9995"/>
              <a:gd name="connsiteX17" fmla="*/ 3446 w 9759"/>
              <a:gd name="connsiteY17" fmla="*/ 1495 h 9995"/>
              <a:gd name="connsiteX18" fmla="*/ 3405 w 9759"/>
              <a:gd name="connsiteY18" fmla="*/ 1579 h 9995"/>
              <a:gd name="connsiteX19" fmla="*/ 3358 w 9759"/>
              <a:gd name="connsiteY19" fmla="*/ 1664 h 9995"/>
              <a:gd name="connsiteX20" fmla="*/ 3309 w 9759"/>
              <a:gd name="connsiteY20" fmla="*/ 1741 h 9995"/>
              <a:gd name="connsiteX21" fmla="*/ 3256 w 9759"/>
              <a:gd name="connsiteY21" fmla="*/ 1823 h 9995"/>
              <a:gd name="connsiteX22" fmla="*/ 3209 w 9759"/>
              <a:gd name="connsiteY22" fmla="*/ 1902 h 9995"/>
              <a:gd name="connsiteX23" fmla="*/ 3154 w 9759"/>
              <a:gd name="connsiteY23" fmla="*/ 1986 h 9995"/>
              <a:gd name="connsiteX24" fmla="*/ 3098 w 9759"/>
              <a:gd name="connsiteY24" fmla="*/ 2059 h 9995"/>
              <a:gd name="connsiteX25" fmla="*/ 3039 w 9759"/>
              <a:gd name="connsiteY25" fmla="*/ 2133 h 9995"/>
              <a:gd name="connsiteX26" fmla="*/ 2980 w 9759"/>
              <a:gd name="connsiteY26" fmla="*/ 2210 h 9995"/>
              <a:gd name="connsiteX27" fmla="*/ 2922 w 9759"/>
              <a:gd name="connsiteY27" fmla="*/ 2282 h 9995"/>
              <a:gd name="connsiteX28" fmla="*/ 2859 w 9759"/>
              <a:gd name="connsiteY28" fmla="*/ 2354 h 9995"/>
              <a:gd name="connsiteX29" fmla="*/ 2797 w 9759"/>
              <a:gd name="connsiteY29" fmla="*/ 2427 h 9995"/>
              <a:gd name="connsiteX30" fmla="*/ 2735 w 9759"/>
              <a:gd name="connsiteY30" fmla="*/ 2495 h 9995"/>
              <a:gd name="connsiteX31" fmla="*/ 2666 w 9759"/>
              <a:gd name="connsiteY31" fmla="*/ 2562 h 9995"/>
              <a:gd name="connsiteX32" fmla="*/ 2601 w 9759"/>
              <a:gd name="connsiteY32" fmla="*/ 2627 h 9995"/>
              <a:gd name="connsiteX33" fmla="*/ 2531 w 9759"/>
              <a:gd name="connsiteY33" fmla="*/ 2691 h 9995"/>
              <a:gd name="connsiteX34" fmla="*/ 2465 w 9759"/>
              <a:gd name="connsiteY34" fmla="*/ 2754 h 9995"/>
              <a:gd name="connsiteX35" fmla="*/ 2389 w 9759"/>
              <a:gd name="connsiteY35" fmla="*/ 2818 h 9995"/>
              <a:gd name="connsiteX36" fmla="*/ 2319 w 9759"/>
              <a:gd name="connsiteY36" fmla="*/ 2873 h 9995"/>
              <a:gd name="connsiteX37" fmla="*/ 2245 w 9759"/>
              <a:gd name="connsiteY37" fmla="*/ 2934 h 9995"/>
              <a:gd name="connsiteX38" fmla="*/ 2169 w 9759"/>
              <a:gd name="connsiteY38" fmla="*/ 2989 h 9995"/>
              <a:gd name="connsiteX39" fmla="*/ 2092 w 9759"/>
              <a:gd name="connsiteY39" fmla="*/ 3042 h 9995"/>
              <a:gd name="connsiteX40" fmla="*/ 2015 w 9759"/>
              <a:gd name="connsiteY40" fmla="*/ 3097 h 9995"/>
              <a:gd name="connsiteX41" fmla="*/ 1939 w 9759"/>
              <a:gd name="connsiteY41" fmla="*/ 3149 h 9995"/>
              <a:gd name="connsiteX42" fmla="*/ 1858 w 9759"/>
              <a:gd name="connsiteY42" fmla="*/ 3196 h 9995"/>
              <a:gd name="connsiteX43" fmla="*/ 1776 w 9759"/>
              <a:gd name="connsiteY43" fmla="*/ 3243 h 9995"/>
              <a:gd name="connsiteX44" fmla="*/ 1926 w 9759"/>
              <a:gd name="connsiteY44" fmla="*/ 6578 h 9995"/>
              <a:gd name="connsiteX45" fmla="*/ 0 w 9759"/>
              <a:gd name="connsiteY45" fmla="*/ 9995 h 9995"/>
              <a:gd name="connsiteX46" fmla="*/ 230 w 9759"/>
              <a:gd name="connsiteY46" fmla="*/ 9989 h 9995"/>
              <a:gd name="connsiteX47" fmla="*/ 462 w 9759"/>
              <a:gd name="connsiteY47" fmla="*/ 9976 h 9995"/>
              <a:gd name="connsiteX48" fmla="*/ 690 w 9759"/>
              <a:gd name="connsiteY48" fmla="*/ 9954 h 9995"/>
              <a:gd name="connsiteX49" fmla="*/ 919 w 9759"/>
              <a:gd name="connsiteY49" fmla="*/ 9932 h 9995"/>
              <a:gd name="connsiteX50" fmla="*/ 1148 w 9759"/>
              <a:gd name="connsiteY50" fmla="*/ 9899 h 9995"/>
              <a:gd name="connsiteX51" fmla="*/ 1373 w 9759"/>
              <a:gd name="connsiteY51" fmla="*/ 9866 h 9995"/>
              <a:gd name="connsiteX52" fmla="*/ 1599 w 9759"/>
              <a:gd name="connsiteY52" fmla="*/ 9825 h 9995"/>
              <a:gd name="connsiteX53" fmla="*/ 1817 w 9759"/>
              <a:gd name="connsiteY53" fmla="*/ 9779 h 9995"/>
              <a:gd name="connsiteX54" fmla="*/ 2045 w 9759"/>
              <a:gd name="connsiteY54" fmla="*/ 9732 h 9995"/>
              <a:gd name="connsiteX55" fmla="*/ 2258 w 9759"/>
              <a:gd name="connsiteY55" fmla="*/ 9674 h 9995"/>
              <a:gd name="connsiteX56" fmla="*/ 2476 w 9759"/>
              <a:gd name="connsiteY56" fmla="*/ 9617 h 9995"/>
              <a:gd name="connsiteX57" fmla="*/ 2692 w 9759"/>
              <a:gd name="connsiteY57" fmla="*/ 9554 h 9995"/>
              <a:gd name="connsiteX58" fmla="*/ 2905 w 9759"/>
              <a:gd name="connsiteY58" fmla="*/ 9483 h 9995"/>
              <a:gd name="connsiteX59" fmla="*/ 3112 w 9759"/>
              <a:gd name="connsiteY59" fmla="*/ 9406 h 9995"/>
              <a:gd name="connsiteX60" fmla="*/ 3320 w 9759"/>
              <a:gd name="connsiteY60" fmla="*/ 9331 h 9995"/>
              <a:gd name="connsiteX61" fmla="*/ 3530 w 9759"/>
              <a:gd name="connsiteY61" fmla="*/ 9245 h 9995"/>
              <a:gd name="connsiteX62" fmla="*/ 3737 w 9759"/>
              <a:gd name="connsiteY62" fmla="*/ 9160 h 9995"/>
              <a:gd name="connsiteX63" fmla="*/ 3936 w 9759"/>
              <a:gd name="connsiteY63" fmla="*/ 9064 h 9995"/>
              <a:gd name="connsiteX64" fmla="*/ 4135 w 9759"/>
              <a:gd name="connsiteY64" fmla="*/ 8968 h 9995"/>
              <a:gd name="connsiteX65" fmla="*/ 4336 w 9759"/>
              <a:gd name="connsiteY65" fmla="*/ 8865 h 9995"/>
              <a:gd name="connsiteX66" fmla="*/ 4529 w 9759"/>
              <a:gd name="connsiteY66" fmla="*/ 8760 h 9995"/>
              <a:gd name="connsiteX67" fmla="*/ 4722 w 9759"/>
              <a:gd name="connsiteY67" fmla="*/ 8652 h 9995"/>
              <a:gd name="connsiteX68" fmla="*/ 4915 w 9759"/>
              <a:gd name="connsiteY68" fmla="*/ 8536 h 9995"/>
              <a:gd name="connsiteX69" fmla="*/ 5102 w 9759"/>
              <a:gd name="connsiteY69" fmla="*/ 8419 h 9995"/>
              <a:gd name="connsiteX70" fmla="*/ 5286 w 9759"/>
              <a:gd name="connsiteY70" fmla="*/ 8295 h 9995"/>
              <a:gd name="connsiteX71" fmla="*/ 5470 w 9759"/>
              <a:gd name="connsiteY71" fmla="*/ 8169 h 9995"/>
              <a:gd name="connsiteX72" fmla="*/ 5644 w 9759"/>
              <a:gd name="connsiteY72" fmla="*/ 8040 h 9995"/>
              <a:gd name="connsiteX73" fmla="*/ 5820 w 9759"/>
              <a:gd name="connsiteY73" fmla="*/ 7904 h 9995"/>
              <a:gd name="connsiteX74" fmla="*/ 5995 w 9759"/>
              <a:gd name="connsiteY74" fmla="*/ 7768 h 9995"/>
              <a:gd name="connsiteX75" fmla="*/ 6164 w 9759"/>
              <a:gd name="connsiteY75" fmla="*/ 7625 h 9995"/>
              <a:gd name="connsiteX76" fmla="*/ 6333 w 9759"/>
              <a:gd name="connsiteY76" fmla="*/ 7480 h 9995"/>
              <a:gd name="connsiteX77" fmla="*/ 6496 w 9759"/>
              <a:gd name="connsiteY77" fmla="*/ 7329 h 9995"/>
              <a:gd name="connsiteX78" fmla="*/ 6658 w 9759"/>
              <a:gd name="connsiteY78" fmla="*/ 7179 h 9995"/>
              <a:gd name="connsiteX79" fmla="*/ 6814 w 9759"/>
              <a:gd name="connsiteY79" fmla="*/ 7025 h 9995"/>
              <a:gd name="connsiteX80" fmla="*/ 6972 w 9759"/>
              <a:gd name="connsiteY80" fmla="*/ 6862 h 9995"/>
              <a:gd name="connsiteX81" fmla="*/ 7123 w 9759"/>
              <a:gd name="connsiteY81" fmla="*/ 6697 h 9995"/>
              <a:gd name="connsiteX82" fmla="*/ 7270 w 9759"/>
              <a:gd name="connsiteY82" fmla="*/ 6535 h 9995"/>
              <a:gd name="connsiteX83" fmla="*/ 7415 w 9759"/>
              <a:gd name="connsiteY83" fmla="*/ 6364 h 9995"/>
              <a:gd name="connsiteX84" fmla="*/ 7556 w 9759"/>
              <a:gd name="connsiteY84" fmla="*/ 6189 h 9995"/>
              <a:gd name="connsiteX85" fmla="*/ 7695 w 9759"/>
              <a:gd name="connsiteY85" fmla="*/ 6016 h 9995"/>
              <a:gd name="connsiteX86" fmla="*/ 7829 w 9759"/>
              <a:gd name="connsiteY86" fmla="*/ 5836 h 9995"/>
              <a:gd name="connsiteX87" fmla="*/ 7963 w 9759"/>
              <a:gd name="connsiteY87" fmla="*/ 5653 h 9995"/>
              <a:gd name="connsiteX88" fmla="*/ 8085 w 9759"/>
              <a:gd name="connsiteY88" fmla="*/ 5468 h 9995"/>
              <a:gd name="connsiteX89" fmla="*/ 8207 w 9759"/>
              <a:gd name="connsiteY89" fmla="*/ 5278 h 9995"/>
              <a:gd name="connsiteX90" fmla="*/ 8330 w 9759"/>
              <a:gd name="connsiteY90" fmla="*/ 5090 h 9995"/>
              <a:gd name="connsiteX91" fmla="*/ 8445 w 9759"/>
              <a:gd name="connsiteY91" fmla="*/ 4893 h 9995"/>
              <a:gd name="connsiteX92" fmla="*/ 8556 w 9759"/>
              <a:gd name="connsiteY92" fmla="*/ 4700 h 9995"/>
              <a:gd name="connsiteX93" fmla="*/ 8665 w 9759"/>
              <a:gd name="connsiteY93" fmla="*/ 4500 h 9995"/>
              <a:gd name="connsiteX94" fmla="*/ 8765 w 9759"/>
              <a:gd name="connsiteY94" fmla="*/ 4294 h 9995"/>
              <a:gd name="connsiteX95" fmla="*/ 8864 w 9759"/>
              <a:gd name="connsiteY95" fmla="*/ 4090 h 9995"/>
              <a:gd name="connsiteX96" fmla="*/ 8963 w 9759"/>
              <a:gd name="connsiteY96" fmla="*/ 3885 h 9995"/>
              <a:gd name="connsiteX97" fmla="*/ 9055 w 9759"/>
              <a:gd name="connsiteY97" fmla="*/ 3674 h 9995"/>
              <a:gd name="connsiteX98" fmla="*/ 9138 w 9759"/>
              <a:gd name="connsiteY98" fmla="*/ 3464 h 9995"/>
              <a:gd name="connsiteX99" fmla="*/ 9224 w 9759"/>
              <a:gd name="connsiteY99" fmla="*/ 3248 h 9995"/>
              <a:gd name="connsiteX100" fmla="*/ 9300 w 9759"/>
              <a:gd name="connsiteY100" fmla="*/ 3030 h 9995"/>
              <a:gd name="connsiteX101" fmla="*/ 9375 w 9759"/>
              <a:gd name="connsiteY101" fmla="*/ 2816 h 9995"/>
              <a:gd name="connsiteX102" fmla="*/ 9444 w 9759"/>
              <a:gd name="connsiteY102" fmla="*/ 2593 h 9995"/>
              <a:gd name="connsiteX103" fmla="*/ 9507 w 9759"/>
              <a:gd name="connsiteY103" fmla="*/ 2369 h 9995"/>
              <a:gd name="connsiteX104" fmla="*/ 9567 w 9759"/>
              <a:gd name="connsiteY104" fmla="*/ 2143 h 9995"/>
              <a:gd name="connsiteX105" fmla="*/ 9624 w 9759"/>
              <a:gd name="connsiteY105" fmla="*/ 1918 h 9995"/>
              <a:gd name="connsiteX106" fmla="*/ 9673 w 9759"/>
              <a:gd name="connsiteY106" fmla="*/ 1690 h 9995"/>
              <a:gd name="connsiteX107" fmla="*/ 9719 w 9759"/>
              <a:gd name="connsiteY107" fmla="*/ 1458 h 9995"/>
              <a:gd name="connsiteX108" fmla="*/ 9759 w 9759"/>
              <a:gd name="connsiteY108" fmla="*/ 1222 h 9995"/>
              <a:gd name="connsiteX109" fmla="*/ 6575 w 9759"/>
              <a:gd name="connsiteY109" fmla="*/ 1876 h 9995"/>
              <a:gd name="connsiteX110" fmla="*/ 3916 w 9759"/>
              <a:gd name="connsiteY110" fmla="*/ 0 h 9995"/>
              <a:gd name="connsiteX0" fmla="*/ 3777 w 9764"/>
              <a:gd name="connsiteY0" fmla="*/ 0 h 9994"/>
              <a:gd name="connsiteX1" fmla="*/ 3777 w 9764"/>
              <a:gd name="connsiteY1" fmla="*/ 0 h 9994"/>
              <a:gd name="connsiteX2" fmla="*/ 3765 w 9764"/>
              <a:gd name="connsiteY2" fmla="*/ 99 h 9994"/>
              <a:gd name="connsiteX3" fmla="*/ 3745 w 9764"/>
              <a:gd name="connsiteY3" fmla="*/ 201 h 9994"/>
              <a:gd name="connsiteX4" fmla="*/ 3728 w 9764"/>
              <a:gd name="connsiteY4" fmla="*/ 300 h 9994"/>
              <a:gd name="connsiteX5" fmla="*/ 3706 w 9764"/>
              <a:gd name="connsiteY5" fmla="*/ 394 h 9994"/>
              <a:gd name="connsiteX6" fmla="*/ 3681 w 9764"/>
              <a:gd name="connsiteY6" fmla="*/ 492 h 9994"/>
              <a:gd name="connsiteX7" fmla="*/ 3655 w 9764"/>
              <a:gd name="connsiteY7" fmla="*/ 587 h 9994"/>
              <a:gd name="connsiteX8" fmla="*/ 3631 w 9764"/>
              <a:gd name="connsiteY8" fmla="*/ 683 h 9994"/>
              <a:gd name="connsiteX9" fmla="*/ 3603 w 9764"/>
              <a:gd name="connsiteY9" fmla="*/ 778 h 9994"/>
              <a:gd name="connsiteX10" fmla="*/ 3571 w 9764"/>
              <a:gd name="connsiteY10" fmla="*/ 870 h 9994"/>
              <a:gd name="connsiteX11" fmla="*/ 3536 w 9764"/>
              <a:gd name="connsiteY11" fmla="*/ 961 h 9994"/>
              <a:gd name="connsiteX12" fmla="*/ 3504 w 9764"/>
              <a:gd name="connsiteY12" fmla="*/ 1054 h 9994"/>
              <a:gd name="connsiteX13" fmla="*/ 3466 w 9764"/>
              <a:gd name="connsiteY13" fmla="*/ 1146 h 9994"/>
              <a:gd name="connsiteX14" fmla="*/ 3424 w 9764"/>
              <a:gd name="connsiteY14" fmla="*/ 1233 h 9994"/>
              <a:gd name="connsiteX15" fmla="*/ 3384 w 9764"/>
              <a:gd name="connsiteY15" fmla="*/ 1319 h 9994"/>
              <a:gd name="connsiteX16" fmla="*/ 3343 w 9764"/>
              <a:gd name="connsiteY16" fmla="*/ 1406 h 9994"/>
              <a:gd name="connsiteX17" fmla="*/ 3295 w 9764"/>
              <a:gd name="connsiteY17" fmla="*/ 1496 h 9994"/>
              <a:gd name="connsiteX18" fmla="*/ 3253 w 9764"/>
              <a:gd name="connsiteY18" fmla="*/ 1580 h 9994"/>
              <a:gd name="connsiteX19" fmla="*/ 3205 w 9764"/>
              <a:gd name="connsiteY19" fmla="*/ 1665 h 9994"/>
              <a:gd name="connsiteX20" fmla="*/ 3155 w 9764"/>
              <a:gd name="connsiteY20" fmla="*/ 1742 h 9994"/>
              <a:gd name="connsiteX21" fmla="*/ 3100 w 9764"/>
              <a:gd name="connsiteY21" fmla="*/ 1824 h 9994"/>
              <a:gd name="connsiteX22" fmla="*/ 3052 w 9764"/>
              <a:gd name="connsiteY22" fmla="*/ 1903 h 9994"/>
              <a:gd name="connsiteX23" fmla="*/ 2996 w 9764"/>
              <a:gd name="connsiteY23" fmla="*/ 1987 h 9994"/>
              <a:gd name="connsiteX24" fmla="*/ 2939 w 9764"/>
              <a:gd name="connsiteY24" fmla="*/ 2060 h 9994"/>
              <a:gd name="connsiteX25" fmla="*/ 2878 w 9764"/>
              <a:gd name="connsiteY25" fmla="*/ 2134 h 9994"/>
              <a:gd name="connsiteX26" fmla="*/ 2818 w 9764"/>
              <a:gd name="connsiteY26" fmla="*/ 2211 h 9994"/>
              <a:gd name="connsiteX27" fmla="*/ 2758 w 9764"/>
              <a:gd name="connsiteY27" fmla="*/ 2283 h 9994"/>
              <a:gd name="connsiteX28" fmla="*/ 2694 w 9764"/>
              <a:gd name="connsiteY28" fmla="*/ 2355 h 9994"/>
              <a:gd name="connsiteX29" fmla="*/ 2630 w 9764"/>
              <a:gd name="connsiteY29" fmla="*/ 2428 h 9994"/>
              <a:gd name="connsiteX30" fmla="*/ 2567 w 9764"/>
              <a:gd name="connsiteY30" fmla="*/ 2496 h 9994"/>
              <a:gd name="connsiteX31" fmla="*/ 2496 w 9764"/>
              <a:gd name="connsiteY31" fmla="*/ 2563 h 9994"/>
              <a:gd name="connsiteX32" fmla="*/ 2429 w 9764"/>
              <a:gd name="connsiteY32" fmla="*/ 2628 h 9994"/>
              <a:gd name="connsiteX33" fmla="*/ 2358 w 9764"/>
              <a:gd name="connsiteY33" fmla="*/ 2692 h 9994"/>
              <a:gd name="connsiteX34" fmla="*/ 2290 w 9764"/>
              <a:gd name="connsiteY34" fmla="*/ 2755 h 9994"/>
              <a:gd name="connsiteX35" fmla="*/ 2212 w 9764"/>
              <a:gd name="connsiteY35" fmla="*/ 2819 h 9994"/>
              <a:gd name="connsiteX36" fmla="*/ 2140 w 9764"/>
              <a:gd name="connsiteY36" fmla="*/ 2874 h 9994"/>
              <a:gd name="connsiteX37" fmla="*/ 2064 w 9764"/>
              <a:gd name="connsiteY37" fmla="*/ 2935 h 9994"/>
              <a:gd name="connsiteX38" fmla="*/ 1987 w 9764"/>
              <a:gd name="connsiteY38" fmla="*/ 2990 h 9994"/>
              <a:gd name="connsiteX39" fmla="*/ 1908 w 9764"/>
              <a:gd name="connsiteY39" fmla="*/ 3044 h 9994"/>
              <a:gd name="connsiteX40" fmla="*/ 1829 w 9764"/>
              <a:gd name="connsiteY40" fmla="*/ 3099 h 9994"/>
              <a:gd name="connsiteX41" fmla="*/ 1751 w 9764"/>
              <a:gd name="connsiteY41" fmla="*/ 3151 h 9994"/>
              <a:gd name="connsiteX42" fmla="*/ 1668 w 9764"/>
              <a:gd name="connsiteY42" fmla="*/ 3198 h 9994"/>
              <a:gd name="connsiteX43" fmla="*/ 1584 w 9764"/>
              <a:gd name="connsiteY43" fmla="*/ 3245 h 9994"/>
              <a:gd name="connsiteX44" fmla="*/ 1738 w 9764"/>
              <a:gd name="connsiteY44" fmla="*/ 6581 h 9994"/>
              <a:gd name="connsiteX45" fmla="*/ 0 w 9764"/>
              <a:gd name="connsiteY45" fmla="*/ 9994 h 9994"/>
              <a:gd name="connsiteX46" fmla="*/ 237 w 9764"/>
              <a:gd name="connsiteY46" fmla="*/ 9981 h 9994"/>
              <a:gd name="connsiteX47" fmla="*/ 471 w 9764"/>
              <a:gd name="connsiteY47" fmla="*/ 9959 h 9994"/>
              <a:gd name="connsiteX48" fmla="*/ 706 w 9764"/>
              <a:gd name="connsiteY48" fmla="*/ 9937 h 9994"/>
              <a:gd name="connsiteX49" fmla="*/ 940 w 9764"/>
              <a:gd name="connsiteY49" fmla="*/ 9904 h 9994"/>
              <a:gd name="connsiteX50" fmla="*/ 1171 w 9764"/>
              <a:gd name="connsiteY50" fmla="*/ 9871 h 9994"/>
              <a:gd name="connsiteX51" fmla="*/ 1402 w 9764"/>
              <a:gd name="connsiteY51" fmla="*/ 9830 h 9994"/>
              <a:gd name="connsiteX52" fmla="*/ 1626 w 9764"/>
              <a:gd name="connsiteY52" fmla="*/ 9784 h 9994"/>
              <a:gd name="connsiteX53" fmla="*/ 1860 w 9764"/>
              <a:gd name="connsiteY53" fmla="*/ 9737 h 9994"/>
              <a:gd name="connsiteX54" fmla="*/ 2078 w 9764"/>
              <a:gd name="connsiteY54" fmla="*/ 9679 h 9994"/>
              <a:gd name="connsiteX55" fmla="*/ 2301 w 9764"/>
              <a:gd name="connsiteY55" fmla="*/ 9622 h 9994"/>
              <a:gd name="connsiteX56" fmla="*/ 2522 w 9764"/>
              <a:gd name="connsiteY56" fmla="*/ 9559 h 9994"/>
              <a:gd name="connsiteX57" fmla="*/ 2741 w 9764"/>
              <a:gd name="connsiteY57" fmla="*/ 9488 h 9994"/>
              <a:gd name="connsiteX58" fmla="*/ 2953 w 9764"/>
              <a:gd name="connsiteY58" fmla="*/ 9411 h 9994"/>
              <a:gd name="connsiteX59" fmla="*/ 3166 w 9764"/>
              <a:gd name="connsiteY59" fmla="*/ 9336 h 9994"/>
              <a:gd name="connsiteX60" fmla="*/ 3381 w 9764"/>
              <a:gd name="connsiteY60" fmla="*/ 9250 h 9994"/>
              <a:gd name="connsiteX61" fmla="*/ 3593 w 9764"/>
              <a:gd name="connsiteY61" fmla="*/ 9165 h 9994"/>
              <a:gd name="connsiteX62" fmla="*/ 3797 w 9764"/>
              <a:gd name="connsiteY62" fmla="*/ 9069 h 9994"/>
              <a:gd name="connsiteX63" fmla="*/ 4001 w 9764"/>
              <a:gd name="connsiteY63" fmla="*/ 8972 h 9994"/>
              <a:gd name="connsiteX64" fmla="*/ 4207 w 9764"/>
              <a:gd name="connsiteY64" fmla="*/ 8869 h 9994"/>
              <a:gd name="connsiteX65" fmla="*/ 4405 w 9764"/>
              <a:gd name="connsiteY65" fmla="*/ 8764 h 9994"/>
              <a:gd name="connsiteX66" fmla="*/ 4603 w 9764"/>
              <a:gd name="connsiteY66" fmla="*/ 8656 h 9994"/>
              <a:gd name="connsiteX67" fmla="*/ 4800 w 9764"/>
              <a:gd name="connsiteY67" fmla="*/ 8540 h 9994"/>
              <a:gd name="connsiteX68" fmla="*/ 4992 w 9764"/>
              <a:gd name="connsiteY68" fmla="*/ 8423 h 9994"/>
              <a:gd name="connsiteX69" fmla="*/ 5181 w 9764"/>
              <a:gd name="connsiteY69" fmla="*/ 8299 h 9994"/>
              <a:gd name="connsiteX70" fmla="*/ 5369 w 9764"/>
              <a:gd name="connsiteY70" fmla="*/ 8173 h 9994"/>
              <a:gd name="connsiteX71" fmla="*/ 5547 w 9764"/>
              <a:gd name="connsiteY71" fmla="*/ 8044 h 9994"/>
              <a:gd name="connsiteX72" fmla="*/ 5728 w 9764"/>
              <a:gd name="connsiteY72" fmla="*/ 7908 h 9994"/>
              <a:gd name="connsiteX73" fmla="*/ 5907 w 9764"/>
              <a:gd name="connsiteY73" fmla="*/ 7772 h 9994"/>
              <a:gd name="connsiteX74" fmla="*/ 6080 w 9764"/>
              <a:gd name="connsiteY74" fmla="*/ 7629 h 9994"/>
              <a:gd name="connsiteX75" fmla="*/ 6253 w 9764"/>
              <a:gd name="connsiteY75" fmla="*/ 7484 h 9994"/>
              <a:gd name="connsiteX76" fmla="*/ 6420 w 9764"/>
              <a:gd name="connsiteY76" fmla="*/ 7333 h 9994"/>
              <a:gd name="connsiteX77" fmla="*/ 6586 w 9764"/>
              <a:gd name="connsiteY77" fmla="*/ 7183 h 9994"/>
              <a:gd name="connsiteX78" fmla="*/ 6746 w 9764"/>
              <a:gd name="connsiteY78" fmla="*/ 7029 h 9994"/>
              <a:gd name="connsiteX79" fmla="*/ 6908 w 9764"/>
              <a:gd name="connsiteY79" fmla="*/ 6865 h 9994"/>
              <a:gd name="connsiteX80" fmla="*/ 7063 w 9764"/>
              <a:gd name="connsiteY80" fmla="*/ 6700 h 9994"/>
              <a:gd name="connsiteX81" fmla="*/ 7214 w 9764"/>
              <a:gd name="connsiteY81" fmla="*/ 6538 h 9994"/>
              <a:gd name="connsiteX82" fmla="*/ 7362 w 9764"/>
              <a:gd name="connsiteY82" fmla="*/ 6367 h 9994"/>
              <a:gd name="connsiteX83" fmla="*/ 7507 w 9764"/>
              <a:gd name="connsiteY83" fmla="*/ 6192 h 9994"/>
              <a:gd name="connsiteX84" fmla="*/ 7649 w 9764"/>
              <a:gd name="connsiteY84" fmla="*/ 6019 h 9994"/>
              <a:gd name="connsiteX85" fmla="*/ 7786 w 9764"/>
              <a:gd name="connsiteY85" fmla="*/ 5839 h 9994"/>
              <a:gd name="connsiteX86" fmla="*/ 7924 w 9764"/>
              <a:gd name="connsiteY86" fmla="*/ 5656 h 9994"/>
              <a:gd name="connsiteX87" fmla="*/ 8049 w 9764"/>
              <a:gd name="connsiteY87" fmla="*/ 5471 h 9994"/>
              <a:gd name="connsiteX88" fmla="*/ 8174 w 9764"/>
              <a:gd name="connsiteY88" fmla="*/ 5281 h 9994"/>
              <a:gd name="connsiteX89" fmla="*/ 8300 w 9764"/>
              <a:gd name="connsiteY89" fmla="*/ 5093 h 9994"/>
              <a:gd name="connsiteX90" fmla="*/ 8418 w 9764"/>
              <a:gd name="connsiteY90" fmla="*/ 4895 h 9994"/>
              <a:gd name="connsiteX91" fmla="*/ 8531 w 9764"/>
              <a:gd name="connsiteY91" fmla="*/ 4702 h 9994"/>
              <a:gd name="connsiteX92" fmla="*/ 8643 w 9764"/>
              <a:gd name="connsiteY92" fmla="*/ 4502 h 9994"/>
              <a:gd name="connsiteX93" fmla="*/ 8745 w 9764"/>
              <a:gd name="connsiteY93" fmla="*/ 4296 h 9994"/>
              <a:gd name="connsiteX94" fmla="*/ 8847 w 9764"/>
              <a:gd name="connsiteY94" fmla="*/ 4092 h 9994"/>
              <a:gd name="connsiteX95" fmla="*/ 8948 w 9764"/>
              <a:gd name="connsiteY95" fmla="*/ 3887 h 9994"/>
              <a:gd name="connsiteX96" fmla="*/ 9043 w 9764"/>
              <a:gd name="connsiteY96" fmla="*/ 3676 h 9994"/>
              <a:gd name="connsiteX97" fmla="*/ 9128 w 9764"/>
              <a:gd name="connsiteY97" fmla="*/ 3466 h 9994"/>
              <a:gd name="connsiteX98" fmla="*/ 9216 w 9764"/>
              <a:gd name="connsiteY98" fmla="*/ 3250 h 9994"/>
              <a:gd name="connsiteX99" fmla="*/ 9294 w 9764"/>
              <a:gd name="connsiteY99" fmla="*/ 3032 h 9994"/>
              <a:gd name="connsiteX100" fmla="*/ 9371 w 9764"/>
              <a:gd name="connsiteY100" fmla="*/ 2817 h 9994"/>
              <a:gd name="connsiteX101" fmla="*/ 9441 w 9764"/>
              <a:gd name="connsiteY101" fmla="*/ 2594 h 9994"/>
              <a:gd name="connsiteX102" fmla="*/ 9506 w 9764"/>
              <a:gd name="connsiteY102" fmla="*/ 2370 h 9994"/>
              <a:gd name="connsiteX103" fmla="*/ 9567 w 9764"/>
              <a:gd name="connsiteY103" fmla="*/ 2144 h 9994"/>
              <a:gd name="connsiteX104" fmla="*/ 9626 w 9764"/>
              <a:gd name="connsiteY104" fmla="*/ 1919 h 9994"/>
              <a:gd name="connsiteX105" fmla="*/ 9676 w 9764"/>
              <a:gd name="connsiteY105" fmla="*/ 1691 h 9994"/>
              <a:gd name="connsiteX106" fmla="*/ 9723 w 9764"/>
              <a:gd name="connsiteY106" fmla="*/ 1459 h 9994"/>
              <a:gd name="connsiteX107" fmla="*/ 9764 w 9764"/>
              <a:gd name="connsiteY107" fmla="*/ 1223 h 9994"/>
              <a:gd name="connsiteX108" fmla="*/ 6501 w 9764"/>
              <a:gd name="connsiteY108" fmla="*/ 1877 h 9994"/>
              <a:gd name="connsiteX109" fmla="*/ 3777 w 9764"/>
              <a:gd name="connsiteY109" fmla="*/ 0 h 9994"/>
              <a:gd name="connsiteX0" fmla="*/ 3692 w 9824"/>
              <a:gd name="connsiteY0" fmla="*/ 0 h 10233"/>
              <a:gd name="connsiteX1" fmla="*/ 3692 w 9824"/>
              <a:gd name="connsiteY1" fmla="*/ 0 h 10233"/>
              <a:gd name="connsiteX2" fmla="*/ 3680 w 9824"/>
              <a:gd name="connsiteY2" fmla="*/ 99 h 10233"/>
              <a:gd name="connsiteX3" fmla="*/ 3660 w 9824"/>
              <a:gd name="connsiteY3" fmla="*/ 201 h 10233"/>
              <a:gd name="connsiteX4" fmla="*/ 3642 w 9824"/>
              <a:gd name="connsiteY4" fmla="*/ 300 h 10233"/>
              <a:gd name="connsiteX5" fmla="*/ 3620 w 9824"/>
              <a:gd name="connsiteY5" fmla="*/ 394 h 10233"/>
              <a:gd name="connsiteX6" fmla="*/ 3594 w 9824"/>
              <a:gd name="connsiteY6" fmla="*/ 492 h 10233"/>
              <a:gd name="connsiteX7" fmla="*/ 3567 w 9824"/>
              <a:gd name="connsiteY7" fmla="*/ 587 h 10233"/>
              <a:gd name="connsiteX8" fmla="*/ 3543 w 9824"/>
              <a:gd name="connsiteY8" fmla="*/ 683 h 10233"/>
              <a:gd name="connsiteX9" fmla="*/ 3514 w 9824"/>
              <a:gd name="connsiteY9" fmla="*/ 778 h 10233"/>
              <a:gd name="connsiteX10" fmla="*/ 3481 w 9824"/>
              <a:gd name="connsiteY10" fmla="*/ 871 h 10233"/>
              <a:gd name="connsiteX11" fmla="*/ 3445 w 9824"/>
              <a:gd name="connsiteY11" fmla="*/ 962 h 10233"/>
              <a:gd name="connsiteX12" fmla="*/ 3413 w 9824"/>
              <a:gd name="connsiteY12" fmla="*/ 1055 h 10233"/>
              <a:gd name="connsiteX13" fmla="*/ 3374 w 9824"/>
              <a:gd name="connsiteY13" fmla="*/ 1147 h 10233"/>
              <a:gd name="connsiteX14" fmla="*/ 3331 w 9824"/>
              <a:gd name="connsiteY14" fmla="*/ 1234 h 10233"/>
              <a:gd name="connsiteX15" fmla="*/ 3290 w 9824"/>
              <a:gd name="connsiteY15" fmla="*/ 1320 h 10233"/>
              <a:gd name="connsiteX16" fmla="*/ 3248 w 9824"/>
              <a:gd name="connsiteY16" fmla="*/ 1407 h 10233"/>
              <a:gd name="connsiteX17" fmla="*/ 3199 w 9824"/>
              <a:gd name="connsiteY17" fmla="*/ 1497 h 10233"/>
              <a:gd name="connsiteX18" fmla="*/ 3156 w 9824"/>
              <a:gd name="connsiteY18" fmla="*/ 1581 h 10233"/>
              <a:gd name="connsiteX19" fmla="*/ 3106 w 9824"/>
              <a:gd name="connsiteY19" fmla="*/ 1666 h 10233"/>
              <a:gd name="connsiteX20" fmla="*/ 3055 w 9824"/>
              <a:gd name="connsiteY20" fmla="*/ 1743 h 10233"/>
              <a:gd name="connsiteX21" fmla="*/ 2999 w 9824"/>
              <a:gd name="connsiteY21" fmla="*/ 1825 h 10233"/>
              <a:gd name="connsiteX22" fmla="*/ 2950 w 9824"/>
              <a:gd name="connsiteY22" fmla="*/ 1904 h 10233"/>
              <a:gd name="connsiteX23" fmla="*/ 2892 w 9824"/>
              <a:gd name="connsiteY23" fmla="*/ 1988 h 10233"/>
              <a:gd name="connsiteX24" fmla="*/ 2834 w 9824"/>
              <a:gd name="connsiteY24" fmla="*/ 2061 h 10233"/>
              <a:gd name="connsiteX25" fmla="*/ 2772 w 9824"/>
              <a:gd name="connsiteY25" fmla="*/ 2135 h 10233"/>
              <a:gd name="connsiteX26" fmla="*/ 2710 w 9824"/>
              <a:gd name="connsiteY26" fmla="*/ 2212 h 10233"/>
              <a:gd name="connsiteX27" fmla="*/ 2649 w 9824"/>
              <a:gd name="connsiteY27" fmla="*/ 2284 h 10233"/>
              <a:gd name="connsiteX28" fmla="*/ 2583 w 9824"/>
              <a:gd name="connsiteY28" fmla="*/ 2356 h 10233"/>
              <a:gd name="connsiteX29" fmla="*/ 2518 w 9824"/>
              <a:gd name="connsiteY29" fmla="*/ 2429 h 10233"/>
              <a:gd name="connsiteX30" fmla="*/ 2453 w 9824"/>
              <a:gd name="connsiteY30" fmla="*/ 2497 h 10233"/>
              <a:gd name="connsiteX31" fmla="*/ 2380 w 9824"/>
              <a:gd name="connsiteY31" fmla="*/ 2565 h 10233"/>
              <a:gd name="connsiteX32" fmla="*/ 2312 w 9824"/>
              <a:gd name="connsiteY32" fmla="*/ 2630 h 10233"/>
              <a:gd name="connsiteX33" fmla="*/ 2239 w 9824"/>
              <a:gd name="connsiteY33" fmla="*/ 2694 h 10233"/>
              <a:gd name="connsiteX34" fmla="*/ 2169 w 9824"/>
              <a:gd name="connsiteY34" fmla="*/ 2757 h 10233"/>
              <a:gd name="connsiteX35" fmla="*/ 2089 w 9824"/>
              <a:gd name="connsiteY35" fmla="*/ 2821 h 10233"/>
              <a:gd name="connsiteX36" fmla="*/ 2016 w 9824"/>
              <a:gd name="connsiteY36" fmla="*/ 2876 h 10233"/>
              <a:gd name="connsiteX37" fmla="*/ 1938 w 9824"/>
              <a:gd name="connsiteY37" fmla="*/ 2937 h 10233"/>
              <a:gd name="connsiteX38" fmla="*/ 1859 w 9824"/>
              <a:gd name="connsiteY38" fmla="*/ 2992 h 10233"/>
              <a:gd name="connsiteX39" fmla="*/ 1778 w 9824"/>
              <a:gd name="connsiteY39" fmla="*/ 3046 h 10233"/>
              <a:gd name="connsiteX40" fmla="*/ 1697 w 9824"/>
              <a:gd name="connsiteY40" fmla="*/ 3101 h 10233"/>
              <a:gd name="connsiteX41" fmla="*/ 1617 w 9824"/>
              <a:gd name="connsiteY41" fmla="*/ 3153 h 10233"/>
              <a:gd name="connsiteX42" fmla="*/ 1532 w 9824"/>
              <a:gd name="connsiteY42" fmla="*/ 3200 h 10233"/>
              <a:gd name="connsiteX43" fmla="*/ 1446 w 9824"/>
              <a:gd name="connsiteY43" fmla="*/ 3247 h 10233"/>
              <a:gd name="connsiteX44" fmla="*/ 1604 w 9824"/>
              <a:gd name="connsiteY44" fmla="*/ 6585 h 10233"/>
              <a:gd name="connsiteX45" fmla="*/ 67 w 9824"/>
              <a:gd name="connsiteY45" fmla="*/ 9987 h 10233"/>
              <a:gd name="connsiteX46" fmla="*/ 306 w 9824"/>
              <a:gd name="connsiteY46" fmla="*/ 9965 h 10233"/>
              <a:gd name="connsiteX47" fmla="*/ 547 w 9824"/>
              <a:gd name="connsiteY47" fmla="*/ 9943 h 10233"/>
              <a:gd name="connsiteX48" fmla="*/ 787 w 9824"/>
              <a:gd name="connsiteY48" fmla="*/ 9910 h 10233"/>
              <a:gd name="connsiteX49" fmla="*/ 1023 w 9824"/>
              <a:gd name="connsiteY49" fmla="*/ 9877 h 10233"/>
              <a:gd name="connsiteX50" fmla="*/ 1260 w 9824"/>
              <a:gd name="connsiteY50" fmla="*/ 9836 h 10233"/>
              <a:gd name="connsiteX51" fmla="*/ 1489 w 9824"/>
              <a:gd name="connsiteY51" fmla="*/ 9790 h 10233"/>
              <a:gd name="connsiteX52" fmla="*/ 1729 w 9824"/>
              <a:gd name="connsiteY52" fmla="*/ 9743 h 10233"/>
              <a:gd name="connsiteX53" fmla="*/ 1952 w 9824"/>
              <a:gd name="connsiteY53" fmla="*/ 9685 h 10233"/>
              <a:gd name="connsiteX54" fmla="*/ 2181 w 9824"/>
              <a:gd name="connsiteY54" fmla="*/ 9628 h 10233"/>
              <a:gd name="connsiteX55" fmla="*/ 2407 w 9824"/>
              <a:gd name="connsiteY55" fmla="*/ 9565 h 10233"/>
              <a:gd name="connsiteX56" fmla="*/ 2631 w 9824"/>
              <a:gd name="connsiteY56" fmla="*/ 9494 h 10233"/>
              <a:gd name="connsiteX57" fmla="*/ 2848 w 9824"/>
              <a:gd name="connsiteY57" fmla="*/ 9417 h 10233"/>
              <a:gd name="connsiteX58" fmla="*/ 3067 w 9824"/>
              <a:gd name="connsiteY58" fmla="*/ 9342 h 10233"/>
              <a:gd name="connsiteX59" fmla="*/ 3287 w 9824"/>
              <a:gd name="connsiteY59" fmla="*/ 9256 h 10233"/>
              <a:gd name="connsiteX60" fmla="*/ 3504 w 9824"/>
              <a:gd name="connsiteY60" fmla="*/ 9171 h 10233"/>
              <a:gd name="connsiteX61" fmla="*/ 3713 w 9824"/>
              <a:gd name="connsiteY61" fmla="*/ 9074 h 10233"/>
              <a:gd name="connsiteX62" fmla="*/ 3922 w 9824"/>
              <a:gd name="connsiteY62" fmla="*/ 8977 h 10233"/>
              <a:gd name="connsiteX63" fmla="*/ 4133 w 9824"/>
              <a:gd name="connsiteY63" fmla="*/ 8874 h 10233"/>
              <a:gd name="connsiteX64" fmla="*/ 4335 w 9824"/>
              <a:gd name="connsiteY64" fmla="*/ 8769 h 10233"/>
              <a:gd name="connsiteX65" fmla="*/ 4538 w 9824"/>
              <a:gd name="connsiteY65" fmla="*/ 8661 h 10233"/>
              <a:gd name="connsiteX66" fmla="*/ 4740 w 9824"/>
              <a:gd name="connsiteY66" fmla="*/ 8545 h 10233"/>
              <a:gd name="connsiteX67" fmla="*/ 4937 w 9824"/>
              <a:gd name="connsiteY67" fmla="*/ 8428 h 10233"/>
              <a:gd name="connsiteX68" fmla="*/ 5130 w 9824"/>
              <a:gd name="connsiteY68" fmla="*/ 8304 h 10233"/>
              <a:gd name="connsiteX69" fmla="*/ 5323 w 9824"/>
              <a:gd name="connsiteY69" fmla="*/ 8178 h 10233"/>
              <a:gd name="connsiteX70" fmla="*/ 5505 w 9824"/>
              <a:gd name="connsiteY70" fmla="*/ 8049 h 10233"/>
              <a:gd name="connsiteX71" fmla="*/ 5690 w 9824"/>
              <a:gd name="connsiteY71" fmla="*/ 7913 h 10233"/>
              <a:gd name="connsiteX72" fmla="*/ 5874 w 9824"/>
              <a:gd name="connsiteY72" fmla="*/ 7777 h 10233"/>
              <a:gd name="connsiteX73" fmla="*/ 6051 w 9824"/>
              <a:gd name="connsiteY73" fmla="*/ 7634 h 10233"/>
              <a:gd name="connsiteX74" fmla="*/ 6228 w 9824"/>
              <a:gd name="connsiteY74" fmla="*/ 7488 h 10233"/>
              <a:gd name="connsiteX75" fmla="*/ 6399 w 9824"/>
              <a:gd name="connsiteY75" fmla="*/ 7337 h 10233"/>
              <a:gd name="connsiteX76" fmla="*/ 6569 w 9824"/>
              <a:gd name="connsiteY76" fmla="*/ 7187 h 10233"/>
              <a:gd name="connsiteX77" fmla="*/ 6733 w 9824"/>
              <a:gd name="connsiteY77" fmla="*/ 7033 h 10233"/>
              <a:gd name="connsiteX78" fmla="*/ 6899 w 9824"/>
              <a:gd name="connsiteY78" fmla="*/ 6869 h 10233"/>
              <a:gd name="connsiteX79" fmla="*/ 7058 w 9824"/>
              <a:gd name="connsiteY79" fmla="*/ 6704 h 10233"/>
              <a:gd name="connsiteX80" fmla="*/ 7212 w 9824"/>
              <a:gd name="connsiteY80" fmla="*/ 6542 h 10233"/>
              <a:gd name="connsiteX81" fmla="*/ 7364 w 9824"/>
              <a:gd name="connsiteY81" fmla="*/ 6371 h 10233"/>
              <a:gd name="connsiteX82" fmla="*/ 7512 w 9824"/>
              <a:gd name="connsiteY82" fmla="*/ 6196 h 10233"/>
              <a:gd name="connsiteX83" fmla="*/ 7658 w 9824"/>
              <a:gd name="connsiteY83" fmla="*/ 6023 h 10233"/>
              <a:gd name="connsiteX84" fmla="*/ 7798 w 9824"/>
              <a:gd name="connsiteY84" fmla="*/ 5843 h 10233"/>
              <a:gd name="connsiteX85" fmla="*/ 7940 w 9824"/>
              <a:gd name="connsiteY85" fmla="*/ 5659 h 10233"/>
              <a:gd name="connsiteX86" fmla="*/ 8068 w 9824"/>
              <a:gd name="connsiteY86" fmla="*/ 5474 h 10233"/>
              <a:gd name="connsiteX87" fmla="*/ 8196 w 9824"/>
              <a:gd name="connsiteY87" fmla="*/ 5284 h 10233"/>
              <a:gd name="connsiteX88" fmla="*/ 8325 w 9824"/>
              <a:gd name="connsiteY88" fmla="*/ 5096 h 10233"/>
              <a:gd name="connsiteX89" fmla="*/ 8445 w 9824"/>
              <a:gd name="connsiteY89" fmla="*/ 4898 h 10233"/>
              <a:gd name="connsiteX90" fmla="*/ 8561 w 9824"/>
              <a:gd name="connsiteY90" fmla="*/ 4705 h 10233"/>
              <a:gd name="connsiteX91" fmla="*/ 8676 w 9824"/>
              <a:gd name="connsiteY91" fmla="*/ 4505 h 10233"/>
              <a:gd name="connsiteX92" fmla="*/ 8780 w 9824"/>
              <a:gd name="connsiteY92" fmla="*/ 4299 h 10233"/>
              <a:gd name="connsiteX93" fmla="*/ 8885 w 9824"/>
              <a:gd name="connsiteY93" fmla="*/ 4094 h 10233"/>
              <a:gd name="connsiteX94" fmla="*/ 8988 w 9824"/>
              <a:gd name="connsiteY94" fmla="*/ 3889 h 10233"/>
              <a:gd name="connsiteX95" fmla="*/ 9086 w 9824"/>
              <a:gd name="connsiteY95" fmla="*/ 3678 h 10233"/>
              <a:gd name="connsiteX96" fmla="*/ 9173 w 9824"/>
              <a:gd name="connsiteY96" fmla="*/ 3468 h 10233"/>
              <a:gd name="connsiteX97" fmla="*/ 9263 w 9824"/>
              <a:gd name="connsiteY97" fmla="*/ 3252 h 10233"/>
              <a:gd name="connsiteX98" fmla="*/ 9343 w 9824"/>
              <a:gd name="connsiteY98" fmla="*/ 3034 h 10233"/>
              <a:gd name="connsiteX99" fmla="*/ 9422 w 9824"/>
              <a:gd name="connsiteY99" fmla="*/ 2819 h 10233"/>
              <a:gd name="connsiteX100" fmla="*/ 9493 w 9824"/>
              <a:gd name="connsiteY100" fmla="*/ 2596 h 10233"/>
              <a:gd name="connsiteX101" fmla="*/ 9560 w 9824"/>
              <a:gd name="connsiteY101" fmla="*/ 2371 h 10233"/>
              <a:gd name="connsiteX102" fmla="*/ 9622 w 9824"/>
              <a:gd name="connsiteY102" fmla="*/ 2145 h 10233"/>
              <a:gd name="connsiteX103" fmla="*/ 9683 w 9824"/>
              <a:gd name="connsiteY103" fmla="*/ 1920 h 10233"/>
              <a:gd name="connsiteX104" fmla="*/ 9734 w 9824"/>
              <a:gd name="connsiteY104" fmla="*/ 1692 h 10233"/>
              <a:gd name="connsiteX105" fmla="*/ 9782 w 9824"/>
              <a:gd name="connsiteY105" fmla="*/ 1460 h 10233"/>
              <a:gd name="connsiteX106" fmla="*/ 9824 w 9824"/>
              <a:gd name="connsiteY106" fmla="*/ 1224 h 10233"/>
              <a:gd name="connsiteX107" fmla="*/ 6482 w 9824"/>
              <a:gd name="connsiteY107" fmla="*/ 1878 h 10233"/>
              <a:gd name="connsiteX108" fmla="*/ 3692 w 9824"/>
              <a:gd name="connsiteY108" fmla="*/ 0 h 10233"/>
              <a:gd name="connsiteX0" fmla="*/ 3447 w 9689"/>
              <a:gd name="connsiteY0" fmla="*/ 0 h 9738"/>
              <a:gd name="connsiteX1" fmla="*/ 3447 w 9689"/>
              <a:gd name="connsiteY1" fmla="*/ 0 h 9738"/>
              <a:gd name="connsiteX2" fmla="*/ 3435 w 9689"/>
              <a:gd name="connsiteY2" fmla="*/ 97 h 9738"/>
              <a:gd name="connsiteX3" fmla="*/ 3415 w 9689"/>
              <a:gd name="connsiteY3" fmla="*/ 196 h 9738"/>
              <a:gd name="connsiteX4" fmla="*/ 3396 w 9689"/>
              <a:gd name="connsiteY4" fmla="*/ 293 h 9738"/>
              <a:gd name="connsiteX5" fmla="*/ 3374 w 9689"/>
              <a:gd name="connsiteY5" fmla="*/ 385 h 9738"/>
              <a:gd name="connsiteX6" fmla="*/ 3347 w 9689"/>
              <a:gd name="connsiteY6" fmla="*/ 481 h 9738"/>
              <a:gd name="connsiteX7" fmla="*/ 3320 w 9689"/>
              <a:gd name="connsiteY7" fmla="*/ 574 h 9738"/>
              <a:gd name="connsiteX8" fmla="*/ 3295 w 9689"/>
              <a:gd name="connsiteY8" fmla="*/ 667 h 9738"/>
              <a:gd name="connsiteX9" fmla="*/ 3266 w 9689"/>
              <a:gd name="connsiteY9" fmla="*/ 760 h 9738"/>
              <a:gd name="connsiteX10" fmla="*/ 3232 w 9689"/>
              <a:gd name="connsiteY10" fmla="*/ 851 h 9738"/>
              <a:gd name="connsiteX11" fmla="*/ 3196 w 9689"/>
              <a:gd name="connsiteY11" fmla="*/ 940 h 9738"/>
              <a:gd name="connsiteX12" fmla="*/ 3163 w 9689"/>
              <a:gd name="connsiteY12" fmla="*/ 1031 h 9738"/>
              <a:gd name="connsiteX13" fmla="*/ 3123 w 9689"/>
              <a:gd name="connsiteY13" fmla="*/ 1121 h 9738"/>
              <a:gd name="connsiteX14" fmla="*/ 3080 w 9689"/>
              <a:gd name="connsiteY14" fmla="*/ 1206 h 9738"/>
              <a:gd name="connsiteX15" fmla="*/ 3038 w 9689"/>
              <a:gd name="connsiteY15" fmla="*/ 1290 h 9738"/>
              <a:gd name="connsiteX16" fmla="*/ 2995 w 9689"/>
              <a:gd name="connsiteY16" fmla="*/ 1375 h 9738"/>
              <a:gd name="connsiteX17" fmla="*/ 2945 w 9689"/>
              <a:gd name="connsiteY17" fmla="*/ 1463 h 9738"/>
              <a:gd name="connsiteX18" fmla="*/ 2902 w 9689"/>
              <a:gd name="connsiteY18" fmla="*/ 1545 h 9738"/>
              <a:gd name="connsiteX19" fmla="*/ 2851 w 9689"/>
              <a:gd name="connsiteY19" fmla="*/ 1628 h 9738"/>
              <a:gd name="connsiteX20" fmla="*/ 2799 w 9689"/>
              <a:gd name="connsiteY20" fmla="*/ 1703 h 9738"/>
              <a:gd name="connsiteX21" fmla="*/ 2742 w 9689"/>
              <a:gd name="connsiteY21" fmla="*/ 1783 h 9738"/>
              <a:gd name="connsiteX22" fmla="*/ 2692 w 9689"/>
              <a:gd name="connsiteY22" fmla="*/ 1861 h 9738"/>
              <a:gd name="connsiteX23" fmla="*/ 2633 w 9689"/>
              <a:gd name="connsiteY23" fmla="*/ 1943 h 9738"/>
              <a:gd name="connsiteX24" fmla="*/ 2574 w 9689"/>
              <a:gd name="connsiteY24" fmla="*/ 2014 h 9738"/>
              <a:gd name="connsiteX25" fmla="*/ 2511 w 9689"/>
              <a:gd name="connsiteY25" fmla="*/ 2086 h 9738"/>
              <a:gd name="connsiteX26" fmla="*/ 2448 w 9689"/>
              <a:gd name="connsiteY26" fmla="*/ 2162 h 9738"/>
              <a:gd name="connsiteX27" fmla="*/ 2385 w 9689"/>
              <a:gd name="connsiteY27" fmla="*/ 2232 h 9738"/>
              <a:gd name="connsiteX28" fmla="*/ 2318 w 9689"/>
              <a:gd name="connsiteY28" fmla="*/ 2302 h 9738"/>
              <a:gd name="connsiteX29" fmla="*/ 2252 w 9689"/>
              <a:gd name="connsiteY29" fmla="*/ 2374 h 9738"/>
              <a:gd name="connsiteX30" fmla="*/ 2186 w 9689"/>
              <a:gd name="connsiteY30" fmla="*/ 2440 h 9738"/>
              <a:gd name="connsiteX31" fmla="*/ 2112 w 9689"/>
              <a:gd name="connsiteY31" fmla="*/ 2507 h 9738"/>
              <a:gd name="connsiteX32" fmla="*/ 2042 w 9689"/>
              <a:gd name="connsiteY32" fmla="*/ 2570 h 9738"/>
              <a:gd name="connsiteX33" fmla="*/ 1968 w 9689"/>
              <a:gd name="connsiteY33" fmla="*/ 2633 h 9738"/>
              <a:gd name="connsiteX34" fmla="*/ 1897 w 9689"/>
              <a:gd name="connsiteY34" fmla="*/ 2694 h 9738"/>
              <a:gd name="connsiteX35" fmla="*/ 1815 w 9689"/>
              <a:gd name="connsiteY35" fmla="*/ 2757 h 9738"/>
              <a:gd name="connsiteX36" fmla="*/ 1741 w 9689"/>
              <a:gd name="connsiteY36" fmla="*/ 2811 h 9738"/>
              <a:gd name="connsiteX37" fmla="*/ 1662 w 9689"/>
              <a:gd name="connsiteY37" fmla="*/ 2870 h 9738"/>
              <a:gd name="connsiteX38" fmla="*/ 1581 w 9689"/>
              <a:gd name="connsiteY38" fmla="*/ 2924 h 9738"/>
              <a:gd name="connsiteX39" fmla="*/ 1499 w 9689"/>
              <a:gd name="connsiteY39" fmla="*/ 2977 h 9738"/>
              <a:gd name="connsiteX40" fmla="*/ 1416 w 9689"/>
              <a:gd name="connsiteY40" fmla="*/ 3030 h 9738"/>
              <a:gd name="connsiteX41" fmla="*/ 1335 w 9689"/>
              <a:gd name="connsiteY41" fmla="*/ 3081 h 9738"/>
              <a:gd name="connsiteX42" fmla="*/ 1248 w 9689"/>
              <a:gd name="connsiteY42" fmla="*/ 3127 h 9738"/>
              <a:gd name="connsiteX43" fmla="*/ 1161 w 9689"/>
              <a:gd name="connsiteY43" fmla="*/ 3173 h 9738"/>
              <a:gd name="connsiteX44" fmla="*/ 1322 w 9689"/>
              <a:gd name="connsiteY44" fmla="*/ 6435 h 9738"/>
              <a:gd name="connsiteX45" fmla="*/ 0 w 9689"/>
              <a:gd name="connsiteY45" fmla="*/ 9738 h 9738"/>
              <a:gd name="connsiteX46" fmla="*/ 246 w 9689"/>
              <a:gd name="connsiteY46" fmla="*/ 9717 h 9738"/>
              <a:gd name="connsiteX47" fmla="*/ 490 w 9689"/>
              <a:gd name="connsiteY47" fmla="*/ 9684 h 9738"/>
              <a:gd name="connsiteX48" fmla="*/ 730 w 9689"/>
              <a:gd name="connsiteY48" fmla="*/ 9652 h 9738"/>
              <a:gd name="connsiteX49" fmla="*/ 972 w 9689"/>
              <a:gd name="connsiteY49" fmla="*/ 9612 h 9738"/>
              <a:gd name="connsiteX50" fmla="*/ 1205 w 9689"/>
              <a:gd name="connsiteY50" fmla="*/ 9567 h 9738"/>
              <a:gd name="connsiteX51" fmla="*/ 1449 w 9689"/>
              <a:gd name="connsiteY51" fmla="*/ 9521 h 9738"/>
              <a:gd name="connsiteX52" fmla="*/ 1676 w 9689"/>
              <a:gd name="connsiteY52" fmla="*/ 9464 h 9738"/>
              <a:gd name="connsiteX53" fmla="*/ 1909 w 9689"/>
              <a:gd name="connsiteY53" fmla="*/ 9409 h 9738"/>
              <a:gd name="connsiteX54" fmla="*/ 2139 w 9689"/>
              <a:gd name="connsiteY54" fmla="*/ 9347 h 9738"/>
              <a:gd name="connsiteX55" fmla="*/ 2367 w 9689"/>
              <a:gd name="connsiteY55" fmla="*/ 9278 h 9738"/>
              <a:gd name="connsiteX56" fmla="*/ 2588 w 9689"/>
              <a:gd name="connsiteY56" fmla="*/ 9203 h 9738"/>
              <a:gd name="connsiteX57" fmla="*/ 2811 w 9689"/>
              <a:gd name="connsiteY57" fmla="*/ 9129 h 9738"/>
              <a:gd name="connsiteX58" fmla="*/ 3035 w 9689"/>
              <a:gd name="connsiteY58" fmla="*/ 9045 h 9738"/>
              <a:gd name="connsiteX59" fmla="*/ 3256 w 9689"/>
              <a:gd name="connsiteY59" fmla="*/ 8962 h 9738"/>
              <a:gd name="connsiteX60" fmla="*/ 3469 w 9689"/>
              <a:gd name="connsiteY60" fmla="*/ 8867 h 9738"/>
              <a:gd name="connsiteX61" fmla="*/ 3681 w 9689"/>
              <a:gd name="connsiteY61" fmla="*/ 8773 h 9738"/>
              <a:gd name="connsiteX62" fmla="*/ 3896 w 9689"/>
              <a:gd name="connsiteY62" fmla="*/ 8672 h 9738"/>
              <a:gd name="connsiteX63" fmla="*/ 4102 w 9689"/>
              <a:gd name="connsiteY63" fmla="*/ 8569 h 9738"/>
              <a:gd name="connsiteX64" fmla="*/ 4308 w 9689"/>
              <a:gd name="connsiteY64" fmla="*/ 8464 h 9738"/>
              <a:gd name="connsiteX65" fmla="*/ 4514 w 9689"/>
              <a:gd name="connsiteY65" fmla="*/ 8350 h 9738"/>
              <a:gd name="connsiteX66" fmla="*/ 4714 w 9689"/>
              <a:gd name="connsiteY66" fmla="*/ 8236 h 9738"/>
              <a:gd name="connsiteX67" fmla="*/ 4911 w 9689"/>
              <a:gd name="connsiteY67" fmla="*/ 8115 h 9738"/>
              <a:gd name="connsiteX68" fmla="*/ 5107 w 9689"/>
              <a:gd name="connsiteY68" fmla="*/ 7992 h 9738"/>
              <a:gd name="connsiteX69" fmla="*/ 5293 w 9689"/>
              <a:gd name="connsiteY69" fmla="*/ 7866 h 9738"/>
              <a:gd name="connsiteX70" fmla="*/ 5481 w 9689"/>
              <a:gd name="connsiteY70" fmla="*/ 7733 h 9738"/>
              <a:gd name="connsiteX71" fmla="*/ 5668 w 9689"/>
              <a:gd name="connsiteY71" fmla="*/ 7600 h 9738"/>
              <a:gd name="connsiteX72" fmla="*/ 5848 w 9689"/>
              <a:gd name="connsiteY72" fmla="*/ 7460 h 9738"/>
              <a:gd name="connsiteX73" fmla="*/ 6029 w 9689"/>
              <a:gd name="connsiteY73" fmla="*/ 7318 h 9738"/>
              <a:gd name="connsiteX74" fmla="*/ 6203 w 9689"/>
              <a:gd name="connsiteY74" fmla="*/ 7170 h 9738"/>
              <a:gd name="connsiteX75" fmla="*/ 6376 w 9689"/>
              <a:gd name="connsiteY75" fmla="*/ 7023 h 9738"/>
              <a:gd name="connsiteX76" fmla="*/ 6543 w 9689"/>
              <a:gd name="connsiteY76" fmla="*/ 6873 h 9738"/>
              <a:gd name="connsiteX77" fmla="*/ 6712 w 9689"/>
              <a:gd name="connsiteY77" fmla="*/ 6713 h 9738"/>
              <a:gd name="connsiteX78" fmla="*/ 6873 w 9689"/>
              <a:gd name="connsiteY78" fmla="*/ 6551 h 9738"/>
              <a:gd name="connsiteX79" fmla="*/ 7030 w 9689"/>
              <a:gd name="connsiteY79" fmla="*/ 6393 h 9738"/>
              <a:gd name="connsiteX80" fmla="*/ 7185 w 9689"/>
              <a:gd name="connsiteY80" fmla="*/ 6226 h 9738"/>
              <a:gd name="connsiteX81" fmla="*/ 7336 w 9689"/>
              <a:gd name="connsiteY81" fmla="*/ 6055 h 9738"/>
              <a:gd name="connsiteX82" fmla="*/ 7484 w 9689"/>
              <a:gd name="connsiteY82" fmla="*/ 5886 h 9738"/>
              <a:gd name="connsiteX83" fmla="*/ 7627 w 9689"/>
              <a:gd name="connsiteY83" fmla="*/ 5710 h 9738"/>
              <a:gd name="connsiteX84" fmla="*/ 7771 w 9689"/>
              <a:gd name="connsiteY84" fmla="*/ 5530 h 9738"/>
              <a:gd name="connsiteX85" fmla="*/ 7902 w 9689"/>
              <a:gd name="connsiteY85" fmla="*/ 5349 h 9738"/>
              <a:gd name="connsiteX86" fmla="*/ 8032 w 9689"/>
              <a:gd name="connsiteY86" fmla="*/ 5164 h 9738"/>
              <a:gd name="connsiteX87" fmla="*/ 8163 w 9689"/>
              <a:gd name="connsiteY87" fmla="*/ 4980 h 9738"/>
              <a:gd name="connsiteX88" fmla="*/ 8285 w 9689"/>
              <a:gd name="connsiteY88" fmla="*/ 4786 h 9738"/>
              <a:gd name="connsiteX89" fmla="*/ 8403 w 9689"/>
              <a:gd name="connsiteY89" fmla="*/ 4598 h 9738"/>
              <a:gd name="connsiteX90" fmla="*/ 8520 w 9689"/>
              <a:gd name="connsiteY90" fmla="*/ 4402 h 9738"/>
              <a:gd name="connsiteX91" fmla="*/ 8626 w 9689"/>
              <a:gd name="connsiteY91" fmla="*/ 4201 h 9738"/>
              <a:gd name="connsiteX92" fmla="*/ 8733 w 9689"/>
              <a:gd name="connsiteY92" fmla="*/ 4001 h 9738"/>
              <a:gd name="connsiteX93" fmla="*/ 8838 w 9689"/>
              <a:gd name="connsiteY93" fmla="*/ 3800 h 9738"/>
              <a:gd name="connsiteX94" fmla="*/ 8938 w 9689"/>
              <a:gd name="connsiteY94" fmla="*/ 3594 h 9738"/>
              <a:gd name="connsiteX95" fmla="*/ 9026 w 9689"/>
              <a:gd name="connsiteY95" fmla="*/ 3389 h 9738"/>
              <a:gd name="connsiteX96" fmla="*/ 9118 w 9689"/>
              <a:gd name="connsiteY96" fmla="*/ 3178 h 9738"/>
              <a:gd name="connsiteX97" fmla="*/ 9199 w 9689"/>
              <a:gd name="connsiteY97" fmla="*/ 2965 h 9738"/>
              <a:gd name="connsiteX98" fmla="*/ 9280 w 9689"/>
              <a:gd name="connsiteY98" fmla="*/ 2755 h 9738"/>
              <a:gd name="connsiteX99" fmla="*/ 9352 w 9689"/>
              <a:gd name="connsiteY99" fmla="*/ 2537 h 9738"/>
              <a:gd name="connsiteX100" fmla="*/ 9420 w 9689"/>
              <a:gd name="connsiteY100" fmla="*/ 2317 h 9738"/>
              <a:gd name="connsiteX101" fmla="*/ 9483 w 9689"/>
              <a:gd name="connsiteY101" fmla="*/ 2096 h 9738"/>
              <a:gd name="connsiteX102" fmla="*/ 9545 w 9689"/>
              <a:gd name="connsiteY102" fmla="*/ 1876 h 9738"/>
              <a:gd name="connsiteX103" fmla="*/ 9597 w 9689"/>
              <a:gd name="connsiteY103" fmla="*/ 1653 h 9738"/>
              <a:gd name="connsiteX104" fmla="*/ 9646 w 9689"/>
              <a:gd name="connsiteY104" fmla="*/ 1427 h 9738"/>
              <a:gd name="connsiteX105" fmla="*/ 9689 w 9689"/>
              <a:gd name="connsiteY105" fmla="*/ 1196 h 9738"/>
              <a:gd name="connsiteX106" fmla="*/ 6287 w 9689"/>
              <a:gd name="connsiteY106" fmla="*/ 1835 h 9738"/>
              <a:gd name="connsiteX107" fmla="*/ 3447 w 9689"/>
              <a:gd name="connsiteY107" fmla="*/ 0 h 9738"/>
              <a:gd name="connsiteX0" fmla="*/ 3342 w 9784"/>
              <a:gd name="connsiteY0" fmla="*/ 0 h 10219"/>
              <a:gd name="connsiteX1" fmla="*/ 3342 w 9784"/>
              <a:gd name="connsiteY1" fmla="*/ 0 h 10219"/>
              <a:gd name="connsiteX2" fmla="*/ 3329 w 9784"/>
              <a:gd name="connsiteY2" fmla="*/ 100 h 10219"/>
              <a:gd name="connsiteX3" fmla="*/ 3309 w 9784"/>
              <a:gd name="connsiteY3" fmla="*/ 201 h 10219"/>
              <a:gd name="connsiteX4" fmla="*/ 3289 w 9784"/>
              <a:gd name="connsiteY4" fmla="*/ 301 h 10219"/>
              <a:gd name="connsiteX5" fmla="*/ 3266 w 9784"/>
              <a:gd name="connsiteY5" fmla="*/ 395 h 10219"/>
              <a:gd name="connsiteX6" fmla="*/ 3238 w 9784"/>
              <a:gd name="connsiteY6" fmla="*/ 494 h 10219"/>
              <a:gd name="connsiteX7" fmla="*/ 3211 w 9784"/>
              <a:gd name="connsiteY7" fmla="*/ 589 h 10219"/>
              <a:gd name="connsiteX8" fmla="*/ 3185 w 9784"/>
              <a:gd name="connsiteY8" fmla="*/ 685 h 10219"/>
              <a:gd name="connsiteX9" fmla="*/ 3155 w 9784"/>
              <a:gd name="connsiteY9" fmla="*/ 780 h 10219"/>
              <a:gd name="connsiteX10" fmla="*/ 3120 w 9784"/>
              <a:gd name="connsiteY10" fmla="*/ 874 h 10219"/>
              <a:gd name="connsiteX11" fmla="*/ 3083 w 9784"/>
              <a:gd name="connsiteY11" fmla="*/ 965 h 10219"/>
              <a:gd name="connsiteX12" fmla="*/ 3049 w 9784"/>
              <a:gd name="connsiteY12" fmla="*/ 1059 h 10219"/>
              <a:gd name="connsiteX13" fmla="*/ 3007 w 9784"/>
              <a:gd name="connsiteY13" fmla="*/ 1151 h 10219"/>
              <a:gd name="connsiteX14" fmla="*/ 2963 w 9784"/>
              <a:gd name="connsiteY14" fmla="*/ 1238 h 10219"/>
              <a:gd name="connsiteX15" fmla="*/ 2920 w 9784"/>
              <a:gd name="connsiteY15" fmla="*/ 1325 h 10219"/>
              <a:gd name="connsiteX16" fmla="*/ 2875 w 9784"/>
              <a:gd name="connsiteY16" fmla="*/ 1412 h 10219"/>
              <a:gd name="connsiteX17" fmla="*/ 2824 w 9784"/>
              <a:gd name="connsiteY17" fmla="*/ 1502 h 10219"/>
              <a:gd name="connsiteX18" fmla="*/ 2779 w 9784"/>
              <a:gd name="connsiteY18" fmla="*/ 1587 h 10219"/>
              <a:gd name="connsiteX19" fmla="*/ 2727 w 9784"/>
              <a:gd name="connsiteY19" fmla="*/ 1672 h 10219"/>
              <a:gd name="connsiteX20" fmla="*/ 2673 w 9784"/>
              <a:gd name="connsiteY20" fmla="*/ 1749 h 10219"/>
              <a:gd name="connsiteX21" fmla="*/ 2614 w 9784"/>
              <a:gd name="connsiteY21" fmla="*/ 1831 h 10219"/>
              <a:gd name="connsiteX22" fmla="*/ 2562 w 9784"/>
              <a:gd name="connsiteY22" fmla="*/ 1911 h 10219"/>
              <a:gd name="connsiteX23" fmla="*/ 2502 w 9784"/>
              <a:gd name="connsiteY23" fmla="*/ 1995 h 10219"/>
              <a:gd name="connsiteX24" fmla="*/ 2441 w 9784"/>
              <a:gd name="connsiteY24" fmla="*/ 2068 h 10219"/>
              <a:gd name="connsiteX25" fmla="*/ 2376 w 9784"/>
              <a:gd name="connsiteY25" fmla="*/ 2142 h 10219"/>
              <a:gd name="connsiteX26" fmla="*/ 2311 w 9784"/>
              <a:gd name="connsiteY26" fmla="*/ 2220 h 10219"/>
              <a:gd name="connsiteX27" fmla="*/ 2246 w 9784"/>
              <a:gd name="connsiteY27" fmla="*/ 2292 h 10219"/>
              <a:gd name="connsiteX28" fmla="*/ 2176 w 9784"/>
              <a:gd name="connsiteY28" fmla="*/ 2364 h 10219"/>
              <a:gd name="connsiteX29" fmla="*/ 2108 w 9784"/>
              <a:gd name="connsiteY29" fmla="*/ 2438 h 10219"/>
              <a:gd name="connsiteX30" fmla="*/ 2040 w 9784"/>
              <a:gd name="connsiteY30" fmla="*/ 2506 h 10219"/>
              <a:gd name="connsiteX31" fmla="*/ 1964 w 9784"/>
              <a:gd name="connsiteY31" fmla="*/ 2574 h 10219"/>
              <a:gd name="connsiteX32" fmla="*/ 1892 w 9784"/>
              <a:gd name="connsiteY32" fmla="*/ 2639 h 10219"/>
              <a:gd name="connsiteX33" fmla="*/ 1815 w 9784"/>
              <a:gd name="connsiteY33" fmla="*/ 2704 h 10219"/>
              <a:gd name="connsiteX34" fmla="*/ 1742 w 9784"/>
              <a:gd name="connsiteY34" fmla="*/ 2766 h 10219"/>
              <a:gd name="connsiteX35" fmla="*/ 1657 w 9784"/>
              <a:gd name="connsiteY35" fmla="*/ 2831 h 10219"/>
              <a:gd name="connsiteX36" fmla="*/ 1581 w 9784"/>
              <a:gd name="connsiteY36" fmla="*/ 2887 h 10219"/>
              <a:gd name="connsiteX37" fmla="*/ 1499 w 9784"/>
              <a:gd name="connsiteY37" fmla="*/ 2947 h 10219"/>
              <a:gd name="connsiteX38" fmla="*/ 1416 w 9784"/>
              <a:gd name="connsiteY38" fmla="*/ 3003 h 10219"/>
              <a:gd name="connsiteX39" fmla="*/ 1331 w 9784"/>
              <a:gd name="connsiteY39" fmla="*/ 3057 h 10219"/>
              <a:gd name="connsiteX40" fmla="*/ 1245 w 9784"/>
              <a:gd name="connsiteY40" fmla="*/ 3112 h 10219"/>
              <a:gd name="connsiteX41" fmla="*/ 1162 w 9784"/>
              <a:gd name="connsiteY41" fmla="*/ 3164 h 10219"/>
              <a:gd name="connsiteX42" fmla="*/ 1072 w 9784"/>
              <a:gd name="connsiteY42" fmla="*/ 3211 h 10219"/>
              <a:gd name="connsiteX43" fmla="*/ 982 w 9784"/>
              <a:gd name="connsiteY43" fmla="*/ 3258 h 10219"/>
              <a:gd name="connsiteX44" fmla="*/ 1148 w 9784"/>
              <a:gd name="connsiteY44" fmla="*/ 6608 h 10219"/>
              <a:gd name="connsiteX45" fmla="*/ 38 w 9784"/>
              <a:gd name="connsiteY45" fmla="*/ 9978 h 10219"/>
              <a:gd name="connsiteX46" fmla="*/ 290 w 9784"/>
              <a:gd name="connsiteY46" fmla="*/ 9945 h 10219"/>
              <a:gd name="connsiteX47" fmla="*/ 537 w 9784"/>
              <a:gd name="connsiteY47" fmla="*/ 9912 h 10219"/>
              <a:gd name="connsiteX48" fmla="*/ 787 w 9784"/>
              <a:gd name="connsiteY48" fmla="*/ 9871 h 10219"/>
              <a:gd name="connsiteX49" fmla="*/ 1028 w 9784"/>
              <a:gd name="connsiteY49" fmla="*/ 9824 h 10219"/>
              <a:gd name="connsiteX50" fmla="*/ 1280 w 9784"/>
              <a:gd name="connsiteY50" fmla="*/ 9777 h 10219"/>
              <a:gd name="connsiteX51" fmla="*/ 1514 w 9784"/>
              <a:gd name="connsiteY51" fmla="*/ 9719 h 10219"/>
              <a:gd name="connsiteX52" fmla="*/ 1754 w 9784"/>
              <a:gd name="connsiteY52" fmla="*/ 9662 h 10219"/>
              <a:gd name="connsiteX53" fmla="*/ 1992 w 9784"/>
              <a:gd name="connsiteY53" fmla="*/ 9598 h 10219"/>
              <a:gd name="connsiteX54" fmla="*/ 2227 w 9784"/>
              <a:gd name="connsiteY54" fmla="*/ 9528 h 10219"/>
              <a:gd name="connsiteX55" fmla="*/ 2455 w 9784"/>
              <a:gd name="connsiteY55" fmla="*/ 9451 h 10219"/>
              <a:gd name="connsiteX56" fmla="*/ 2685 w 9784"/>
              <a:gd name="connsiteY56" fmla="*/ 9375 h 10219"/>
              <a:gd name="connsiteX57" fmla="*/ 2916 w 9784"/>
              <a:gd name="connsiteY57" fmla="*/ 9288 h 10219"/>
              <a:gd name="connsiteX58" fmla="*/ 3145 w 9784"/>
              <a:gd name="connsiteY58" fmla="*/ 9203 h 10219"/>
              <a:gd name="connsiteX59" fmla="*/ 3364 w 9784"/>
              <a:gd name="connsiteY59" fmla="*/ 9106 h 10219"/>
              <a:gd name="connsiteX60" fmla="*/ 3583 w 9784"/>
              <a:gd name="connsiteY60" fmla="*/ 9009 h 10219"/>
              <a:gd name="connsiteX61" fmla="*/ 3805 w 9784"/>
              <a:gd name="connsiteY61" fmla="*/ 8905 h 10219"/>
              <a:gd name="connsiteX62" fmla="*/ 4018 w 9784"/>
              <a:gd name="connsiteY62" fmla="*/ 8800 h 10219"/>
              <a:gd name="connsiteX63" fmla="*/ 4230 w 9784"/>
              <a:gd name="connsiteY63" fmla="*/ 8692 h 10219"/>
              <a:gd name="connsiteX64" fmla="*/ 4443 w 9784"/>
              <a:gd name="connsiteY64" fmla="*/ 8575 h 10219"/>
              <a:gd name="connsiteX65" fmla="*/ 4649 w 9784"/>
              <a:gd name="connsiteY65" fmla="*/ 8458 h 10219"/>
              <a:gd name="connsiteX66" fmla="*/ 4853 w 9784"/>
              <a:gd name="connsiteY66" fmla="*/ 8333 h 10219"/>
              <a:gd name="connsiteX67" fmla="*/ 5055 w 9784"/>
              <a:gd name="connsiteY67" fmla="*/ 8207 h 10219"/>
              <a:gd name="connsiteX68" fmla="*/ 5247 w 9784"/>
              <a:gd name="connsiteY68" fmla="*/ 8078 h 10219"/>
              <a:gd name="connsiteX69" fmla="*/ 5441 w 9784"/>
              <a:gd name="connsiteY69" fmla="*/ 7941 h 10219"/>
              <a:gd name="connsiteX70" fmla="*/ 5634 w 9784"/>
              <a:gd name="connsiteY70" fmla="*/ 7804 h 10219"/>
              <a:gd name="connsiteX71" fmla="*/ 5820 w 9784"/>
              <a:gd name="connsiteY71" fmla="*/ 7661 h 10219"/>
              <a:gd name="connsiteX72" fmla="*/ 6007 w 9784"/>
              <a:gd name="connsiteY72" fmla="*/ 7515 h 10219"/>
              <a:gd name="connsiteX73" fmla="*/ 6186 w 9784"/>
              <a:gd name="connsiteY73" fmla="*/ 7363 h 10219"/>
              <a:gd name="connsiteX74" fmla="*/ 6365 w 9784"/>
              <a:gd name="connsiteY74" fmla="*/ 7212 h 10219"/>
              <a:gd name="connsiteX75" fmla="*/ 6537 w 9784"/>
              <a:gd name="connsiteY75" fmla="*/ 7058 h 10219"/>
              <a:gd name="connsiteX76" fmla="*/ 6711 w 9784"/>
              <a:gd name="connsiteY76" fmla="*/ 6894 h 10219"/>
              <a:gd name="connsiteX77" fmla="*/ 6878 w 9784"/>
              <a:gd name="connsiteY77" fmla="*/ 6727 h 10219"/>
              <a:gd name="connsiteX78" fmla="*/ 7040 w 9784"/>
              <a:gd name="connsiteY78" fmla="*/ 6565 h 10219"/>
              <a:gd name="connsiteX79" fmla="*/ 7200 w 9784"/>
              <a:gd name="connsiteY79" fmla="*/ 6394 h 10219"/>
              <a:gd name="connsiteX80" fmla="*/ 7355 w 9784"/>
              <a:gd name="connsiteY80" fmla="*/ 6218 h 10219"/>
              <a:gd name="connsiteX81" fmla="*/ 7508 w 9784"/>
              <a:gd name="connsiteY81" fmla="*/ 6044 h 10219"/>
              <a:gd name="connsiteX82" fmla="*/ 7656 w 9784"/>
              <a:gd name="connsiteY82" fmla="*/ 5864 h 10219"/>
              <a:gd name="connsiteX83" fmla="*/ 7804 w 9784"/>
              <a:gd name="connsiteY83" fmla="*/ 5679 h 10219"/>
              <a:gd name="connsiteX84" fmla="*/ 7940 w 9784"/>
              <a:gd name="connsiteY84" fmla="*/ 5493 h 10219"/>
              <a:gd name="connsiteX85" fmla="*/ 8074 w 9784"/>
              <a:gd name="connsiteY85" fmla="*/ 5303 h 10219"/>
              <a:gd name="connsiteX86" fmla="*/ 8209 w 9784"/>
              <a:gd name="connsiteY86" fmla="*/ 5114 h 10219"/>
              <a:gd name="connsiteX87" fmla="*/ 8335 w 9784"/>
              <a:gd name="connsiteY87" fmla="*/ 4915 h 10219"/>
              <a:gd name="connsiteX88" fmla="*/ 8457 w 9784"/>
              <a:gd name="connsiteY88" fmla="*/ 4722 h 10219"/>
              <a:gd name="connsiteX89" fmla="*/ 8577 w 9784"/>
              <a:gd name="connsiteY89" fmla="*/ 4520 h 10219"/>
              <a:gd name="connsiteX90" fmla="*/ 8687 w 9784"/>
              <a:gd name="connsiteY90" fmla="*/ 4314 h 10219"/>
              <a:gd name="connsiteX91" fmla="*/ 8797 w 9784"/>
              <a:gd name="connsiteY91" fmla="*/ 4109 h 10219"/>
              <a:gd name="connsiteX92" fmla="*/ 8906 w 9784"/>
              <a:gd name="connsiteY92" fmla="*/ 3902 h 10219"/>
              <a:gd name="connsiteX93" fmla="*/ 9009 w 9784"/>
              <a:gd name="connsiteY93" fmla="*/ 3691 h 10219"/>
              <a:gd name="connsiteX94" fmla="*/ 9100 w 9784"/>
              <a:gd name="connsiteY94" fmla="*/ 3480 h 10219"/>
              <a:gd name="connsiteX95" fmla="*/ 9195 w 9784"/>
              <a:gd name="connsiteY95" fmla="*/ 3264 h 10219"/>
              <a:gd name="connsiteX96" fmla="*/ 9278 w 9784"/>
              <a:gd name="connsiteY96" fmla="*/ 3045 h 10219"/>
              <a:gd name="connsiteX97" fmla="*/ 9362 w 9784"/>
              <a:gd name="connsiteY97" fmla="*/ 2829 h 10219"/>
              <a:gd name="connsiteX98" fmla="*/ 9436 w 9784"/>
              <a:gd name="connsiteY98" fmla="*/ 2605 h 10219"/>
              <a:gd name="connsiteX99" fmla="*/ 9506 w 9784"/>
              <a:gd name="connsiteY99" fmla="*/ 2379 h 10219"/>
              <a:gd name="connsiteX100" fmla="*/ 9571 w 9784"/>
              <a:gd name="connsiteY100" fmla="*/ 2152 h 10219"/>
              <a:gd name="connsiteX101" fmla="*/ 9635 w 9784"/>
              <a:gd name="connsiteY101" fmla="*/ 1926 h 10219"/>
              <a:gd name="connsiteX102" fmla="*/ 9689 w 9784"/>
              <a:gd name="connsiteY102" fmla="*/ 1697 h 10219"/>
              <a:gd name="connsiteX103" fmla="*/ 9740 w 9784"/>
              <a:gd name="connsiteY103" fmla="*/ 1465 h 10219"/>
              <a:gd name="connsiteX104" fmla="*/ 9784 w 9784"/>
              <a:gd name="connsiteY104" fmla="*/ 1228 h 10219"/>
              <a:gd name="connsiteX105" fmla="*/ 6273 w 9784"/>
              <a:gd name="connsiteY105" fmla="*/ 1884 h 10219"/>
              <a:gd name="connsiteX106" fmla="*/ 3342 w 9784"/>
              <a:gd name="connsiteY106" fmla="*/ 0 h 10219"/>
              <a:gd name="connsiteX0" fmla="*/ 3120 w 9704"/>
              <a:gd name="connsiteY0" fmla="*/ 0 h 9732"/>
              <a:gd name="connsiteX1" fmla="*/ 3120 w 9704"/>
              <a:gd name="connsiteY1" fmla="*/ 0 h 9732"/>
              <a:gd name="connsiteX2" fmla="*/ 3106 w 9704"/>
              <a:gd name="connsiteY2" fmla="*/ 98 h 9732"/>
              <a:gd name="connsiteX3" fmla="*/ 3086 w 9704"/>
              <a:gd name="connsiteY3" fmla="*/ 197 h 9732"/>
              <a:gd name="connsiteX4" fmla="*/ 3066 w 9704"/>
              <a:gd name="connsiteY4" fmla="*/ 295 h 9732"/>
              <a:gd name="connsiteX5" fmla="*/ 3042 w 9704"/>
              <a:gd name="connsiteY5" fmla="*/ 387 h 9732"/>
              <a:gd name="connsiteX6" fmla="*/ 3013 w 9704"/>
              <a:gd name="connsiteY6" fmla="*/ 483 h 9732"/>
              <a:gd name="connsiteX7" fmla="*/ 2986 w 9704"/>
              <a:gd name="connsiteY7" fmla="*/ 576 h 9732"/>
              <a:gd name="connsiteX8" fmla="*/ 2959 w 9704"/>
              <a:gd name="connsiteY8" fmla="*/ 670 h 9732"/>
              <a:gd name="connsiteX9" fmla="*/ 2929 w 9704"/>
              <a:gd name="connsiteY9" fmla="*/ 763 h 9732"/>
              <a:gd name="connsiteX10" fmla="*/ 2893 w 9704"/>
              <a:gd name="connsiteY10" fmla="*/ 855 h 9732"/>
              <a:gd name="connsiteX11" fmla="*/ 2855 w 9704"/>
              <a:gd name="connsiteY11" fmla="*/ 944 h 9732"/>
              <a:gd name="connsiteX12" fmla="*/ 2820 w 9704"/>
              <a:gd name="connsiteY12" fmla="*/ 1036 h 9732"/>
              <a:gd name="connsiteX13" fmla="*/ 2777 w 9704"/>
              <a:gd name="connsiteY13" fmla="*/ 1126 h 9732"/>
              <a:gd name="connsiteX14" fmla="*/ 2732 w 9704"/>
              <a:gd name="connsiteY14" fmla="*/ 1211 h 9732"/>
              <a:gd name="connsiteX15" fmla="*/ 2688 w 9704"/>
              <a:gd name="connsiteY15" fmla="*/ 1297 h 9732"/>
              <a:gd name="connsiteX16" fmla="*/ 2642 w 9704"/>
              <a:gd name="connsiteY16" fmla="*/ 1382 h 9732"/>
              <a:gd name="connsiteX17" fmla="*/ 2590 w 9704"/>
              <a:gd name="connsiteY17" fmla="*/ 1470 h 9732"/>
              <a:gd name="connsiteX18" fmla="*/ 2544 w 9704"/>
              <a:gd name="connsiteY18" fmla="*/ 1553 h 9732"/>
              <a:gd name="connsiteX19" fmla="*/ 2491 w 9704"/>
              <a:gd name="connsiteY19" fmla="*/ 1636 h 9732"/>
              <a:gd name="connsiteX20" fmla="*/ 2436 w 9704"/>
              <a:gd name="connsiteY20" fmla="*/ 1712 h 9732"/>
              <a:gd name="connsiteX21" fmla="*/ 2376 w 9704"/>
              <a:gd name="connsiteY21" fmla="*/ 1792 h 9732"/>
              <a:gd name="connsiteX22" fmla="*/ 2323 w 9704"/>
              <a:gd name="connsiteY22" fmla="*/ 1870 h 9732"/>
              <a:gd name="connsiteX23" fmla="*/ 2261 w 9704"/>
              <a:gd name="connsiteY23" fmla="*/ 1952 h 9732"/>
              <a:gd name="connsiteX24" fmla="*/ 2199 w 9704"/>
              <a:gd name="connsiteY24" fmla="*/ 2024 h 9732"/>
              <a:gd name="connsiteX25" fmla="*/ 2132 w 9704"/>
              <a:gd name="connsiteY25" fmla="*/ 2096 h 9732"/>
              <a:gd name="connsiteX26" fmla="*/ 2066 w 9704"/>
              <a:gd name="connsiteY26" fmla="*/ 2172 h 9732"/>
              <a:gd name="connsiteX27" fmla="*/ 2000 w 9704"/>
              <a:gd name="connsiteY27" fmla="*/ 2243 h 9732"/>
              <a:gd name="connsiteX28" fmla="*/ 1928 w 9704"/>
              <a:gd name="connsiteY28" fmla="*/ 2313 h 9732"/>
              <a:gd name="connsiteX29" fmla="*/ 1859 w 9704"/>
              <a:gd name="connsiteY29" fmla="*/ 2386 h 9732"/>
              <a:gd name="connsiteX30" fmla="*/ 1789 w 9704"/>
              <a:gd name="connsiteY30" fmla="*/ 2452 h 9732"/>
              <a:gd name="connsiteX31" fmla="*/ 1711 w 9704"/>
              <a:gd name="connsiteY31" fmla="*/ 2519 h 9732"/>
              <a:gd name="connsiteX32" fmla="*/ 1638 w 9704"/>
              <a:gd name="connsiteY32" fmla="*/ 2582 h 9732"/>
              <a:gd name="connsiteX33" fmla="*/ 1559 w 9704"/>
              <a:gd name="connsiteY33" fmla="*/ 2646 h 9732"/>
              <a:gd name="connsiteX34" fmla="*/ 1484 w 9704"/>
              <a:gd name="connsiteY34" fmla="*/ 2707 h 9732"/>
              <a:gd name="connsiteX35" fmla="*/ 1398 w 9704"/>
              <a:gd name="connsiteY35" fmla="*/ 2770 h 9732"/>
              <a:gd name="connsiteX36" fmla="*/ 1320 w 9704"/>
              <a:gd name="connsiteY36" fmla="*/ 2825 h 9732"/>
              <a:gd name="connsiteX37" fmla="*/ 1236 w 9704"/>
              <a:gd name="connsiteY37" fmla="*/ 2884 h 9732"/>
              <a:gd name="connsiteX38" fmla="*/ 1151 w 9704"/>
              <a:gd name="connsiteY38" fmla="*/ 2939 h 9732"/>
              <a:gd name="connsiteX39" fmla="*/ 1064 w 9704"/>
              <a:gd name="connsiteY39" fmla="*/ 2991 h 9732"/>
              <a:gd name="connsiteX40" fmla="*/ 976 w 9704"/>
              <a:gd name="connsiteY40" fmla="*/ 3045 h 9732"/>
              <a:gd name="connsiteX41" fmla="*/ 892 w 9704"/>
              <a:gd name="connsiteY41" fmla="*/ 3096 h 9732"/>
              <a:gd name="connsiteX42" fmla="*/ 800 w 9704"/>
              <a:gd name="connsiteY42" fmla="*/ 3142 h 9732"/>
              <a:gd name="connsiteX43" fmla="*/ 708 w 9704"/>
              <a:gd name="connsiteY43" fmla="*/ 3188 h 9732"/>
              <a:gd name="connsiteX44" fmla="*/ 877 w 9704"/>
              <a:gd name="connsiteY44" fmla="*/ 6466 h 9732"/>
              <a:gd name="connsiteX45" fmla="*/ 0 w 9704"/>
              <a:gd name="connsiteY45" fmla="*/ 9732 h 9732"/>
              <a:gd name="connsiteX46" fmla="*/ 253 w 9704"/>
              <a:gd name="connsiteY46" fmla="*/ 9700 h 9732"/>
              <a:gd name="connsiteX47" fmla="*/ 508 w 9704"/>
              <a:gd name="connsiteY47" fmla="*/ 9659 h 9732"/>
              <a:gd name="connsiteX48" fmla="*/ 755 w 9704"/>
              <a:gd name="connsiteY48" fmla="*/ 9613 h 9732"/>
              <a:gd name="connsiteX49" fmla="*/ 1012 w 9704"/>
              <a:gd name="connsiteY49" fmla="*/ 9567 h 9732"/>
              <a:gd name="connsiteX50" fmla="*/ 1251 w 9704"/>
              <a:gd name="connsiteY50" fmla="*/ 9511 h 9732"/>
              <a:gd name="connsiteX51" fmla="*/ 1497 w 9704"/>
              <a:gd name="connsiteY51" fmla="*/ 9455 h 9732"/>
              <a:gd name="connsiteX52" fmla="*/ 1740 w 9704"/>
              <a:gd name="connsiteY52" fmla="*/ 9392 h 9732"/>
              <a:gd name="connsiteX53" fmla="*/ 1980 w 9704"/>
              <a:gd name="connsiteY53" fmla="*/ 9324 h 9732"/>
              <a:gd name="connsiteX54" fmla="*/ 2213 w 9704"/>
              <a:gd name="connsiteY54" fmla="*/ 9248 h 9732"/>
              <a:gd name="connsiteX55" fmla="*/ 2448 w 9704"/>
              <a:gd name="connsiteY55" fmla="*/ 9174 h 9732"/>
              <a:gd name="connsiteX56" fmla="*/ 2684 w 9704"/>
              <a:gd name="connsiteY56" fmla="*/ 9089 h 9732"/>
              <a:gd name="connsiteX57" fmla="*/ 2918 w 9704"/>
              <a:gd name="connsiteY57" fmla="*/ 9006 h 9732"/>
              <a:gd name="connsiteX58" fmla="*/ 3142 w 9704"/>
              <a:gd name="connsiteY58" fmla="*/ 8911 h 9732"/>
              <a:gd name="connsiteX59" fmla="*/ 3366 w 9704"/>
              <a:gd name="connsiteY59" fmla="*/ 8816 h 9732"/>
              <a:gd name="connsiteX60" fmla="*/ 3593 w 9704"/>
              <a:gd name="connsiteY60" fmla="*/ 8714 h 9732"/>
              <a:gd name="connsiteX61" fmla="*/ 3811 w 9704"/>
              <a:gd name="connsiteY61" fmla="*/ 8611 h 9732"/>
              <a:gd name="connsiteX62" fmla="*/ 4027 w 9704"/>
              <a:gd name="connsiteY62" fmla="*/ 8506 h 9732"/>
              <a:gd name="connsiteX63" fmla="*/ 4245 w 9704"/>
              <a:gd name="connsiteY63" fmla="*/ 8391 h 9732"/>
              <a:gd name="connsiteX64" fmla="*/ 4456 w 9704"/>
              <a:gd name="connsiteY64" fmla="*/ 8277 h 9732"/>
              <a:gd name="connsiteX65" fmla="*/ 4664 w 9704"/>
              <a:gd name="connsiteY65" fmla="*/ 8154 h 9732"/>
              <a:gd name="connsiteX66" fmla="*/ 4871 w 9704"/>
              <a:gd name="connsiteY66" fmla="*/ 8031 h 9732"/>
              <a:gd name="connsiteX67" fmla="*/ 5067 w 9704"/>
              <a:gd name="connsiteY67" fmla="*/ 7905 h 9732"/>
              <a:gd name="connsiteX68" fmla="*/ 5265 w 9704"/>
              <a:gd name="connsiteY68" fmla="*/ 7771 h 9732"/>
              <a:gd name="connsiteX69" fmla="*/ 5462 w 9704"/>
              <a:gd name="connsiteY69" fmla="*/ 7637 h 9732"/>
              <a:gd name="connsiteX70" fmla="*/ 5652 w 9704"/>
              <a:gd name="connsiteY70" fmla="*/ 7497 h 9732"/>
              <a:gd name="connsiteX71" fmla="*/ 5844 w 9704"/>
              <a:gd name="connsiteY71" fmla="*/ 7354 h 9732"/>
              <a:gd name="connsiteX72" fmla="*/ 6027 w 9704"/>
              <a:gd name="connsiteY72" fmla="*/ 7205 h 9732"/>
              <a:gd name="connsiteX73" fmla="*/ 6210 w 9704"/>
              <a:gd name="connsiteY73" fmla="*/ 7057 h 9732"/>
              <a:gd name="connsiteX74" fmla="*/ 6385 w 9704"/>
              <a:gd name="connsiteY74" fmla="*/ 6907 h 9732"/>
              <a:gd name="connsiteX75" fmla="*/ 6563 w 9704"/>
              <a:gd name="connsiteY75" fmla="*/ 6746 h 9732"/>
              <a:gd name="connsiteX76" fmla="*/ 6734 w 9704"/>
              <a:gd name="connsiteY76" fmla="*/ 6583 h 9732"/>
              <a:gd name="connsiteX77" fmla="*/ 6899 w 9704"/>
              <a:gd name="connsiteY77" fmla="*/ 6424 h 9732"/>
              <a:gd name="connsiteX78" fmla="*/ 7063 w 9704"/>
              <a:gd name="connsiteY78" fmla="*/ 6257 h 9732"/>
              <a:gd name="connsiteX79" fmla="*/ 7221 w 9704"/>
              <a:gd name="connsiteY79" fmla="*/ 6085 h 9732"/>
              <a:gd name="connsiteX80" fmla="*/ 7378 w 9704"/>
              <a:gd name="connsiteY80" fmla="*/ 5914 h 9732"/>
              <a:gd name="connsiteX81" fmla="*/ 7529 w 9704"/>
              <a:gd name="connsiteY81" fmla="*/ 5738 h 9732"/>
              <a:gd name="connsiteX82" fmla="*/ 7680 w 9704"/>
              <a:gd name="connsiteY82" fmla="*/ 5557 h 9732"/>
              <a:gd name="connsiteX83" fmla="*/ 7819 w 9704"/>
              <a:gd name="connsiteY83" fmla="*/ 5375 h 9732"/>
              <a:gd name="connsiteX84" fmla="*/ 7956 w 9704"/>
              <a:gd name="connsiteY84" fmla="*/ 5189 h 9732"/>
              <a:gd name="connsiteX85" fmla="*/ 8094 w 9704"/>
              <a:gd name="connsiteY85" fmla="*/ 5004 h 9732"/>
              <a:gd name="connsiteX86" fmla="*/ 8223 w 9704"/>
              <a:gd name="connsiteY86" fmla="*/ 4810 h 9732"/>
              <a:gd name="connsiteX87" fmla="*/ 8348 w 9704"/>
              <a:gd name="connsiteY87" fmla="*/ 4621 h 9732"/>
              <a:gd name="connsiteX88" fmla="*/ 8470 w 9704"/>
              <a:gd name="connsiteY88" fmla="*/ 4423 h 9732"/>
              <a:gd name="connsiteX89" fmla="*/ 8583 w 9704"/>
              <a:gd name="connsiteY89" fmla="*/ 4222 h 9732"/>
              <a:gd name="connsiteX90" fmla="*/ 8695 w 9704"/>
              <a:gd name="connsiteY90" fmla="*/ 4021 h 9732"/>
              <a:gd name="connsiteX91" fmla="*/ 8807 w 9704"/>
              <a:gd name="connsiteY91" fmla="*/ 3818 h 9732"/>
              <a:gd name="connsiteX92" fmla="*/ 8912 w 9704"/>
              <a:gd name="connsiteY92" fmla="*/ 3612 h 9732"/>
              <a:gd name="connsiteX93" fmla="*/ 9005 w 9704"/>
              <a:gd name="connsiteY93" fmla="*/ 3405 h 9732"/>
              <a:gd name="connsiteX94" fmla="*/ 9102 w 9704"/>
              <a:gd name="connsiteY94" fmla="*/ 3194 h 9732"/>
              <a:gd name="connsiteX95" fmla="*/ 9187 w 9704"/>
              <a:gd name="connsiteY95" fmla="*/ 2980 h 9732"/>
              <a:gd name="connsiteX96" fmla="*/ 9273 w 9704"/>
              <a:gd name="connsiteY96" fmla="*/ 2768 h 9732"/>
              <a:gd name="connsiteX97" fmla="*/ 9348 w 9704"/>
              <a:gd name="connsiteY97" fmla="*/ 2549 h 9732"/>
              <a:gd name="connsiteX98" fmla="*/ 9420 w 9704"/>
              <a:gd name="connsiteY98" fmla="*/ 2328 h 9732"/>
              <a:gd name="connsiteX99" fmla="*/ 9486 w 9704"/>
              <a:gd name="connsiteY99" fmla="*/ 2106 h 9732"/>
              <a:gd name="connsiteX100" fmla="*/ 9552 w 9704"/>
              <a:gd name="connsiteY100" fmla="*/ 1885 h 9732"/>
              <a:gd name="connsiteX101" fmla="*/ 9607 w 9704"/>
              <a:gd name="connsiteY101" fmla="*/ 1661 h 9732"/>
              <a:gd name="connsiteX102" fmla="*/ 9659 w 9704"/>
              <a:gd name="connsiteY102" fmla="*/ 1434 h 9732"/>
              <a:gd name="connsiteX103" fmla="*/ 9704 w 9704"/>
              <a:gd name="connsiteY103" fmla="*/ 1202 h 9732"/>
              <a:gd name="connsiteX104" fmla="*/ 6115 w 9704"/>
              <a:gd name="connsiteY104" fmla="*/ 1844 h 9732"/>
              <a:gd name="connsiteX105" fmla="*/ 3120 w 9704"/>
              <a:gd name="connsiteY105" fmla="*/ 0 h 9732"/>
              <a:gd name="connsiteX0" fmla="*/ 2954 w 9739"/>
              <a:gd name="connsiteY0" fmla="*/ 0 h 9967"/>
              <a:gd name="connsiteX1" fmla="*/ 2954 w 9739"/>
              <a:gd name="connsiteY1" fmla="*/ 0 h 9967"/>
              <a:gd name="connsiteX2" fmla="*/ 2940 w 9739"/>
              <a:gd name="connsiteY2" fmla="*/ 101 h 9967"/>
              <a:gd name="connsiteX3" fmla="*/ 2919 w 9739"/>
              <a:gd name="connsiteY3" fmla="*/ 202 h 9967"/>
              <a:gd name="connsiteX4" fmla="*/ 2899 w 9739"/>
              <a:gd name="connsiteY4" fmla="*/ 303 h 9967"/>
              <a:gd name="connsiteX5" fmla="*/ 2874 w 9739"/>
              <a:gd name="connsiteY5" fmla="*/ 398 h 9967"/>
              <a:gd name="connsiteX6" fmla="*/ 2844 w 9739"/>
              <a:gd name="connsiteY6" fmla="*/ 496 h 9967"/>
              <a:gd name="connsiteX7" fmla="*/ 2816 w 9739"/>
              <a:gd name="connsiteY7" fmla="*/ 592 h 9967"/>
              <a:gd name="connsiteX8" fmla="*/ 2788 w 9739"/>
              <a:gd name="connsiteY8" fmla="*/ 688 h 9967"/>
              <a:gd name="connsiteX9" fmla="*/ 2757 w 9739"/>
              <a:gd name="connsiteY9" fmla="*/ 784 h 9967"/>
              <a:gd name="connsiteX10" fmla="*/ 2720 w 9739"/>
              <a:gd name="connsiteY10" fmla="*/ 879 h 9967"/>
              <a:gd name="connsiteX11" fmla="*/ 2681 w 9739"/>
              <a:gd name="connsiteY11" fmla="*/ 970 h 9967"/>
              <a:gd name="connsiteX12" fmla="*/ 2645 w 9739"/>
              <a:gd name="connsiteY12" fmla="*/ 1065 h 9967"/>
              <a:gd name="connsiteX13" fmla="*/ 2601 w 9739"/>
              <a:gd name="connsiteY13" fmla="*/ 1157 h 9967"/>
              <a:gd name="connsiteX14" fmla="*/ 2554 w 9739"/>
              <a:gd name="connsiteY14" fmla="*/ 1244 h 9967"/>
              <a:gd name="connsiteX15" fmla="*/ 2509 w 9739"/>
              <a:gd name="connsiteY15" fmla="*/ 1333 h 9967"/>
              <a:gd name="connsiteX16" fmla="*/ 2462 w 9739"/>
              <a:gd name="connsiteY16" fmla="*/ 1420 h 9967"/>
              <a:gd name="connsiteX17" fmla="*/ 2408 w 9739"/>
              <a:gd name="connsiteY17" fmla="*/ 1510 h 9967"/>
              <a:gd name="connsiteX18" fmla="*/ 2361 w 9739"/>
              <a:gd name="connsiteY18" fmla="*/ 1596 h 9967"/>
              <a:gd name="connsiteX19" fmla="*/ 2306 w 9739"/>
              <a:gd name="connsiteY19" fmla="*/ 1681 h 9967"/>
              <a:gd name="connsiteX20" fmla="*/ 2249 w 9739"/>
              <a:gd name="connsiteY20" fmla="*/ 1759 h 9967"/>
              <a:gd name="connsiteX21" fmla="*/ 2187 w 9739"/>
              <a:gd name="connsiteY21" fmla="*/ 1841 h 9967"/>
              <a:gd name="connsiteX22" fmla="*/ 2133 w 9739"/>
              <a:gd name="connsiteY22" fmla="*/ 1921 h 9967"/>
              <a:gd name="connsiteX23" fmla="*/ 2069 w 9739"/>
              <a:gd name="connsiteY23" fmla="*/ 2006 h 9967"/>
              <a:gd name="connsiteX24" fmla="*/ 2005 w 9739"/>
              <a:gd name="connsiteY24" fmla="*/ 2080 h 9967"/>
              <a:gd name="connsiteX25" fmla="*/ 1936 w 9739"/>
              <a:gd name="connsiteY25" fmla="*/ 2154 h 9967"/>
              <a:gd name="connsiteX26" fmla="*/ 1868 w 9739"/>
              <a:gd name="connsiteY26" fmla="*/ 2232 h 9967"/>
              <a:gd name="connsiteX27" fmla="*/ 1800 w 9739"/>
              <a:gd name="connsiteY27" fmla="*/ 2305 h 9967"/>
              <a:gd name="connsiteX28" fmla="*/ 1726 w 9739"/>
              <a:gd name="connsiteY28" fmla="*/ 2377 h 9967"/>
              <a:gd name="connsiteX29" fmla="*/ 1655 w 9739"/>
              <a:gd name="connsiteY29" fmla="*/ 2452 h 9967"/>
              <a:gd name="connsiteX30" fmla="*/ 1583 w 9739"/>
              <a:gd name="connsiteY30" fmla="*/ 2520 h 9967"/>
              <a:gd name="connsiteX31" fmla="*/ 1502 w 9739"/>
              <a:gd name="connsiteY31" fmla="*/ 2588 h 9967"/>
              <a:gd name="connsiteX32" fmla="*/ 1427 w 9739"/>
              <a:gd name="connsiteY32" fmla="*/ 2653 h 9967"/>
              <a:gd name="connsiteX33" fmla="*/ 1346 w 9739"/>
              <a:gd name="connsiteY33" fmla="*/ 2719 h 9967"/>
              <a:gd name="connsiteX34" fmla="*/ 1268 w 9739"/>
              <a:gd name="connsiteY34" fmla="*/ 2782 h 9967"/>
              <a:gd name="connsiteX35" fmla="*/ 1180 w 9739"/>
              <a:gd name="connsiteY35" fmla="*/ 2846 h 9967"/>
              <a:gd name="connsiteX36" fmla="*/ 1099 w 9739"/>
              <a:gd name="connsiteY36" fmla="*/ 2903 h 9967"/>
              <a:gd name="connsiteX37" fmla="*/ 1013 w 9739"/>
              <a:gd name="connsiteY37" fmla="*/ 2963 h 9967"/>
              <a:gd name="connsiteX38" fmla="*/ 925 w 9739"/>
              <a:gd name="connsiteY38" fmla="*/ 3020 h 9967"/>
              <a:gd name="connsiteX39" fmla="*/ 835 w 9739"/>
              <a:gd name="connsiteY39" fmla="*/ 3073 h 9967"/>
              <a:gd name="connsiteX40" fmla="*/ 745 w 9739"/>
              <a:gd name="connsiteY40" fmla="*/ 3129 h 9967"/>
              <a:gd name="connsiteX41" fmla="*/ 658 w 9739"/>
              <a:gd name="connsiteY41" fmla="*/ 3181 h 9967"/>
              <a:gd name="connsiteX42" fmla="*/ 563 w 9739"/>
              <a:gd name="connsiteY42" fmla="*/ 3229 h 9967"/>
              <a:gd name="connsiteX43" fmla="*/ 469 w 9739"/>
              <a:gd name="connsiteY43" fmla="*/ 3276 h 9967"/>
              <a:gd name="connsiteX44" fmla="*/ 643 w 9739"/>
              <a:gd name="connsiteY44" fmla="*/ 6644 h 9967"/>
              <a:gd name="connsiteX45" fmla="*/ 0 w 9739"/>
              <a:gd name="connsiteY45" fmla="*/ 9967 h 9967"/>
              <a:gd name="connsiteX46" fmla="*/ 262 w 9739"/>
              <a:gd name="connsiteY46" fmla="*/ 9925 h 9967"/>
              <a:gd name="connsiteX47" fmla="*/ 517 w 9739"/>
              <a:gd name="connsiteY47" fmla="*/ 9878 h 9967"/>
              <a:gd name="connsiteX48" fmla="*/ 782 w 9739"/>
              <a:gd name="connsiteY48" fmla="*/ 9830 h 9967"/>
              <a:gd name="connsiteX49" fmla="*/ 1028 w 9739"/>
              <a:gd name="connsiteY49" fmla="*/ 9773 h 9967"/>
              <a:gd name="connsiteX50" fmla="*/ 1282 w 9739"/>
              <a:gd name="connsiteY50" fmla="*/ 9715 h 9967"/>
              <a:gd name="connsiteX51" fmla="*/ 1532 w 9739"/>
              <a:gd name="connsiteY51" fmla="*/ 9651 h 9967"/>
              <a:gd name="connsiteX52" fmla="*/ 1779 w 9739"/>
              <a:gd name="connsiteY52" fmla="*/ 9581 h 9967"/>
              <a:gd name="connsiteX53" fmla="*/ 2020 w 9739"/>
              <a:gd name="connsiteY53" fmla="*/ 9503 h 9967"/>
              <a:gd name="connsiteX54" fmla="*/ 2262 w 9739"/>
              <a:gd name="connsiteY54" fmla="*/ 9427 h 9967"/>
              <a:gd name="connsiteX55" fmla="*/ 2505 w 9739"/>
              <a:gd name="connsiteY55" fmla="*/ 9339 h 9967"/>
              <a:gd name="connsiteX56" fmla="*/ 2746 w 9739"/>
              <a:gd name="connsiteY56" fmla="*/ 9254 h 9967"/>
              <a:gd name="connsiteX57" fmla="*/ 2977 w 9739"/>
              <a:gd name="connsiteY57" fmla="*/ 9156 h 9967"/>
              <a:gd name="connsiteX58" fmla="*/ 3208 w 9739"/>
              <a:gd name="connsiteY58" fmla="*/ 9059 h 9967"/>
              <a:gd name="connsiteX59" fmla="*/ 3442 w 9739"/>
              <a:gd name="connsiteY59" fmla="*/ 8954 h 9967"/>
              <a:gd name="connsiteX60" fmla="*/ 3666 w 9739"/>
              <a:gd name="connsiteY60" fmla="*/ 8848 h 9967"/>
              <a:gd name="connsiteX61" fmla="*/ 3889 w 9739"/>
              <a:gd name="connsiteY61" fmla="*/ 8740 h 9967"/>
              <a:gd name="connsiteX62" fmla="*/ 4113 w 9739"/>
              <a:gd name="connsiteY62" fmla="*/ 8622 h 9967"/>
              <a:gd name="connsiteX63" fmla="*/ 4331 w 9739"/>
              <a:gd name="connsiteY63" fmla="*/ 8505 h 9967"/>
              <a:gd name="connsiteX64" fmla="*/ 4545 w 9739"/>
              <a:gd name="connsiteY64" fmla="*/ 8379 h 9967"/>
              <a:gd name="connsiteX65" fmla="*/ 4759 w 9739"/>
              <a:gd name="connsiteY65" fmla="*/ 8252 h 9967"/>
              <a:gd name="connsiteX66" fmla="*/ 4961 w 9739"/>
              <a:gd name="connsiteY66" fmla="*/ 8123 h 9967"/>
              <a:gd name="connsiteX67" fmla="*/ 5165 w 9739"/>
              <a:gd name="connsiteY67" fmla="*/ 7985 h 9967"/>
              <a:gd name="connsiteX68" fmla="*/ 5368 w 9739"/>
              <a:gd name="connsiteY68" fmla="*/ 7847 h 9967"/>
              <a:gd name="connsiteX69" fmla="*/ 5563 w 9739"/>
              <a:gd name="connsiteY69" fmla="*/ 7703 h 9967"/>
              <a:gd name="connsiteX70" fmla="*/ 5761 w 9739"/>
              <a:gd name="connsiteY70" fmla="*/ 7557 h 9967"/>
              <a:gd name="connsiteX71" fmla="*/ 5950 w 9739"/>
              <a:gd name="connsiteY71" fmla="*/ 7403 h 9967"/>
              <a:gd name="connsiteX72" fmla="*/ 6138 w 9739"/>
              <a:gd name="connsiteY72" fmla="*/ 7251 h 9967"/>
              <a:gd name="connsiteX73" fmla="*/ 6319 w 9739"/>
              <a:gd name="connsiteY73" fmla="*/ 7097 h 9967"/>
              <a:gd name="connsiteX74" fmla="*/ 6502 w 9739"/>
              <a:gd name="connsiteY74" fmla="*/ 6932 h 9967"/>
              <a:gd name="connsiteX75" fmla="*/ 6678 w 9739"/>
              <a:gd name="connsiteY75" fmla="*/ 6764 h 9967"/>
              <a:gd name="connsiteX76" fmla="*/ 6848 w 9739"/>
              <a:gd name="connsiteY76" fmla="*/ 6601 h 9967"/>
              <a:gd name="connsiteX77" fmla="*/ 7017 w 9739"/>
              <a:gd name="connsiteY77" fmla="*/ 6429 h 9967"/>
              <a:gd name="connsiteX78" fmla="*/ 7180 w 9739"/>
              <a:gd name="connsiteY78" fmla="*/ 6253 h 9967"/>
              <a:gd name="connsiteX79" fmla="*/ 7342 w 9739"/>
              <a:gd name="connsiteY79" fmla="*/ 6077 h 9967"/>
              <a:gd name="connsiteX80" fmla="*/ 7498 w 9739"/>
              <a:gd name="connsiteY80" fmla="*/ 5896 h 9967"/>
              <a:gd name="connsiteX81" fmla="*/ 7653 w 9739"/>
              <a:gd name="connsiteY81" fmla="*/ 5710 h 9967"/>
              <a:gd name="connsiteX82" fmla="*/ 7797 w 9739"/>
              <a:gd name="connsiteY82" fmla="*/ 5523 h 9967"/>
              <a:gd name="connsiteX83" fmla="*/ 7938 w 9739"/>
              <a:gd name="connsiteY83" fmla="*/ 5332 h 9967"/>
              <a:gd name="connsiteX84" fmla="*/ 8080 w 9739"/>
              <a:gd name="connsiteY84" fmla="*/ 5142 h 9967"/>
              <a:gd name="connsiteX85" fmla="*/ 8213 w 9739"/>
              <a:gd name="connsiteY85" fmla="*/ 4942 h 9967"/>
              <a:gd name="connsiteX86" fmla="*/ 8342 w 9739"/>
              <a:gd name="connsiteY86" fmla="*/ 4748 h 9967"/>
              <a:gd name="connsiteX87" fmla="*/ 8467 w 9739"/>
              <a:gd name="connsiteY87" fmla="*/ 4545 h 9967"/>
              <a:gd name="connsiteX88" fmla="*/ 8584 w 9739"/>
              <a:gd name="connsiteY88" fmla="*/ 4338 h 9967"/>
              <a:gd name="connsiteX89" fmla="*/ 8699 w 9739"/>
              <a:gd name="connsiteY89" fmla="*/ 4132 h 9967"/>
              <a:gd name="connsiteX90" fmla="*/ 8815 w 9739"/>
              <a:gd name="connsiteY90" fmla="*/ 3923 h 9967"/>
              <a:gd name="connsiteX91" fmla="*/ 8923 w 9739"/>
              <a:gd name="connsiteY91" fmla="*/ 3711 h 9967"/>
              <a:gd name="connsiteX92" fmla="*/ 9019 w 9739"/>
              <a:gd name="connsiteY92" fmla="*/ 3499 h 9967"/>
              <a:gd name="connsiteX93" fmla="*/ 9119 w 9739"/>
              <a:gd name="connsiteY93" fmla="*/ 3282 h 9967"/>
              <a:gd name="connsiteX94" fmla="*/ 9206 w 9739"/>
              <a:gd name="connsiteY94" fmla="*/ 3062 h 9967"/>
              <a:gd name="connsiteX95" fmla="*/ 9295 w 9739"/>
              <a:gd name="connsiteY95" fmla="*/ 2844 h 9967"/>
              <a:gd name="connsiteX96" fmla="*/ 9372 w 9739"/>
              <a:gd name="connsiteY96" fmla="*/ 2619 h 9967"/>
              <a:gd name="connsiteX97" fmla="*/ 9446 w 9739"/>
              <a:gd name="connsiteY97" fmla="*/ 2392 h 9967"/>
              <a:gd name="connsiteX98" fmla="*/ 9514 w 9739"/>
              <a:gd name="connsiteY98" fmla="*/ 2164 h 9967"/>
              <a:gd name="connsiteX99" fmla="*/ 9582 w 9739"/>
              <a:gd name="connsiteY99" fmla="*/ 1937 h 9967"/>
              <a:gd name="connsiteX100" fmla="*/ 9639 w 9739"/>
              <a:gd name="connsiteY100" fmla="*/ 1707 h 9967"/>
              <a:gd name="connsiteX101" fmla="*/ 9693 w 9739"/>
              <a:gd name="connsiteY101" fmla="*/ 1473 h 9967"/>
              <a:gd name="connsiteX102" fmla="*/ 9739 w 9739"/>
              <a:gd name="connsiteY102" fmla="*/ 1235 h 9967"/>
              <a:gd name="connsiteX103" fmla="*/ 6041 w 9739"/>
              <a:gd name="connsiteY103" fmla="*/ 1895 h 9967"/>
              <a:gd name="connsiteX104" fmla="*/ 2954 w 9739"/>
              <a:gd name="connsiteY104" fmla="*/ 0 h 9967"/>
              <a:gd name="connsiteX0" fmla="*/ 2764 w 9731"/>
              <a:gd name="connsiteY0" fmla="*/ 0 h 9958"/>
              <a:gd name="connsiteX1" fmla="*/ 2764 w 9731"/>
              <a:gd name="connsiteY1" fmla="*/ 0 h 9958"/>
              <a:gd name="connsiteX2" fmla="*/ 2750 w 9731"/>
              <a:gd name="connsiteY2" fmla="*/ 101 h 9958"/>
              <a:gd name="connsiteX3" fmla="*/ 2728 w 9731"/>
              <a:gd name="connsiteY3" fmla="*/ 203 h 9958"/>
              <a:gd name="connsiteX4" fmla="*/ 2708 w 9731"/>
              <a:gd name="connsiteY4" fmla="*/ 304 h 9958"/>
              <a:gd name="connsiteX5" fmla="*/ 2682 w 9731"/>
              <a:gd name="connsiteY5" fmla="*/ 399 h 9958"/>
              <a:gd name="connsiteX6" fmla="*/ 2651 w 9731"/>
              <a:gd name="connsiteY6" fmla="*/ 498 h 9958"/>
              <a:gd name="connsiteX7" fmla="*/ 2622 w 9731"/>
              <a:gd name="connsiteY7" fmla="*/ 594 h 9958"/>
              <a:gd name="connsiteX8" fmla="*/ 2594 w 9731"/>
              <a:gd name="connsiteY8" fmla="*/ 690 h 9958"/>
              <a:gd name="connsiteX9" fmla="*/ 2562 w 9731"/>
              <a:gd name="connsiteY9" fmla="*/ 787 h 9958"/>
              <a:gd name="connsiteX10" fmla="*/ 2524 w 9731"/>
              <a:gd name="connsiteY10" fmla="*/ 882 h 9958"/>
              <a:gd name="connsiteX11" fmla="*/ 2484 w 9731"/>
              <a:gd name="connsiteY11" fmla="*/ 973 h 9958"/>
              <a:gd name="connsiteX12" fmla="*/ 2447 w 9731"/>
              <a:gd name="connsiteY12" fmla="*/ 1069 h 9958"/>
              <a:gd name="connsiteX13" fmla="*/ 2402 w 9731"/>
              <a:gd name="connsiteY13" fmla="*/ 1161 h 9958"/>
              <a:gd name="connsiteX14" fmla="*/ 2353 w 9731"/>
              <a:gd name="connsiteY14" fmla="*/ 1248 h 9958"/>
              <a:gd name="connsiteX15" fmla="*/ 2307 w 9731"/>
              <a:gd name="connsiteY15" fmla="*/ 1337 h 9958"/>
              <a:gd name="connsiteX16" fmla="*/ 2259 w 9731"/>
              <a:gd name="connsiteY16" fmla="*/ 1425 h 9958"/>
              <a:gd name="connsiteX17" fmla="*/ 2204 w 9731"/>
              <a:gd name="connsiteY17" fmla="*/ 1515 h 9958"/>
              <a:gd name="connsiteX18" fmla="*/ 2155 w 9731"/>
              <a:gd name="connsiteY18" fmla="*/ 1601 h 9958"/>
              <a:gd name="connsiteX19" fmla="*/ 2099 w 9731"/>
              <a:gd name="connsiteY19" fmla="*/ 1687 h 9958"/>
              <a:gd name="connsiteX20" fmla="*/ 2040 w 9731"/>
              <a:gd name="connsiteY20" fmla="*/ 1765 h 9958"/>
              <a:gd name="connsiteX21" fmla="*/ 1977 w 9731"/>
              <a:gd name="connsiteY21" fmla="*/ 1847 h 9958"/>
              <a:gd name="connsiteX22" fmla="*/ 1921 w 9731"/>
              <a:gd name="connsiteY22" fmla="*/ 1927 h 9958"/>
              <a:gd name="connsiteX23" fmla="*/ 1855 w 9731"/>
              <a:gd name="connsiteY23" fmla="*/ 2013 h 9958"/>
              <a:gd name="connsiteX24" fmla="*/ 1790 w 9731"/>
              <a:gd name="connsiteY24" fmla="*/ 2087 h 9958"/>
              <a:gd name="connsiteX25" fmla="*/ 1719 w 9731"/>
              <a:gd name="connsiteY25" fmla="*/ 2161 h 9958"/>
              <a:gd name="connsiteX26" fmla="*/ 1649 w 9731"/>
              <a:gd name="connsiteY26" fmla="*/ 2239 h 9958"/>
              <a:gd name="connsiteX27" fmla="*/ 1579 w 9731"/>
              <a:gd name="connsiteY27" fmla="*/ 2313 h 9958"/>
              <a:gd name="connsiteX28" fmla="*/ 1503 w 9731"/>
              <a:gd name="connsiteY28" fmla="*/ 2385 h 9958"/>
              <a:gd name="connsiteX29" fmla="*/ 1430 w 9731"/>
              <a:gd name="connsiteY29" fmla="*/ 2460 h 9958"/>
              <a:gd name="connsiteX30" fmla="*/ 1356 w 9731"/>
              <a:gd name="connsiteY30" fmla="*/ 2528 h 9958"/>
              <a:gd name="connsiteX31" fmla="*/ 1273 w 9731"/>
              <a:gd name="connsiteY31" fmla="*/ 2597 h 9958"/>
              <a:gd name="connsiteX32" fmla="*/ 1196 w 9731"/>
              <a:gd name="connsiteY32" fmla="*/ 2662 h 9958"/>
              <a:gd name="connsiteX33" fmla="*/ 1113 w 9731"/>
              <a:gd name="connsiteY33" fmla="*/ 2728 h 9958"/>
              <a:gd name="connsiteX34" fmla="*/ 1033 w 9731"/>
              <a:gd name="connsiteY34" fmla="*/ 2791 h 9958"/>
              <a:gd name="connsiteX35" fmla="*/ 943 w 9731"/>
              <a:gd name="connsiteY35" fmla="*/ 2855 h 9958"/>
              <a:gd name="connsiteX36" fmla="*/ 859 w 9731"/>
              <a:gd name="connsiteY36" fmla="*/ 2913 h 9958"/>
              <a:gd name="connsiteX37" fmla="*/ 771 w 9731"/>
              <a:gd name="connsiteY37" fmla="*/ 2973 h 9958"/>
              <a:gd name="connsiteX38" fmla="*/ 681 w 9731"/>
              <a:gd name="connsiteY38" fmla="*/ 3030 h 9958"/>
              <a:gd name="connsiteX39" fmla="*/ 588 w 9731"/>
              <a:gd name="connsiteY39" fmla="*/ 3083 h 9958"/>
              <a:gd name="connsiteX40" fmla="*/ 496 w 9731"/>
              <a:gd name="connsiteY40" fmla="*/ 3139 h 9958"/>
              <a:gd name="connsiteX41" fmla="*/ 407 w 9731"/>
              <a:gd name="connsiteY41" fmla="*/ 3192 h 9958"/>
              <a:gd name="connsiteX42" fmla="*/ 309 w 9731"/>
              <a:gd name="connsiteY42" fmla="*/ 3240 h 9958"/>
              <a:gd name="connsiteX43" fmla="*/ 213 w 9731"/>
              <a:gd name="connsiteY43" fmla="*/ 3287 h 9958"/>
              <a:gd name="connsiteX44" fmla="*/ 391 w 9731"/>
              <a:gd name="connsiteY44" fmla="*/ 6666 h 9958"/>
              <a:gd name="connsiteX45" fmla="*/ 0 w 9731"/>
              <a:gd name="connsiteY45" fmla="*/ 9958 h 9958"/>
              <a:gd name="connsiteX46" fmla="*/ 262 w 9731"/>
              <a:gd name="connsiteY46" fmla="*/ 9911 h 9958"/>
              <a:gd name="connsiteX47" fmla="*/ 534 w 9731"/>
              <a:gd name="connsiteY47" fmla="*/ 9863 h 9958"/>
              <a:gd name="connsiteX48" fmla="*/ 787 w 9731"/>
              <a:gd name="connsiteY48" fmla="*/ 9805 h 9958"/>
              <a:gd name="connsiteX49" fmla="*/ 1047 w 9731"/>
              <a:gd name="connsiteY49" fmla="*/ 9747 h 9958"/>
              <a:gd name="connsiteX50" fmla="*/ 1304 w 9731"/>
              <a:gd name="connsiteY50" fmla="*/ 9683 h 9958"/>
              <a:gd name="connsiteX51" fmla="*/ 1558 w 9731"/>
              <a:gd name="connsiteY51" fmla="*/ 9613 h 9958"/>
              <a:gd name="connsiteX52" fmla="*/ 1805 w 9731"/>
              <a:gd name="connsiteY52" fmla="*/ 9534 h 9958"/>
              <a:gd name="connsiteX53" fmla="*/ 2054 w 9731"/>
              <a:gd name="connsiteY53" fmla="*/ 9458 h 9958"/>
              <a:gd name="connsiteX54" fmla="*/ 2303 w 9731"/>
              <a:gd name="connsiteY54" fmla="*/ 9370 h 9958"/>
              <a:gd name="connsiteX55" fmla="*/ 2551 w 9731"/>
              <a:gd name="connsiteY55" fmla="*/ 9285 h 9958"/>
              <a:gd name="connsiteX56" fmla="*/ 2788 w 9731"/>
              <a:gd name="connsiteY56" fmla="*/ 9186 h 9958"/>
              <a:gd name="connsiteX57" fmla="*/ 3025 w 9731"/>
              <a:gd name="connsiteY57" fmla="*/ 9089 h 9958"/>
              <a:gd name="connsiteX58" fmla="*/ 3265 w 9731"/>
              <a:gd name="connsiteY58" fmla="*/ 8984 h 9958"/>
              <a:gd name="connsiteX59" fmla="*/ 3495 w 9731"/>
              <a:gd name="connsiteY59" fmla="*/ 8877 h 9958"/>
              <a:gd name="connsiteX60" fmla="*/ 3724 w 9731"/>
              <a:gd name="connsiteY60" fmla="*/ 8769 h 9958"/>
              <a:gd name="connsiteX61" fmla="*/ 3954 w 9731"/>
              <a:gd name="connsiteY61" fmla="*/ 8651 h 9958"/>
              <a:gd name="connsiteX62" fmla="*/ 4178 w 9731"/>
              <a:gd name="connsiteY62" fmla="*/ 8533 h 9958"/>
              <a:gd name="connsiteX63" fmla="*/ 4398 w 9731"/>
              <a:gd name="connsiteY63" fmla="*/ 8407 h 9958"/>
              <a:gd name="connsiteX64" fmla="*/ 4618 w 9731"/>
              <a:gd name="connsiteY64" fmla="*/ 8279 h 9958"/>
              <a:gd name="connsiteX65" fmla="*/ 4825 w 9731"/>
              <a:gd name="connsiteY65" fmla="*/ 8150 h 9958"/>
              <a:gd name="connsiteX66" fmla="*/ 5034 w 9731"/>
              <a:gd name="connsiteY66" fmla="*/ 8011 h 9958"/>
              <a:gd name="connsiteX67" fmla="*/ 5243 w 9731"/>
              <a:gd name="connsiteY67" fmla="*/ 7873 h 9958"/>
              <a:gd name="connsiteX68" fmla="*/ 5443 w 9731"/>
              <a:gd name="connsiteY68" fmla="*/ 7729 h 9958"/>
              <a:gd name="connsiteX69" fmla="*/ 5646 w 9731"/>
              <a:gd name="connsiteY69" fmla="*/ 7582 h 9958"/>
              <a:gd name="connsiteX70" fmla="*/ 5840 w 9731"/>
              <a:gd name="connsiteY70" fmla="*/ 7428 h 9958"/>
              <a:gd name="connsiteX71" fmla="*/ 6033 w 9731"/>
              <a:gd name="connsiteY71" fmla="*/ 7275 h 9958"/>
              <a:gd name="connsiteX72" fmla="*/ 6219 w 9731"/>
              <a:gd name="connsiteY72" fmla="*/ 7120 h 9958"/>
              <a:gd name="connsiteX73" fmla="*/ 6407 w 9731"/>
              <a:gd name="connsiteY73" fmla="*/ 6955 h 9958"/>
              <a:gd name="connsiteX74" fmla="*/ 6588 w 9731"/>
              <a:gd name="connsiteY74" fmla="*/ 6786 h 9958"/>
              <a:gd name="connsiteX75" fmla="*/ 6763 w 9731"/>
              <a:gd name="connsiteY75" fmla="*/ 6623 h 9958"/>
              <a:gd name="connsiteX76" fmla="*/ 6936 w 9731"/>
              <a:gd name="connsiteY76" fmla="*/ 6450 h 9958"/>
              <a:gd name="connsiteX77" fmla="*/ 7103 w 9731"/>
              <a:gd name="connsiteY77" fmla="*/ 6274 h 9958"/>
              <a:gd name="connsiteX78" fmla="*/ 7270 w 9731"/>
              <a:gd name="connsiteY78" fmla="*/ 6097 h 9958"/>
              <a:gd name="connsiteX79" fmla="*/ 7430 w 9731"/>
              <a:gd name="connsiteY79" fmla="*/ 5916 h 9958"/>
              <a:gd name="connsiteX80" fmla="*/ 7589 w 9731"/>
              <a:gd name="connsiteY80" fmla="*/ 5729 h 9958"/>
              <a:gd name="connsiteX81" fmla="*/ 7737 w 9731"/>
              <a:gd name="connsiteY81" fmla="*/ 5541 h 9958"/>
              <a:gd name="connsiteX82" fmla="*/ 7882 w 9731"/>
              <a:gd name="connsiteY82" fmla="*/ 5350 h 9958"/>
              <a:gd name="connsiteX83" fmla="*/ 8028 w 9731"/>
              <a:gd name="connsiteY83" fmla="*/ 5159 h 9958"/>
              <a:gd name="connsiteX84" fmla="*/ 8164 w 9731"/>
              <a:gd name="connsiteY84" fmla="*/ 4958 h 9958"/>
              <a:gd name="connsiteX85" fmla="*/ 8297 w 9731"/>
              <a:gd name="connsiteY85" fmla="*/ 4764 h 9958"/>
              <a:gd name="connsiteX86" fmla="*/ 8425 w 9731"/>
              <a:gd name="connsiteY86" fmla="*/ 4560 h 9958"/>
              <a:gd name="connsiteX87" fmla="*/ 8545 w 9731"/>
              <a:gd name="connsiteY87" fmla="*/ 4352 h 9958"/>
              <a:gd name="connsiteX88" fmla="*/ 8663 w 9731"/>
              <a:gd name="connsiteY88" fmla="*/ 4146 h 9958"/>
              <a:gd name="connsiteX89" fmla="*/ 8782 w 9731"/>
              <a:gd name="connsiteY89" fmla="*/ 3936 h 9958"/>
              <a:gd name="connsiteX90" fmla="*/ 8893 w 9731"/>
              <a:gd name="connsiteY90" fmla="*/ 3723 h 9958"/>
              <a:gd name="connsiteX91" fmla="*/ 8992 w 9731"/>
              <a:gd name="connsiteY91" fmla="*/ 3511 h 9958"/>
              <a:gd name="connsiteX92" fmla="*/ 9094 w 9731"/>
              <a:gd name="connsiteY92" fmla="*/ 3293 h 9958"/>
              <a:gd name="connsiteX93" fmla="*/ 9184 w 9731"/>
              <a:gd name="connsiteY93" fmla="*/ 3072 h 9958"/>
              <a:gd name="connsiteX94" fmla="*/ 9275 w 9731"/>
              <a:gd name="connsiteY94" fmla="*/ 2853 h 9958"/>
              <a:gd name="connsiteX95" fmla="*/ 9354 w 9731"/>
              <a:gd name="connsiteY95" fmla="*/ 2628 h 9958"/>
              <a:gd name="connsiteX96" fmla="*/ 9430 w 9731"/>
              <a:gd name="connsiteY96" fmla="*/ 2400 h 9958"/>
              <a:gd name="connsiteX97" fmla="*/ 9500 w 9731"/>
              <a:gd name="connsiteY97" fmla="*/ 2171 h 9958"/>
              <a:gd name="connsiteX98" fmla="*/ 9570 w 9731"/>
              <a:gd name="connsiteY98" fmla="*/ 1943 h 9958"/>
              <a:gd name="connsiteX99" fmla="*/ 9628 w 9731"/>
              <a:gd name="connsiteY99" fmla="*/ 1713 h 9958"/>
              <a:gd name="connsiteX100" fmla="*/ 9684 w 9731"/>
              <a:gd name="connsiteY100" fmla="*/ 1478 h 9958"/>
              <a:gd name="connsiteX101" fmla="*/ 9731 w 9731"/>
              <a:gd name="connsiteY101" fmla="*/ 1239 h 9958"/>
              <a:gd name="connsiteX102" fmla="*/ 5934 w 9731"/>
              <a:gd name="connsiteY102" fmla="*/ 1901 h 9958"/>
              <a:gd name="connsiteX103" fmla="*/ 2764 w 9731"/>
              <a:gd name="connsiteY103" fmla="*/ 0 h 9958"/>
              <a:gd name="connsiteX0" fmla="*/ 2621 w 9781"/>
              <a:gd name="connsiteY0" fmla="*/ 0 h 9953"/>
              <a:gd name="connsiteX1" fmla="*/ 2621 w 9781"/>
              <a:gd name="connsiteY1" fmla="*/ 0 h 9953"/>
              <a:gd name="connsiteX2" fmla="*/ 2607 w 9781"/>
              <a:gd name="connsiteY2" fmla="*/ 101 h 9953"/>
              <a:gd name="connsiteX3" fmla="*/ 2584 w 9781"/>
              <a:gd name="connsiteY3" fmla="*/ 204 h 9953"/>
              <a:gd name="connsiteX4" fmla="*/ 2564 w 9781"/>
              <a:gd name="connsiteY4" fmla="*/ 305 h 9953"/>
              <a:gd name="connsiteX5" fmla="*/ 2537 w 9781"/>
              <a:gd name="connsiteY5" fmla="*/ 401 h 9953"/>
              <a:gd name="connsiteX6" fmla="*/ 2505 w 9781"/>
              <a:gd name="connsiteY6" fmla="*/ 500 h 9953"/>
              <a:gd name="connsiteX7" fmla="*/ 2475 w 9781"/>
              <a:gd name="connsiteY7" fmla="*/ 597 h 9953"/>
              <a:gd name="connsiteX8" fmla="*/ 2447 w 9781"/>
              <a:gd name="connsiteY8" fmla="*/ 693 h 9953"/>
              <a:gd name="connsiteX9" fmla="*/ 2414 w 9781"/>
              <a:gd name="connsiteY9" fmla="*/ 790 h 9953"/>
              <a:gd name="connsiteX10" fmla="*/ 2375 w 9781"/>
              <a:gd name="connsiteY10" fmla="*/ 886 h 9953"/>
              <a:gd name="connsiteX11" fmla="*/ 2334 w 9781"/>
              <a:gd name="connsiteY11" fmla="*/ 977 h 9953"/>
              <a:gd name="connsiteX12" fmla="*/ 2296 w 9781"/>
              <a:gd name="connsiteY12" fmla="*/ 1074 h 9953"/>
              <a:gd name="connsiteX13" fmla="*/ 2249 w 9781"/>
              <a:gd name="connsiteY13" fmla="*/ 1166 h 9953"/>
              <a:gd name="connsiteX14" fmla="*/ 2199 w 9781"/>
              <a:gd name="connsiteY14" fmla="*/ 1253 h 9953"/>
              <a:gd name="connsiteX15" fmla="*/ 2152 w 9781"/>
              <a:gd name="connsiteY15" fmla="*/ 1343 h 9953"/>
              <a:gd name="connsiteX16" fmla="*/ 2102 w 9781"/>
              <a:gd name="connsiteY16" fmla="*/ 1431 h 9953"/>
              <a:gd name="connsiteX17" fmla="*/ 2046 w 9781"/>
              <a:gd name="connsiteY17" fmla="*/ 1521 h 9953"/>
              <a:gd name="connsiteX18" fmla="*/ 1996 w 9781"/>
              <a:gd name="connsiteY18" fmla="*/ 1608 h 9953"/>
              <a:gd name="connsiteX19" fmla="*/ 1938 w 9781"/>
              <a:gd name="connsiteY19" fmla="*/ 1694 h 9953"/>
              <a:gd name="connsiteX20" fmla="*/ 1877 w 9781"/>
              <a:gd name="connsiteY20" fmla="*/ 1772 h 9953"/>
              <a:gd name="connsiteX21" fmla="*/ 1813 w 9781"/>
              <a:gd name="connsiteY21" fmla="*/ 1855 h 9953"/>
              <a:gd name="connsiteX22" fmla="*/ 1755 w 9781"/>
              <a:gd name="connsiteY22" fmla="*/ 1935 h 9953"/>
              <a:gd name="connsiteX23" fmla="*/ 1687 w 9781"/>
              <a:gd name="connsiteY23" fmla="*/ 2021 h 9953"/>
              <a:gd name="connsiteX24" fmla="*/ 1620 w 9781"/>
              <a:gd name="connsiteY24" fmla="*/ 2096 h 9953"/>
              <a:gd name="connsiteX25" fmla="*/ 1548 w 9781"/>
              <a:gd name="connsiteY25" fmla="*/ 2170 h 9953"/>
              <a:gd name="connsiteX26" fmla="*/ 1476 w 9781"/>
              <a:gd name="connsiteY26" fmla="*/ 2248 h 9953"/>
              <a:gd name="connsiteX27" fmla="*/ 1404 w 9781"/>
              <a:gd name="connsiteY27" fmla="*/ 2323 h 9953"/>
              <a:gd name="connsiteX28" fmla="*/ 1326 w 9781"/>
              <a:gd name="connsiteY28" fmla="*/ 2395 h 9953"/>
              <a:gd name="connsiteX29" fmla="*/ 1251 w 9781"/>
              <a:gd name="connsiteY29" fmla="*/ 2470 h 9953"/>
              <a:gd name="connsiteX30" fmla="*/ 1174 w 9781"/>
              <a:gd name="connsiteY30" fmla="*/ 2539 h 9953"/>
              <a:gd name="connsiteX31" fmla="*/ 1089 w 9781"/>
              <a:gd name="connsiteY31" fmla="*/ 2608 h 9953"/>
              <a:gd name="connsiteX32" fmla="*/ 1010 w 9781"/>
              <a:gd name="connsiteY32" fmla="*/ 2673 h 9953"/>
              <a:gd name="connsiteX33" fmla="*/ 925 w 9781"/>
              <a:gd name="connsiteY33" fmla="*/ 2740 h 9953"/>
              <a:gd name="connsiteX34" fmla="*/ 843 w 9781"/>
              <a:gd name="connsiteY34" fmla="*/ 2803 h 9953"/>
              <a:gd name="connsiteX35" fmla="*/ 750 w 9781"/>
              <a:gd name="connsiteY35" fmla="*/ 2867 h 9953"/>
              <a:gd name="connsiteX36" fmla="*/ 664 w 9781"/>
              <a:gd name="connsiteY36" fmla="*/ 2925 h 9953"/>
              <a:gd name="connsiteX37" fmla="*/ 573 w 9781"/>
              <a:gd name="connsiteY37" fmla="*/ 2986 h 9953"/>
              <a:gd name="connsiteX38" fmla="*/ 481 w 9781"/>
              <a:gd name="connsiteY38" fmla="*/ 3043 h 9953"/>
              <a:gd name="connsiteX39" fmla="*/ 385 w 9781"/>
              <a:gd name="connsiteY39" fmla="*/ 3096 h 9953"/>
              <a:gd name="connsiteX40" fmla="*/ 291 w 9781"/>
              <a:gd name="connsiteY40" fmla="*/ 3152 h 9953"/>
              <a:gd name="connsiteX41" fmla="*/ 199 w 9781"/>
              <a:gd name="connsiteY41" fmla="*/ 3205 h 9953"/>
              <a:gd name="connsiteX42" fmla="*/ 99 w 9781"/>
              <a:gd name="connsiteY42" fmla="*/ 3254 h 9953"/>
              <a:gd name="connsiteX43" fmla="*/ 0 w 9781"/>
              <a:gd name="connsiteY43" fmla="*/ 3301 h 9953"/>
              <a:gd name="connsiteX44" fmla="*/ 183 w 9781"/>
              <a:gd name="connsiteY44" fmla="*/ 6694 h 9953"/>
              <a:gd name="connsiteX45" fmla="*/ 50 w 9781"/>
              <a:gd name="connsiteY45" fmla="*/ 9953 h 9953"/>
              <a:gd name="connsiteX46" fmla="*/ 330 w 9781"/>
              <a:gd name="connsiteY46" fmla="*/ 9905 h 9953"/>
              <a:gd name="connsiteX47" fmla="*/ 590 w 9781"/>
              <a:gd name="connsiteY47" fmla="*/ 9846 h 9953"/>
              <a:gd name="connsiteX48" fmla="*/ 857 w 9781"/>
              <a:gd name="connsiteY48" fmla="*/ 9788 h 9953"/>
              <a:gd name="connsiteX49" fmla="*/ 1121 w 9781"/>
              <a:gd name="connsiteY49" fmla="*/ 9724 h 9953"/>
              <a:gd name="connsiteX50" fmla="*/ 1382 w 9781"/>
              <a:gd name="connsiteY50" fmla="*/ 9654 h 9953"/>
              <a:gd name="connsiteX51" fmla="*/ 1636 w 9781"/>
              <a:gd name="connsiteY51" fmla="*/ 9574 h 9953"/>
              <a:gd name="connsiteX52" fmla="*/ 1892 w 9781"/>
              <a:gd name="connsiteY52" fmla="*/ 9498 h 9953"/>
              <a:gd name="connsiteX53" fmla="*/ 2148 w 9781"/>
              <a:gd name="connsiteY53" fmla="*/ 9410 h 9953"/>
              <a:gd name="connsiteX54" fmla="*/ 2403 w 9781"/>
              <a:gd name="connsiteY54" fmla="*/ 9324 h 9953"/>
              <a:gd name="connsiteX55" fmla="*/ 2646 w 9781"/>
              <a:gd name="connsiteY55" fmla="*/ 9225 h 9953"/>
              <a:gd name="connsiteX56" fmla="*/ 2890 w 9781"/>
              <a:gd name="connsiteY56" fmla="*/ 9127 h 9953"/>
              <a:gd name="connsiteX57" fmla="*/ 3136 w 9781"/>
              <a:gd name="connsiteY57" fmla="*/ 9022 h 9953"/>
              <a:gd name="connsiteX58" fmla="*/ 3373 w 9781"/>
              <a:gd name="connsiteY58" fmla="*/ 8914 h 9953"/>
              <a:gd name="connsiteX59" fmla="*/ 3608 w 9781"/>
              <a:gd name="connsiteY59" fmla="*/ 8806 h 9953"/>
              <a:gd name="connsiteX60" fmla="*/ 3844 w 9781"/>
              <a:gd name="connsiteY60" fmla="*/ 8687 h 9953"/>
              <a:gd name="connsiteX61" fmla="*/ 4074 w 9781"/>
              <a:gd name="connsiteY61" fmla="*/ 8569 h 9953"/>
              <a:gd name="connsiteX62" fmla="*/ 4301 w 9781"/>
              <a:gd name="connsiteY62" fmla="*/ 8442 h 9953"/>
              <a:gd name="connsiteX63" fmla="*/ 4527 w 9781"/>
              <a:gd name="connsiteY63" fmla="*/ 8314 h 9953"/>
              <a:gd name="connsiteX64" fmla="*/ 4739 w 9781"/>
              <a:gd name="connsiteY64" fmla="*/ 8184 h 9953"/>
              <a:gd name="connsiteX65" fmla="*/ 4954 w 9781"/>
              <a:gd name="connsiteY65" fmla="*/ 8045 h 9953"/>
              <a:gd name="connsiteX66" fmla="*/ 5169 w 9781"/>
              <a:gd name="connsiteY66" fmla="*/ 7906 h 9953"/>
              <a:gd name="connsiteX67" fmla="*/ 5374 w 9781"/>
              <a:gd name="connsiteY67" fmla="*/ 7762 h 9953"/>
              <a:gd name="connsiteX68" fmla="*/ 5583 w 9781"/>
              <a:gd name="connsiteY68" fmla="*/ 7614 h 9953"/>
              <a:gd name="connsiteX69" fmla="*/ 5782 w 9781"/>
              <a:gd name="connsiteY69" fmla="*/ 7459 h 9953"/>
              <a:gd name="connsiteX70" fmla="*/ 5981 w 9781"/>
              <a:gd name="connsiteY70" fmla="*/ 7306 h 9953"/>
              <a:gd name="connsiteX71" fmla="*/ 6172 w 9781"/>
              <a:gd name="connsiteY71" fmla="*/ 7150 h 9953"/>
              <a:gd name="connsiteX72" fmla="*/ 6365 w 9781"/>
              <a:gd name="connsiteY72" fmla="*/ 6984 h 9953"/>
              <a:gd name="connsiteX73" fmla="*/ 6551 w 9781"/>
              <a:gd name="connsiteY73" fmla="*/ 6815 h 9953"/>
              <a:gd name="connsiteX74" fmla="*/ 6731 w 9781"/>
              <a:gd name="connsiteY74" fmla="*/ 6651 h 9953"/>
              <a:gd name="connsiteX75" fmla="*/ 6909 w 9781"/>
              <a:gd name="connsiteY75" fmla="*/ 6477 h 9953"/>
              <a:gd name="connsiteX76" fmla="*/ 7080 w 9781"/>
              <a:gd name="connsiteY76" fmla="*/ 6300 h 9953"/>
              <a:gd name="connsiteX77" fmla="*/ 7252 w 9781"/>
              <a:gd name="connsiteY77" fmla="*/ 6123 h 9953"/>
              <a:gd name="connsiteX78" fmla="*/ 7416 w 9781"/>
              <a:gd name="connsiteY78" fmla="*/ 5941 h 9953"/>
              <a:gd name="connsiteX79" fmla="*/ 7580 w 9781"/>
              <a:gd name="connsiteY79" fmla="*/ 5753 h 9953"/>
              <a:gd name="connsiteX80" fmla="*/ 7732 w 9781"/>
              <a:gd name="connsiteY80" fmla="*/ 5564 h 9953"/>
              <a:gd name="connsiteX81" fmla="*/ 7881 w 9781"/>
              <a:gd name="connsiteY81" fmla="*/ 5373 h 9953"/>
              <a:gd name="connsiteX82" fmla="*/ 8031 w 9781"/>
              <a:gd name="connsiteY82" fmla="*/ 5181 h 9953"/>
              <a:gd name="connsiteX83" fmla="*/ 8171 w 9781"/>
              <a:gd name="connsiteY83" fmla="*/ 4979 h 9953"/>
              <a:gd name="connsiteX84" fmla="*/ 8307 w 9781"/>
              <a:gd name="connsiteY84" fmla="*/ 4784 h 9953"/>
              <a:gd name="connsiteX85" fmla="*/ 8439 w 9781"/>
              <a:gd name="connsiteY85" fmla="*/ 4579 h 9953"/>
              <a:gd name="connsiteX86" fmla="*/ 8562 w 9781"/>
              <a:gd name="connsiteY86" fmla="*/ 4370 h 9953"/>
              <a:gd name="connsiteX87" fmla="*/ 8683 w 9781"/>
              <a:gd name="connsiteY87" fmla="*/ 4163 h 9953"/>
              <a:gd name="connsiteX88" fmla="*/ 8806 w 9781"/>
              <a:gd name="connsiteY88" fmla="*/ 3953 h 9953"/>
              <a:gd name="connsiteX89" fmla="*/ 8920 w 9781"/>
              <a:gd name="connsiteY89" fmla="*/ 3739 h 9953"/>
              <a:gd name="connsiteX90" fmla="*/ 9022 w 9781"/>
              <a:gd name="connsiteY90" fmla="*/ 3526 h 9953"/>
              <a:gd name="connsiteX91" fmla="*/ 9126 w 9781"/>
              <a:gd name="connsiteY91" fmla="*/ 3307 h 9953"/>
              <a:gd name="connsiteX92" fmla="*/ 9219 w 9781"/>
              <a:gd name="connsiteY92" fmla="*/ 3085 h 9953"/>
              <a:gd name="connsiteX93" fmla="*/ 9312 w 9781"/>
              <a:gd name="connsiteY93" fmla="*/ 2865 h 9953"/>
              <a:gd name="connsiteX94" fmla="*/ 9394 w 9781"/>
              <a:gd name="connsiteY94" fmla="*/ 2639 h 9953"/>
              <a:gd name="connsiteX95" fmla="*/ 9472 w 9781"/>
              <a:gd name="connsiteY95" fmla="*/ 2410 h 9953"/>
              <a:gd name="connsiteX96" fmla="*/ 9544 w 9781"/>
              <a:gd name="connsiteY96" fmla="*/ 2180 h 9953"/>
              <a:gd name="connsiteX97" fmla="*/ 9616 w 9781"/>
              <a:gd name="connsiteY97" fmla="*/ 1951 h 9953"/>
              <a:gd name="connsiteX98" fmla="*/ 9675 w 9781"/>
              <a:gd name="connsiteY98" fmla="*/ 1720 h 9953"/>
              <a:gd name="connsiteX99" fmla="*/ 9733 w 9781"/>
              <a:gd name="connsiteY99" fmla="*/ 1484 h 9953"/>
              <a:gd name="connsiteX100" fmla="*/ 9781 w 9781"/>
              <a:gd name="connsiteY100" fmla="*/ 1244 h 9953"/>
              <a:gd name="connsiteX101" fmla="*/ 5879 w 9781"/>
              <a:gd name="connsiteY101" fmla="*/ 1909 h 9953"/>
              <a:gd name="connsiteX102" fmla="*/ 2621 w 9781"/>
              <a:gd name="connsiteY102" fmla="*/ 0 h 9953"/>
              <a:gd name="connsiteX0" fmla="*/ 2680 w 10000"/>
              <a:gd name="connsiteY0" fmla="*/ 0 h 10176"/>
              <a:gd name="connsiteX1" fmla="*/ 2680 w 10000"/>
              <a:gd name="connsiteY1" fmla="*/ 0 h 10176"/>
              <a:gd name="connsiteX2" fmla="*/ 2665 w 10000"/>
              <a:gd name="connsiteY2" fmla="*/ 101 h 10176"/>
              <a:gd name="connsiteX3" fmla="*/ 2642 w 10000"/>
              <a:gd name="connsiteY3" fmla="*/ 205 h 10176"/>
              <a:gd name="connsiteX4" fmla="*/ 2621 w 10000"/>
              <a:gd name="connsiteY4" fmla="*/ 306 h 10176"/>
              <a:gd name="connsiteX5" fmla="*/ 2594 w 10000"/>
              <a:gd name="connsiteY5" fmla="*/ 403 h 10176"/>
              <a:gd name="connsiteX6" fmla="*/ 2561 w 10000"/>
              <a:gd name="connsiteY6" fmla="*/ 502 h 10176"/>
              <a:gd name="connsiteX7" fmla="*/ 2530 w 10000"/>
              <a:gd name="connsiteY7" fmla="*/ 600 h 10176"/>
              <a:gd name="connsiteX8" fmla="*/ 2502 w 10000"/>
              <a:gd name="connsiteY8" fmla="*/ 696 h 10176"/>
              <a:gd name="connsiteX9" fmla="*/ 2468 w 10000"/>
              <a:gd name="connsiteY9" fmla="*/ 794 h 10176"/>
              <a:gd name="connsiteX10" fmla="*/ 2428 w 10000"/>
              <a:gd name="connsiteY10" fmla="*/ 890 h 10176"/>
              <a:gd name="connsiteX11" fmla="*/ 2386 w 10000"/>
              <a:gd name="connsiteY11" fmla="*/ 982 h 10176"/>
              <a:gd name="connsiteX12" fmla="*/ 2347 w 10000"/>
              <a:gd name="connsiteY12" fmla="*/ 1079 h 10176"/>
              <a:gd name="connsiteX13" fmla="*/ 2299 w 10000"/>
              <a:gd name="connsiteY13" fmla="*/ 1172 h 10176"/>
              <a:gd name="connsiteX14" fmla="*/ 2248 w 10000"/>
              <a:gd name="connsiteY14" fmla="*/ 1259 h 10176"/>
              <a:gd name="connsiteX15" fmla="*/ 2200 w 10000"/>
              <a:gd name="connsiteY15" fmla="*/ 1349 h 10176"/>
              <a:gd name="connsiteX16" fmla="*/ 2149 w 10000"/>
              <a:gd name="connsiteY16" fmla="*/ 1438 h 10176"/>
              <a:gd name="connsiteX17" fmla="*/ 2092 w 10000"/>
              <a:gd name="connsiteY17" fmla="*/ 1528 h 10176"/>
              <a:gd name="connsiteX18" fmla="*/ 2041 w 10000"/>
              <a:gd name="connsiteY18" fmla="*/ 1616 h 10176"/>
              <a:gd name="connsiteX19" fmla="*/ 1981 w 10000"/>
              <a:gd name="connsiteY19" fmla="*/ 1702 h 10176"/>
              <a:gd name="connsiteX20" fmla="*/ 1919 w 10000"/>
              <a:gd name="connsiteY20" fmla="*/ 1780 h 10176"/>
              <a:gd name="connsiteX21" fmla="*/ 1854 w 10000"/>
              <a:gd name="connsiteY21" fmla="*/ 1864 h 10176"/>
              <a:gd name="connsiteX22" fmla="*/ 1794 w 10000"/>
              <a:gd name="connsiteY22" fmla="*/ 1944 h 10176"/>
              <a:gd name="connsiteX23" fmla="*/ 1725 w 10000"/>
              <a:gd name="connsiteY23" fmla="*/ 2031 h 10176"/>
              <a:gd name="connsiteX24" fmla="*/ 1656 w 10000"/>
              <a:gd name="connsiteY24" fmla="*/ 2106 h 10176"/>
              <a:gd name="connsiteX25" fmla="*/ 1583 w 10000"/>
              <a:gd name="connsiteY25" fmla="*/ 2180 h 10176"/>
              <a:gd name="connsiteX26" fmla="*/ 1509 w 10000"/>
              <a:gd name="connsiteY26" fmla="*/ 2259 h 10176"/>
              <a:gd name="connsiteX27" fmla="*/ 1435 w 10000"/>
              <a:gd name="connsiteY27" fmla="*/ 2334 h 10176"/>
              <a:gd name="connsiteX28" fmla="*/ 1356 w 10000"/>
              <a:gd name="connsiteY28" fmla="*/ 2406 h 10176"/>
              <a:gd name="connsiteX29" fmla="*/ 1279 w 10000"/>
              <a:gd name="connsiteY29" fmla="*/ 2482 h 10176"/>
              <a:gd name="connsiteX30" fmla="*/ 1200 w 10000"/>
              <a:gd name="connsiteY30" fmla="*/ 2551 h 10176"/>
              <a:gd name="connsiteX31" fmla="*/ 1113 w 10000"/>
              <a:gd name="connsiteY31" fmla="*/ 2620 h 10176"/>
              <a:gd name="connsiteX32" fmla="*/ 1033 w 10000"/>
              <a:gd name="connsiteY32" fmla="*/ 2686 h 10176"/>
              <a:gd name="connsiteX33" fmla="*/ 946 w 10000"/>
              <a:gd name="connsiteY33" fmla="*/ 2753 h 10176"/>
              <a:gd name="connsiteX34" fmla="*/ 862 w 10000"/>
              <a:gd name="connsiteY34" fmla="*/ 2816 h 10176"/>
              <a:gd name="connsiteX35" fmla="*/ 767 w 10000"/>
              <a:gd name="connsiteY35" fmla="*/ 2881 h 10176"/>
              <a:gd name="connsiteX36" fmla="*/ 679 w 10000"/>
              <a:gd name="connsiteY36" fmla="*/ 2939 h 10176"/>
              <a:gd name="connsiteX37" fmla="*/ 586 w 10000"/>
              <a:gd name="connsiteY37" fmla="*/ 3000 h 10176"/>
              <a:gd name="connsiteX38" fmla="*/ 492 w 10000"/>
              <a:gd name="connsiteY38" fmla="*/ 3057 h 10176"/>
              <a:gd name="connsiteX39" fmla="*/ 394 w 10000"/>
              <a:gd name="connsiteY39" fmla="*/ 3111 h 10176"/>
              <a:gd name="connsiteX40" fmla="*/ 298 w 10000"/>
              <a:gd name="connsiteY40" fmla="*/ 3167 h 10176"/>
              <a:gd name="connsiteX41" fmla="*/ 203 w 10000"/>
              <a:gd name="connsiteY41" fmla="*/ 3220 h 10176"/>
              <a:gd name="connsiteX42" fmla="*/ 101 w 10000"/>
              <a:gd name="connsiteY42" fmla="*/ 3269 h 10176"/>
              <a:gd name="connsiteX43" fmla="*/ 0 w 10000"/>
              <a:gd name="connsiteY43" fmla="*/ 3317 h 10176"/>
              <a:gd name="connsiteX44" fmla="*/ 187 w 10000"/>
              <a:gd name="connsiteY44" fmla="*/ 6726 h 10176"/>
              <a:gd name="connsiteX45" fmla="*/ 337 w 10000"/>
              <a:gd name="connsiteY45" fmla="*/ 9952 h 10176"/>
              <a:gd name="connsiteX46" fmla="*/ 603 w 10000"/>
              <a:gd name="connsiteY46" fmla="*/ 9892 h 10176"/>
              <a:gd name="connsiteX47" fmla="*/ 876 w 10000"/>
              <a:gd name="connsiteY47" fmla="*/ 9834 h 10176"/>
              <a:gd name="connsiteX48" fmla="*/ 1146 w 10000"/>
              <a:gd name="connsiteY48" fmla="*/ 9770 h 10176"/>
              <a:gd name="connsiteX49" fmla="*/ 1413 w 10000"/>
              <a:gd name="connsiteY49" fmla="*/ 9700 h 10176"/>
              <a:gd name="connsiteX50" fmla="*/ 1673 w 10000"/>
              <a:gd name="connsiteY50" fmla="*/ 9619 h 10176"/>
              <a:gd name="connsiteX51" fmla="*/ 1934 w 10000"/>
              <a:gd name="connsiteY51" fmla="*/ 9543 h 10176"/>
              <a:gd name="connsiteX52" fmla="*/ 2196 w 10000"/>
              <a:gd name="connsiteY52" fmla="*/ 9454 h 10176"/>
              <a:gd name="connsiteX53" fmla="*/ 2457 w 10000"/>
              <a:gd name="connsiteY53" fmla="*/ 9368 h 10176"/>
              <a:gd name="connsiteX54" fmla="*/ 2705 w 10000"/>
              <a:gd name="connsiteY54" fmla="*/ 9269 h 10176"/>
              <a:gd name="connsiteX55" fmla="*/ 2955 w 10000"/>
              <a:gd name="connsiteY55" fmla="*/ 9170 h 10176"/>
              <a:gd name="connsiteX56" fmla="*/ 3206 w 10000"/>
              <a:gd name="connsiteY56" fmla="*/ 9065 h 10176"/>
              <a:gd name="connsiteX57" fmla="*/ 3449 w 10000"/>
              <a:gd name="connsiteY57" fmla="*/ 8956 h 10176"/>
              <a:gd name="connsiteX58" fmla="*/ 3689 w 10000"/>
              <a:gd name="connsiteY58" fmla="*/ 8848 h 10176"/>
              <a:gd name="connsiteX59" fmla="*/ 3930 w 10000"/>
              <a:gd name="connsiteY59" fmla="*/ 8728 h 10176"/>
              <a:gd name="connsiteX60" fmla="*/ 4165 w 10000"/>
              <a:gd name="connsiteY60" fmla="*/ 8609 h 10176"/>
              <a:gd name="connsiteX61" fmla="*/ 4397 w 10000"/>
              <a:gd name="connsiteY61" fmla="*/ 8482 h 10176"/>
              <a:gd name="connsiteX62" fmla="*/ 4628 w 10000"/>
              <a:gd name="connsiteY62" fmla="*/ 8353 h 10176"/>
              <a:gd name="connsiteX63" fmla="*/ 4845 w 10000"/>
              <a:gd name="connsiteY63" fmla="*/ 8223 h 10176"/>
              <a:gd name="connsiteX64" fmla="*/ 5065 w 10000"/>
              <a:gd name="connsiteY64" fmla="*/ 8083 h 10176"/>
              <a:gd name="connsiteX65" fmla="*/ 5285 w 10000"/>
              <a:gd name="connsiteY65" fmla="*/ 7943 h 10176"/>
              <a:gd name="connsiteX66" fmla="*/ 5494 w 10000"/>
              <a:gd name="connsiteY66" fmla="*/ 7799 h 10176"/>
              <a:gd name="connsiteX67" fmla="*/ 5708 w 10000"/>
              <a:gd name="connsiteY67" fmla="*/ 7650 h 10176"/>
              <a:gd name="connsiteX68" fmla="*/ 5911 w 10000"/>
              <a:gd name="connsiteY68" fmla="*/ 7494 h 10176"/>
              <a:gd name="connsiteX69" fmla="*/ 6115 w 10000"/>
              <a:gd name="connsiteY69" fmla="*/ 7341 h 10176"/>
              <a:gd name="connsiteX70" fmla="*/ 6310 w 10000"/>
              <a:gd name="connsiteY70" fmla="*/ 7184 h 10176"/>
              <a:gd name="connsiteX71" fmla="*/ 6508 w 10000"/>
              <a:gd name="connsiteY71" fmla="*/ 7017 h 10176"/>
              <a:gd name="connsiteX72" fmla="*/ 6698 w 10000"/>
              <a:gd name="connsiteY72" fmla="*/ 6847 h 10176"/>
              <a:gd name="connsiteX73" fmla="*/ 6882 w 10000"/>
              <a:gd name="connsiteY73" fmla="*/ 6682 h 10176"/>
              <a:gd name="connsiteX74" fmla="*/ 7064 w 10000"/>
              <a:gd name="connsiteY74" fmla="*/ 6508 h 10176"/>
              <a:gd name="connsiteX75" fmla="*/ 7239 w 10000"/>
              <a:gd name="connsiteY75" fmla="*/ 6330 h 10176"/>
              <a:gd name="connsiteX76" fmla="*/ 7414 w 10000"/>
              <a:gd name="connsiteY76" fmla="*/ 6152 h 10176"/>
              <a:gd name="connsiteX77" fmla="*/ 7582 w 10000"/>
              <a:gd name="connsiteY77" fmla="*/ 5969 h 10176"/>
              <a:gd name="connsiteX78" fmla="*/ 7750 w 10000"/>
              <a:gd name="connsiteY78" fmla="*/ 5780 h 10176"/>
              <a:gd name="connsiteX79" fmla="*/ 7905 w 10000"/>
              <a:gd name="connsiteY79" fmla="*/ 5590 h 10176"/>
              <a:gd name="connsiteX80" fmla="*/ 8057 w 10000"/>
              <a:gd name="connsiteY80" fmla="*/ 5398 h 10176"/>
              <a:gd name="connsiteX81" fmla="*/ 8211 w 10000"/>
              <a:gd name="connsiteY81" fmla="*/ 5205 h 10176"/>
              <a:gd name="connsiteX82" fmla="*/ 8354 w 10000"/>
              <a:gd name="connsiteY82" fmla="*/ 5003 h 10176"/>
              <a:gd name="connsiteX83" fmla="*/ 8493 w 10000"/>
              <a:gd name="connsiteY83" fmla="*/ 4807 h 10176"/>
              <a:gd name="connsiteX84" fmla="*/ 8628 w 10000"/>
              <a:gd name="connsiteY84" fmla="*/ 4601 h 10176"/>
              <a:gd name="connsiteX85" fmla="*/ 8754 w 10000"/>
              <a:gd name="connsiteY85" fmla="*/ 4391 h 10176"/>
              <a:gd name="connsiteX86" fmla="*/ 8877 w 10000"/>
              <a:gd name="connsiteY86" fmla="*/ 4183 h 10176"/>
              <a:gd name="connsiteX87" fmla="*/ 9003 w 10000"/>
              <a:gd name="connsiteY87" fmla="*/ 3972 h 10176"/>
              <a:gd name="connsiteX88" fmla="*/ 9120 w 10000"/>
              <a:gd name="connsiteY88" fmla="*/ 3757 h 10176"/>
              <a:gd name="connsiteX89" fmla="*/ 9224 w 10000"/>
              <a:gd name="connsiteY89" fmla="*/ 3543 h 10176"/>
              <a:gd name="connsiteX90" fmla="*/ 9330 w 10000"/>
              <a:gd name="connsiteY90" fmla="*/ 3323 h 10176"/>
              <a:gd name="connsiteX91" fmla="*/ 9425 w 10000"/>
              <a:gd name="connsiteY91" fmla="*/ 3100 h 10176"/>
              <a:gd name="connsiteX92" fmla="*/ 9520 w 10000"/>
              <a:gd name="connsiteY92" fmla="*/ 2879 h 10176"/>
              <a:gd name="connsiteX93" fmla="*/ 9604 w 10000"/>
              <a:gd name="connsiteY93" fmla="*/ 2651 h 10176"/>
              <a:gd name="connsiteX94" fmla="*/ 9684 w 10000"/>
              <a:gd name="connsiteY94" fmla="*/ 2421 h 10176"/>
              <a:gd name="connsiteX95" fmla="*/ 9758 w 10000"/>
              <a:gd name="connsiteY95" fmla="*/ 2190 h 10176"/>
              <a:gd name="connsiteX96" fmla="*/ 9831 w 10000"/>
              <a:gd name="connsiteY96" fmla="*/ 1960 h 10176"/>
              <a:gd name="connsiteX97" fmla="*/ 9892 w 10000"/>
              <a:gd name="connsiteY97" fmla="*/ 1728 h 10176"/>
              <a:gd name="connsiteX98" fmla="*/ 9951 w 10000"/>
              <a:gd name="connsiteY98" fmla="*/ 1491 h 10176"/>
              <a:gd name="connsiteX99" fmla="*/ 10000 w 10000"/>
              <a:gd name="connsiteY99" fmla="*/ 1250 h 10176"/>
              <a:gd name="connsiteX100" fmla="*/ 6011 w 10000"/>
              <a:gd name="connsiteY100" fmla="*/ 1918 h 10176"/>
              <a:gd name="connsiteX101" fmla="*/ 2680 w 10000"/>
              <a:gd name="connsiteY101" fmla="*/ 0 h 10176"/>
              <a:gd name="connsiteX0" fmla="*/ 2680 w 10000"/>
              <a:gd name="connsiteY0" fmla="*/ 0 h 9892"/>
              <a:gd name="connsiteX1" fmla="*/ 2680 w 10000"/>
              <a:gd name="connsiteY1" fmla="*/ 0 h 9892"/>
              <a:gd name="connsiteX2" fmla="*/ 2665 w 10000"/>
              <a:gd name="connsiteY2" fmla="*/ 101 h 9892"/>
              <a:gd name="connsiteX3" fmla="*/ 2642 w 10000"/>
              <a:gd name="connsiteY3" fmla="*/ 205 h 9892"/>
              <a:gd name="connsiteX4" fmla="*/ 2621 w 10000"/>
              <a:gd name="connsiteY4" fmla="*/ 306 h 9892"/>
              <a:gd name="connsiteX5" fmla="*/ 2594 w 10000"/>
              <a:gd name="connsiteY5" fmla="*/ 403 h 9892"/>
              <a:gd name="connsiteX6" fmla="*/ 2561 w 10000"/>
              <a:gd name="connsiteY6" fmla="*/ 502 h 9892"/>
              <a:gd name="connsiteX7" fmla="*/ 2530 w 10000"/>
              <a:gd name="connsiteY7" fmla="*/ 600 h 9892"/>
              <a:gd name="connsiteX8" fmla="*/ 2502 w 10000"/>
              <a:gd name="connsiteY8" fmla="*/ 696 h 9892"/>
              <a:gd name="connsiteX9" fmla="*/ 2468 w 10000"/>
              <a:gd name="connsiteY9" fmla="*/ 794 h 9892"/>
              <a:gd name="connsiteX10" fmla="*/ 2428 w 10000"/>
              <a:gd name="connsiteY10" fmla="*/ 890 h 9892"/>
              <a:gd name="connsiteX11" fmla="*/ 2386 w 10000"/>
              <a:gd name="connsiteY11" fmla="*/ 982 h 9892"/>
              <a:gd name="connsiteX12" fmla="*/ 2347 w 10000"/>
              <a:gd name="connsiteY12" fmla="*/ 1079 h 9892"/>
              <a:gd name="connsiteX13" fmla="*/ 2299 w 10000"/>
              <a:gd name="connsiteY13" fmla="*/ 1172 h 9892"/>
              <a:gd name="connsiteX14" fmla="*/ 2248 w 10000"/>
              <a:gd name="connsiteY14" fmla="*/ 1259 h 9892"/>
              <a:gd name="connsiteX15" fmla="*/ 2200 w 10000"/>
              <a:gd name="connsiteY15" fmla="*/ 1349 h 9892"/>
              <a:gd name="connsiteX16" fmla="*/ 2149 w 10000"/>
              <a:gd name="connsiteY16" fmla="*/ 1438 h 9892"/>
              <a:gd name="connsiteX17" fmla="*/ 2092 w 10000"/>
              <a:gd name="connsiteY17" fmla="*/ 1528 h 9892"/>
              <a:gd name="connsiteX18" fmla="*/ 2041 w 10000"/>
              <a:gd name="connsiteY18" fmla="*/ 1616 h 9892"/>
              <a:gd name="connsiteX19" fmla="*/ 1981 w 10000"/>
              <a:gd name="connsiteY19" fmla="*/ 1702 h 9892"/>
              <a:gd name="connsiteX20" fmla="*/ 1919 w 10000"/>
              <a:gd name="connsiteY20" fmla="*/ 1780 h 9892"/>
              <a:gd name="connsiteX21" fmla="*/ 1854 w 10000"/>
              <a:gd name="connsiteY21" fmla="*/ 1864 h 9892"/>
              <a:gd name="connsiteX22" fmla="*/ 1794 w 10000"/>
              <a:gd name="connsiteY22" fmla="*/ 1944 h 9892"/>
              <a:gd name="connsiteX23" fmla="*/ 1725 w 10000"/>
              <a:gd name="connsiteY23" fmla="*/ 2031 h 9892"/>
              <a:gd name="connsiteX24" fmla="*/ 1656 w 10000"/>
              <a:gd name="connsiteY24" fmla="*/ 2106 h 9892"/>
              <a:gd name="connsiteX25" fmla="*/ 1583 w 10000"/>
              <a:gd name="connsiteY25" fmla="*/ 2180 h 9892"/>
              <a:gd name="connsiteX26" fmla="*/ 1509 w 10000"/>
              <a:gd name="connsiteY26" fmla="*/ 2259 h 9892"/>
              <a:gd name="connsiteX27" fmla="*/ 1435 w 10000"/>
              <a:gd name="connsiteY27" fmla="*/ 2334 h 9892"/>
              <a:gd name="connsiteX28" fmla="*/ 1356 w 10000"/>
              <a:gd name="connsiteY28" fmla="*/ 2406 h 9892"/>
              <a:gd name="connsiteX29" fmla="*/ 1279 w 10000"/>
              <a:gd name="connsiteY29" fmla="*/ 2482 h 9892"/>
              <a:gd name="connsiteX30" fmla="*/ 1200 w 10000"/>
              <a:gd name="connsiteY30" fmla="*/ 2551 h 9892"/>
              <a:gd name="connsiteX31" fmla="*/ 1113 w 10000"/>
              <a:gd name="connsiteY31" fmla="*/ 2620 h 9892"/>
              <a:gd name="connsiteX32" fmla="*/ 1033 w 10000"/>
              <a:gd name="connsiteY32" fmla="*/ 2686 h 9892"/>
              <a:gd name="connsiteX33" fmla="*/ 946 w 10000"/>
              <a:gd name="connsiteY33" fmla="*/ 2753 h 9892"/>
              <a:gd name="connsiteX34" fmla="*/ 862 w 10000"/>
              <a:gd name="connsiteY34" fmla="*/ 2816 h 9892"/>
              <a:gd name="connsiteX35" fmla="*/ 767 w 10000"/>
              <a:gd name="connsiteY35" fmla="*/ 2881 h 9892"/>
              <a:gd name="connsiteX36" fmla="*/ 679 w 10000"/>
              <a:gd name="connsiteY36" fmla="*/ 2939 h 9892"/>
              <a:gd name="connsiteX37" fmla="*/ 586 w 10000"/>
              <a:gd name="connsiteY37" fmla="*/ 3000 h 9892"/>
              <a:gd name="connsiteX38" fmla="*/ 492 w 10000"/>
              <a:gd name="connsiteY38" fmla="*/ 3057 h 9892"/>
              <a:gd name="connsiteX39" fmla="*/ 394 w 10000"/>
              <a:gd name="connsiteY39" fmla="*/ 3111 h 9892"/>
              <a:gd name="connsiteX40" fmla="*/ 298 w 10000"/>
              <a:gd name="connsiteY40" fmla="*/ 3167 h 9892"/>
              <a:gd name="connsiteX41" fmla="*/ 203 w 10000"/>
              <a:gd name="connsiteY41" fmla="*/ 3220 h 9892"/>
              <a:gd name="connsiteX42" fmla="*/ 101 w 10000"/>
              <a:gd name="connsiteY42" fmla="*/ 3269 h 9892"/>
              <a:gd name="connsiteX43" fmla="*/ 0 w 10000"/>
              <a:gd name="connsiteY43" fmla="*/ 3317 h 9892"/>
              <a:gd name="connsiteX44" fmla="*/ 187 w 10000"/>
              <a:gd name="connsiteY44" fmla="*/ 6726 h 9892"/>
              <a:gd name="connsiteX45" fmla="*/ 603 w 10000"/>
              <a:gd name="connsiteY45" fmla="*/ 9892 h 9892"/>
              <a:gd name="connsiteX46" fmla="*/ 876 w 10000"/>
              <a:gd name="connsiteY46" fmla="*/ 9834 h 9892"/>
              <a:gd name="connsiteX47" fmla="*/ 1146 w 10000"/>
              <a:gd name="connsiteY47" fmla="*/ 9770 h 9892"/>
              <a:gd name="connsiteX48" fmla="*/ 1413 w 10000"/>
              <a:gd name="connsiteY48" fmla="*/ 9700 h 9892"/>
              <a:gd name="connsiteX49" fmla="*/ 1673 w 10000"/>
              <a:gd name="connsiteY49" fmla="*/ 9619 h 9892"/>
              <a:gd name="connsiteX50" fmla="*/ 1934 w 10000"/>
              <a:gd name="connsiteY50" fmla="*/ 9543 h 9892"/>
              <a:gd name="connsiteX51" fmla="*/ 2196 w 10000"/>
              <a:gd name="connsiteY51" fmla="*/ 9454 h 9892"/>
              <a:gd name="connsiteX52" fmla="*/ 2457 w 10000"/>
              <a:gd name="connsiteY52" fmla="*/ 9368 h 9892"/>
              <a:gd name="connsiteX53" fmla="*/ 2705 w 10000"/>
              <a:gd name="connsiteY53" fmla="*/ 9269 h 9892"/>
              <a:gd name="connsiteX54" fmla="*/ 2955 w 10000"/>
              <a:gd name="connsiteY54" fmla="*/ 9170 h 9892"/>
              <a:gd name="connsiteX55" fmla="*/ 3206 w 10000"/>
              <a:gd name="connsiteY55" fmla="*/ 9065 h 9892"/>
              <a:gd name="connsiteX56" fmla="*/ 3449 w 10000"/>
              <a:gd name="connsiteY56" fmla="*/ 8956 h 9892"/>
              <a:gd name="connsiteX57" fmla="*/ 3689 w 10000"/>
              <a:gd name="connsiteY57" fmla="*/ 8848 h 9892"/>
              <a:gd name="connsiteX58" fmla="*/ 3930 w 10000"/>
              <a:gd name="connsiteY58" fmla="*/ 8728 h 9892"/>
              <a:gd name="connsiteX59" fmla="*/ 4165 w 10000"/>
              <a:gd name="connsiteY59" fmla="*/ 8609 h 9892"/>
              <a:gd name="connsiteX60" fmla="*/ 4397 w 10000"/>
              <a:gd name="connsiteY60" fmla="*/ 8482 h 9892"/>
              <a:gd name="connsiteX61" fmla="*/ 4628 w 10000"/>
              <a:gd name="connsiteY61" fmla="*/ 8353 h 9892"/>
              <a:gd name="connsiteX62" fmla="*/ 4845 w 10000"/>
              <a:gd name="connsiteY62" fmla="*/ 8223 h 9892"/>
              <a:gd name="connsiteX63" fmla="*/ 5065 w 10000"/>
              <a:gd name="connsiteY63" fmla="*/ 8083 h 9892"/>
              <a:gd name="connsiteX64" fmla="*/ 5285 w 10000"/>
              <a:gd name="connsiteY64" fmla="*/ 7943 h 9892"/>
              <a:gd name="connsiteX65" fmla="*/ 5494 w 10000"/>
              <a:gd name="connsiteY65" fmla="*/ 7799 h 9892"/>
              <a:gd name="connsiteX66" fmla="*/ 5708 w 10000"/>
              <a:gd name="connsiteY66" fmla="*/ 7650 h 9892"/>
              <a:gd name="connsiteX67" fmla="*/ 5911 w 10000"/>
              <a:gd name="connsiteY67" fmla="*/ 7494 h 9892"/>
              <a:gd name="connsiteX68" fmla="*/ 6115 w 10000"/>
              <a:gd name="connsiteY68" fmla="*/ 7341 h 9892"/>
              <a:gd name="connsiteX69" fmla="*/ 6310 w 10000"/>
              <a:gd name="connsiteY69" fmla="*/ 7184 h 9892"/>
              <a:gd name="connsiteX70" fmla="*/ 6508 w 10000"/>
              <a:gd name="connsiteY70" fmla="*/ 7017 h 9892"/>
              <a:gd name="connsiteX71" fmla="*/ 6698 w 10000"/>
              <a:gd name="connsiteY71" fmla="*/ 6847 h 9892"/>
              <a:gd name="connsiteX72" fmla="*/ 6882 w 10000"/>
              <a:gd name="connsiteY72" fmla="*/ 6682 h 9892"/>
              <a:gd name="connsiteX73" fmla="*/ 7064 w 10000"/>
              <a:gd name="connsiteY73" fmla="*/ 6508 h 9892"/>
              <a:gd name="connsiteX74" fmla="*/ 7239 w 10000"/>
              <a:gd name="connsiteY74" fmla="*/ 6330 h 9892"/>
              <a:gd name="connsiteX75" fmla="*/ 7414 w 10000"/>
              <a:gd name="connsiteY75" fmla="*/ 6152 h 9892"/>
              <a:gd name="connsiteX76" fmla="*/ 7582 w 10000"/>
              <a:gd name="connsiteY76" fmla="*/ 5969 h 9892"/>
              <a:gd name="connsiteX77" fmla="*/ 7750 w 10000"/>
              <a:gd name="connsiteY77" fmla="*/ 5780 h 9892"/>
              <a:gd name="connsiteX78" fmla="*/ 7905 w 10000"/>
              <a:gd name="connsiteY78" fmla="*/ 5590 h 9892"/>
              <a:gd name="connsiteX79" fmla="*/ 8057 w 10000"/>
              <a:gd name="connsiteY79" fmla="*/ 5398 h 9892"/>
              <a:gd name="connsiteX80" fmla="*/ 8211 w 10000"/>
              <a:gd name="connsiteY80" fmla="*/ 5205 h 9892"/>
              <a:gd name="connsiteX81" fmla="*/ 8354 w 10000"/>
              <a:gd name="connsiteY81" fmla="*/ 5003 h 9892"/>
              <a:gd name="connsiteX82" fmla="*/ 8493 w 10000"/>
              <a:gd name="connsiteY82" fmla="*/ 4807 h 9892"/>
              <a:gd name="connsiteX83" fmla="*/ 8628 w 10000"/>
              <a:gd name="connsiteY83" fmla="*/ 4601 h 9892"/>
              <a:gd name="connsiteX84" fmla="*/ 8754 w 10000"/>
              <a:gd name="connsiteY84" fmla="*/ 4391 h 9892"/>
              <a:gd name="connsiteX85" fmla="*/ 8877 w 10000"/>
              <a:gd name="connsiteY85" fmla="*/ 4183 h 9892"/>
              <a:gd name="connsiteX86" fmla="*/ 9003 w 10000"/>
              <a:gd name="connsiteY86" fmla="*/ 3972 h 9892"/>
              <a:gd name="connsiteX87" fmla="*/ 9120 w 10000"/>
              <a:gd name="connsiteY87" fmla="*/ 3757 h 9892"/>
              <a:gd name="connsiteX88" fmla="*/ 9224 w 10000"/>
              <a:gd name="connsiteY88" fmla="*/ 3543 h 9892"/>
              <a:gd name="connsiteX89" fmla="*/ 9330 w 10000"/>
              <a:gd name="connsiteY89" fmla="*/ 3323 h 9892"/>
              <a:gd name="connsiteX90" fmla="*/ 9425 w 10000"/>
              <a:gd name="connsiteY90" fmla="*/ 3100 h 9892"/>
              <a:gd name="connsiteX91" fmla="*/ 9520 w 10000"/>
              <a:gd name="connsiteY91" fmla="*/ 2879 h 9892"/>
              <a:gd name="connsiteX92" fmla="*/ 9604 w 10000"/>
              <a:gd name="connsiteY92" fmla="*/ 2651 h 9892"/>
              <a:gd name="connsiteX93" fmla="*/ 9684 w 10000"/>
              <a:gd name="connsiteY93" fmla="*/ 2421 h 9892"/>
              <a:gd name="connsiteX94" fmla="*/ 9758 w 10000"/>
              <a:gd name="connsiteY94" fmla="*/ 2190 h 9892"/>
              <a:gd name="connsiteX95" fmla="*/ 9831 w 10000"/>
              <a:gd name="connsiteY95" fmla="*/ 1960 h 9892"/>
              <a:gd name="connsiteX96" fmla="*/ 9892 w 10000"/>
              <a:gd name="connsiteY96" fmla="*/ 1728 h 9892"/>
              <a:gd name="connsiteX97" fmla="*/ 9951 w 10000"/>
              <a:gd name="connsiteY97" fmla="*/ 1491 h 9892"/>
              <a:gd name="connsiteX98" fmla="*/ 10000 w 10000"/>
              <a:gd name="connsiteY98" fmla="*/ 1250 h 9892"/>
              <a:gd name="connsiteX99" fmla="*/ 6011 w 10000"/>
              <a:gd name="connsiteY99" fmla="*/ 1918 h 9892"/>
              <a:gd name="connsiteX100" fmla="*/ 2680 w 10000"/>
              <a:gd name="connsiteY100" fmla="*/ 0 h 9892"/>
              <a:gd name="connsiteX0" fmla="*/ 2680 w 10000"/>
              <a:gd name="connsiteY0" fmla="*/ 0 h 9941"/>
              <a:gd name="connsiteX1" fmla="*/ 2680 w 10000"/>
              <a:gd name="connsiteY1" fmla="*/ 0 h 9941"/>
              <a:gd name="connsiteX2" fmla="*/ 2665 w 10000"/>
              <a:gd name="connsiteY2" fmla="*/ 102 h 9941"/>
              <a:gd name="connsiteX3" fmla="*/ 2642 w 10000"/>
              <a:gd name="connsiteY3" fmla="*/ 207 h 9941"/>
              <a:gd name="connsiteX4" fmla="*/ 2621 w 10000"/>
              <a:gd name="connsiteY4" fmla="*/ 309 h 9941"/>
              <a:gd name="connsiteX5" fmla="*/ 2594 w 10000"/>
              <a:gd name="connsiteY5" fmla="*/ 407 h 9941"/>
              <a:gd name="connsiteX6" fmla="*/ 2561 w 10000"/>
              <a:gd name="connsiteY6" fmla="*/ 507 h 9941"/>
              <a:gd name="connsiteX7" fmla="*/ 2530 w 10000"/>
              <a:gd name="connsiteY7" fmla="*/ 607 h 9941"/>
              <a:gd name="connsiteX8" fmla="*/ 2502 w 10000"/>
              <a:gd name="connsiteY8" fmla="*/ 704 h 9941"/>
              <a:gd name="connsiteX9" fmla="*/ 2468 w 10000"/>
              <a:gd name="connsiteY9" fmla="*/ 803 h 9941"/>
              <a:gd name="connsiteX10" fmla="*/ 2428 w 10000"/>
              <a:gd name="connsiteY10" fmla="*/ 900 h 9941"/>
              <a:gd name="connsiteX11" fmla="*/ 2386 w 10000"/>
              <a:gd name="connsiteY11" fmla="*/ 993 h 9941"/>
              <a:gd name="connsiteX12" fmla="*/ 2347 w 10000"/>
              <a:gd name="connsiteY12" fmla="*/ 1091 h 9941"/>
              <a:gd name="connsiteX13" fmla="*/ 2299 w 10000"/>
              <a:gd name="connsiteY13" fmla="*/ 1185 h 9941"/>
              <a:gd name="connsiteX14" fmla="*/ 2248 w 10000"/>
              <a:gd name="connsiteY14" fmla="*/ 1273 h 9941"/>
              <a:gd name="connsiteX15" fmla="*/ 2200 w 10000"/>
              <a:gd name="connsiteY15" fmla="*/ 1364 h 9941"/>
              <a:gd name="connsiteX16" fmla="*/ 2149 w 10000"/>
              <a:gd name="connsiteY16" fmla="*/ 1454 h 9941"/>
              <a:gd name="connsiteX17" fmla="*/ 2092 w 10000"/>
              <a:gd name="connsiteY17" fmla="*/ 1545 h 9941"/>
              <a:gd name="connsiteX18" fmla="*/ 2041 w 10000"/>
              <a:gd name="connsiteY18" fmla="*/ 1634 h 9941"/>
              <a:gd name="connsiteX19" fmla="*/ 1981 w 10000"/>
              <a:gd name="connsiteY19" fmla="*/ 1721 h 9941"/>
              <a:gd name="connsiteX20" fmla="*/ 1919 w 10000"/>
              <a:gd name="connsiteY20" fmla="*/ 1799 h 9941"/>
              <a:gd name="connsiteX21" fmla="*/ 1854 w 10000"/>
              <a:gd name="connsiteY21" fmla="*/ 1884 h 9941"/>
              <a:gd name="connsiteX22" fmla="*/ 1794 w 10000"/>
              <a:gd name="connsiteY22" fmla="*/ 1965 h 9941"/>
              <a:gd name="connsiteX23" fmla="*/ 1725 w 10000"/>
              <a:gd name="connsiteY23" fmla="*/ 2053 h 9941"/>
              <a:gd name="connsiteX24" fmla="*/ 1656 w 10000"/>
              <a:gd name="connsiteY24" fmla="*/ 2129 h 9941"/>
              <a:gd name="connsiteX25" fmla="*/ 1583 w 10000"/>
              <a:gd name="connsiteY25" fmla="*/ 2204 h 9941"/>
              <a:gd name="connsiteX26" fmla="*/ 1509 w 10000"/>
              <a:gd name="connsiteY26" fmla="*/ 2284 h 9941"/>
              <a:gd name="connsiteX27" fmla="*/ 1435 w 10000"/>
              <a:gd name="connsiteY27" fmla="*/ 2359 h 9941"/>
              <a:gd name="connsiteX28" fmla="*/ 1356 w 10000"/>
              <a:gd name="connsiteY28" fmla="*/ 2432 h 9941"/>
              <a:gd name="connsiteX29" fmla="*/ 1279 w 10000"/>
              <a:gd name="connsiteY29" fmla="*/ 2509 h 9941"/>
              <a:gd name="connsiteX30" fmla="*/ 1200 w 10000"/>
              <a:gd name="connsiteY30" fmla="*/ 2579 h 9941"/>
              <a:gd name="connsiteX31" fmla="*/ 1113 w 10000"/>
              <a:gd name="connsiteY31" fmla="*/ 2649 h 9941"/>
              <a:gd name="connsiteX32" fmla="*/ 1033 w 10000"/>
              <a:gd name="connsiteY32" fmla="*/ 2715 h 9941"/>
              <a:gd name="connsiteX33" fmla="*/ 946 w 10000"/>
              <a:gd name="connsiteY33" fmla="*/ 2783 h 9941"/>
              <a:gd name="connsiteX34" fmla="*/ 862 w 10000"/>
              <a:gd name="connsiteY34" fmla="*/ 2847 h 9941"/>
              <a:gd name="connsiteX35" fmla="*/ 767 w 10000"/>
              <a:gd name="connsiteY35" fmla="*/ 2912 h 9941"/>
              <a:gd name="connsiteX36" fmla="*/ 679 w 10000"/>
              <a:gd name="connsiteY36" fmla="*/ 2971 h 9941"/>
              <a:gd name="connsiteX37" fmla="*/ 586 w 10000"/>
              <a:gd name="connsiteY37" fmla="*/ 3033 h 9941"/>
              <a:gd name="connsiteX38" fmla="*/ 492 w 10000"/>
              <a:gd name="connsiteY38" fmla="*/ 3090 h 9941"/>
              <a:gd name="connsiteX39" fmla="*/ 394 w 10000"/>
              <a:gd name="connsiteY39" fmla="*/ 3145 h 9941"/>
              <a:gd name="connsiteX40" fmla="*/ 298 w 10000"/>
              <a:gd name="connsiteY40" fmla="*/ 3202 h 9941"/>
              <a:gd name="connsiteX41" fmla="*/ 203 w 10000"/>
              <a:gd name="connsiteY41" fmla="*/ 3255 h 9941"/>
              <a:gd name="connsiteX42" fmla="*/ 101 w 10000"/>
              <a:gd name="connsiteY42" fmla="*/ 3305 h 9941"/>
              <a:gd name="connsiteX43" fmla="*/ 0 w 10000"/>
              <a:gd name="connsiteY43" fmla="*/ 3353 h 9941"/>
              <a:gd name="connsiteX44" fmla="*/ 187 w 10000"/>
              <a:gd name="connsiteY44" fmla="*/ 6799 h 9941"/>
              <a:gd name="connsiteX45" fmla="*/ 876 w 10000"/>
              <a:gd name="connsiteY45" fmla="*/ 9941 h 9941"/>
              <a:gd name="connsiteX46" fmla="*/ 1146 w 10000"/>
              <a:gd name="connsiteY46" fmla="*/ 9877 h 9941"/>
              <a:gd name="connsiteX47" fmla="*/ 1413 w 10000"/>
              <a:gd name="connsiteY47" fmla="*/ 9806 h 9941"/>
              <a:gd name="connsiteX48" fmla="*/ 1673 w 10000"/>
              <a:gd name="connsiteY48" fmla="*/ 9724 h 9941"/>
              <a:gd name="connsiteX49" fmla="*/ 1934 w 10000"/>
              <a:gd name="connsiteY49" fmla="*/ 9647 h 9941"/>
              <a:gd name="connsiteX50" fmla="*/ 2196 w 10000"/>
              <a:gd name="connsiteY50" fmla="*/ 9557 h 9941"/>
              <a:gd name="connsiteX51" fmla="*/ 2457 w 10000"/>
              <a:gd name="connsiteY51" fmla="*/ 9470 h 9941"/>
              <a:gd name="connsiteX52" fmla="*/ 2705 w 10000"/>
              <a:gd name="connsiteY52" fmla="*/ 9370 h 9941"/>
              <a:gd name="connsiteX53" fmla="*/ 2955 w 10000"/>
              <a:gd name="connsiteY53" fmla="*/ 9270 h 9941"/>
              <a:gd name="connsiteX54" fmla="*/ 3206 w 10000"/>
              <a:gd name="connsiteY54" fmla="*/ 9164 h 9941"/>
              <a:gd name="connsiteX55" fmla="*/ 3449 w 10000"/>
              <a:gd name="connsiteY55" fmla="*/ 9054 h 9941"/>
              <a:gd name="connsiteX56" fmla="*/ 3689 w 10000"/>
              <a:gd name="connsiteY56" fmla="*/ 8945 h 9941"/>
              <a:gd name="connsiteX57" fmla="*/ 3930 w 10000"/>
              <a:gd name="connsiteY57" fmla="*/ 8823 h 9941"/>
              <a:gd name="connsiteX58" fmla="*/ 4165 w 10000"/>
              <a:gd name="connsiteY58" fmla="*/ 8703 h 9941"/>
              <a:gd name="connsiteX59" fmla="*/ 4397 w 10000"/>
              <a:gd name="connsiteY59" fmla="*/ 8575 h 9941"/>
              <a:gd name="connsiteX60" fmla="*/ 4628 w 10000"/>
              <a:gd name="connsiteY60" fmla="*/ 8444 h 9941"/>
              <a:gd name="connsiteX61" fmla="*/ 4845 w 10000"/>
              <a:gd name="connsiteY61" fmla="*/ 8313 h 9941"/>
              <a:gd name="connsiteX62" fmla="*/ 5065 w 10000"/>
              <a:gd name="connsiteY62" fmla="*/ 8171 h 9941"/>
              <a:gd name="connsiteX63" fmla="*/ 5285 w 10000"/>
              <a:gd name="connsiteY63" fmla="*/ 8030 h 9941"/>
              <a:gd name="connsiteX64" fmla="*/ 5494 w 10000"/>
              <a:gd name="connsiteY64" fmla="*/ 7884 h 9941"/>
              <a:gd name="connsiteX65" fmla="*/ 5708 w 10000"/>
              <a:gd name="connsiteY65" fmla="*/ 7734 h 9941"/>
              <a:gd name="connsiteX66" fmla="*/ 5911 w 10000"/>
              <a:gd name="connsiteY66" fmla="*/ 7576 h 9941"/>
              <a:gd name="connsiteX67" fmla="*/ 6115 w 10000"/>
              <a:gd name="connsiteY67" fmla="*/ 7421 h 9941"/>
              <a:gd name="connsiteX68" fmla="*/ 6310 w 10000"/>
              <a:gd name="connsiteY68" fmla="*/ 7262 h 9941"/>
              <a:gd name="connsiteX69" fmla="*/ 6508 w 10000"/>
              <a:gd name="connsiteY69" fmla="*/ 7094 h 9941"/>
              <a:gd name="connsiteX70" fmla="*/ 6698 w 10000"/>
              <a:gd name="connsiteY70" fmla="*/ 6922 h 9941"/>
              <a:gd name="connsiteX71" fmla="*/ 6882 w 10000"/>
              <a:gd name="connsiteY71" fmla="*/ 6755 h 9941"/>
              <a:gd name="connsiteX72" fmla="*/ 7064 w 10000"/>
              <a:gd name="connsiteY72" fmla="*/ 6579 h 9941"/>
              <a:gd name="connsiteX73" fmla="*/ 7239 w 10000"/>
              <a:gd name="connsiteY73" fmla="*/ 6399 h 9941"/>
              <a:gd name="connsiteX74" fmla="*/ 7414 w 10000"/>
              <a:gd name="connsiteY74" fmla="*/ 6219 h 9941"/>
              <a:gd name="connsiteX75" fmla="*/ 7582 w 10000"/>
              <a:gd name="connsiteY75" fmla="*/ 6034 h 9941"/>
              <a:gd name="connsiteX76" fmla="*/ 7750 w 10000"/>
              <a:gd name="connsiteY76" fmla="*/ 5843 h 9941"/>
              <a:gd name="connsiteX77" fmla="*/ 7905 w 10000"/>
              <a:gd name="connsiteY77" fmla="*/ 5651 h 9941"/>
              <a:gd name="connsiteX78" fmla="*/ 8057 w 10000"/>
              <a:gd name="connsiteY78" fmla="*/ 5457 h 9941"/>
              <a:gd name="connsiteX79" fmla="*/ 8211 w 10000"/>
              <a:gd name="connsiteY79" fmla="*/ 5262 h 9941"/>
              <a:gd name="connsiteX80" fmla="*/ 8354 w 10000"/>
              <a:gd name="connsiteY80" fmla="*/ 5058 h 9941"/>
              <a:gd name="connsiteX81" fmla="*/ 8493 w 10000"/>
              <a:gd name="connsiteY81" fmla="*/ 4859 h 9941"/>
              <a:gd name="connsiteX82" fmla="*/ 8628 w 10000"/>
              <a:gd name="connsiteY82" fmla="*/ 4651 h 9941"/>
              <a:gd name="connsiteX83" fmla="*/ 8754 w 10000"/>
              <a:gd name="connsiteY83" fmla="*/ 4439 h 9941"/>
              <a:gd name="connsiteX84" fmla="*/ 8877 w 10000"/>
              <a:gd name="connsiteY84" fmla="*/ 4229 h 9941"/>
              <a:gd name="connsiteX85" fmla="*/ 9003 w 10000"/>
              <a:gd name="connsiteY85" fmla="*/ 4015 h 9941"/>
              <a:gd name="connsiteX86" fmla="*/ 9120 w 10000"/>
              <a:gd name="connsiteY86" fmla="*/ 3798 h 9941"/>
              <a:gd name="connsiteX87" fmla="*/ 9224 w 10000"/>
              <a:gd name="connsiteY87" fmla="*/ 3582 h 9941"/>
              <a:gd name="connsiteX88" fmla="*/ 9330 w 10000"/>
              <a:gd name="connsiteY88" fmla="*/ 3359 h 9941"/>
              <a:gd name="connsiteX89" fmla="*/ 9425 w 10000"/>
              <a:gd name="connsiteY89" fmla="*/ 3134 h 9941"/>
              <a:gd name="connsiteX90" fmla="*/ 9520 w 10000"/>
              <a:gd name="connsiteY90" fmla="*/ 2910 h 9941"/>
              <a:gd name="connsiteX91" fmla="*/ 9604 w 10000"/>
              <a:gd name="connsiteY91" fmla="*/ 2680 h 9941"/>
              <a:gd name="connsiteX92" fmla="*/ 9684 w 10000"/>
              <a:gd name="connsiteY92" fmla="*/ 2447 h 9941"/>
              <a:gd name="connsiteX93" fmla="*/ 9758 w 10000"/>
              <a:gd name="connsiteY93" fmla="*/ 2214 h 9941"/>
              <a:gd name="connsiteX94" fmla="*/ 9831 w 10000"/>
              <a:gd name="connsiteY94" fmla="*/ 1981 h 9941"/>
              <a:gd name="connsiteX95" fmla="*/ 9892 w 10000"/>
              <a:gd name="connsiteY95" fmla="*/ 1747 h 9941"/>
              <a:gd name="connsiteX96" fmla="*/ 9951 w 10000"/>
              <a:gd name="connsiteY96" fmla="*/ 1507 h 9941"/>
              <a:gd name="connsiteX97" fmla="*/ 10000 w 10000"/>
              <a:gd name="connsiteY97" fmla="*/ 1264 h 9941"/>
              <a:gd name="connsiteX98" fmla="*/ 6011 w 10000"/>
              <a:gd name="connsiteY98" fmla="*/ 1939 h 9941"/>
              <a:gd name="connsiteX99" fmla="*/ 2680 w 10000"/>
              <a:gd name="connsiteY99" fmla="*/ 0 h 9941"/>
              <a:gd name="connsiteX0" fmla="*/ 2680 w 10000"/>
              <a:gd name="connsiteY0" fmla="*/ 0 h 9936"/>
              <a:gd name="connsiteX1" fmla="*/ 2680 w 10000"/>
              <a:gd name="connsiteY1" fmla="*/ 0 h 9936"/>
              <a:gd name="connsiteX2" fmla="*/ 2665 w 10000"/>
              <a:gd name="connsiteY2" fmla="*/ 103 h 9936"/>
              <a:gd name="connsiteX3" fmla="*/ 2642 w 10000"/>
              <a:gd name="connsiteY3" fmla="*/ 208 h 9936"/>
              <a:gd name="connsiteX4" fmla="*/ 2621 w 10000"/>
              <a:gd name="connsiteY4" fmla="*/ 311 h 9936"/>
              <a:gd name="connsiteX5" fmla="*/ 2594 w 10000"/>
              <a:gd name="connsiteY5" fmla="*/ 409 h 9936"/>
              <a:gd name="connsiteX6" fmla="*/ 2561 w 10000"/>
              <a:gd name="connsiteY6" fmla="*/ 510 h 9936"/>
              <a:gd name="connsiteX7" fmla="*/ 2530 w 10000"/>
              <a:gd name="connsiteY7" fmla="*/ 611 h 9936"/>
              <a:gd name="connsiteX8" fmla="*/ 2502 w 10000"/>
              <a:gd name="connsiteY8" fmla="*/ 708 h 9936"/>
              <a:gd name="connsiteX9" fmla="*/ 2468 w 10000"/>
              <a:gd name="connsiteY9" fmla="*/ 808 h 9936"/>
              <a:gd name="connsiteX10" fmla="*/ 2428 w 10000"/>
              <a:gd name="connsiteY10" fmla="*/ 905 h 9936"/>
              <a:gd name="connsiteX11" fmla="*/ 2386 w 10000"/>
              <a:gd name="connsiteY11" fmla="*/ 999 h 9936"/>
              <a:gd name="connsiteX12" fmla="*/ 2347 w 10000"/>
              <a:gd name="connsiteY12" fmla="*/ 1097 h 9936"/>
              <a:gd name="connsiteX13" fmla="*/ 2299 w 10000"/>
              <a:gd name="connsiteY13" fmla="*/ 1192 h 9936"/>
              <a:gd name="connsiteX14" fmla="*/ 2248 w 10000"/>
              <a:gd name="connsiteY14" fmla="*/ 1281 h 9936"/>
              <a:gd name="connsiteX15" fmla="*/ 2200 w 10000"/>
              <a:gd name="connsiteY15" fmla="*/ 1372 h 9936"/>
              <a:gd name="connsiteX16" fmla="*/ 2149 w 10000"/>
              <a:gd name="connsiteY16" fmla="*/ 1463 h 9936"/>
              <a:gd name="connsiteX17" fmla="*/ 2092 w 10000"/>
              <a:gd name="connsiteY17" fmla="*/ 1554 h 9936"/>
              <a:gd name="connsiteX18" fmla="*/ 2041 w 10000"/>
              <a:gd name="connsiteY18" fmla="*/ 1644 h 9936"/>
              <a:gd name="connsiteX19" fmla="*/ 1981 w 10000"/>
              <a:gd name="connsiteY19" fmla="*/ 1731 h 9936"/>
              <a:gd name="connsiteX20" fmla="*/ 1919 w 10000"/>
              <a:gd name="connsiteY20" fmla="*/ 1810 h 9936"/>
              <a:gd name="connsiteX21" fmla="*/ 1854 w 10000"/>
              <a:gd name="connsiteY21" fmla="*/ 1895 h 9936"/>
              <a:gd name="connsiteX22" fmla="*/ 1794 w 10000"/>
              <a:gd name="connsiteY22" fmla="*/ 1977 h 9936"/>
              <a:gd name="connsiteX23" fmla="*/ 1725 w 10000"/>
              <a:gd name="connsiteY23" fmla="*/ 2065 h 9936"/>
              <a:gd name="connsiteX24" fmla="*/ 1656 w 10000"/>
              <a:gd name="connsiteY24" fmla="*/ 2142 h 9936"/>
              <a:gd name="connsiteX25" fmla="*/ 1583 w 10000"/>
              <a:gd name="connsiteY25" fmla="*/ 2217 h 9936"/>
              <a:gd name="connsiteX26" fmla="*/ 1509 w 10000"/>
              <a:gd name="connsiteY26" fmla="*/ 2298 h 9936"/>
              <a:gd name="connsiteX27" fmla="*/ 1435 w 10000"/>
              <a:gd name="connsiteY27" fmla="*/ 2373 h 9936"/>
              <a:gd name="connsiteX28" fmla="*/ 1356 w 10000"/>
              <a:gd name="connsiteY28" fmla="*/ 2446 h 9936"/>
              <a:gd name="connsiteX29" fmla="*/ 1279 w 10000"/>
              <a:gd name="connsiteY29" fmla="*/ 2524 h 9936"/>
              <a:gd name="connsiteX30" fmla="*/ 1200 w 10000"/>
              <a:gd name="connsiteY30" fmla="*/ 2594 h 9936"/>
              <a:gd name="connsiteX31" fmla="*/ 1113 w 10000"/>
              <a:gd name="connsiteY31" fmla="*/ 2665 h 9936"/>
              <a:gd name="connsiteX32" fmla="*/ 1033 w 10000"/>
              <a:gd name="connsiteY32" fmla="*/ 2731 h 9936"/>
              <a:gd name="connsiteX33" fmla="*/ 946 w 10000"/>
              <a:gd name="connsiteY33" fmla="*/ 2800 h 9936"/>
              <a:gd name="connsiteX34" fmla="*/ 862 w 10000"/>
              <a:gd name="connsiteY34" fmla="*/ 2864 h 9936"/>
              <a:gd name="connsiteX35" fmla="*/ 767 w 10000"/>
              <a:gd name="connsiteY35" fmla="*/ 2929 h 9936"/>
              <a:gd name="connsiteX36" fmla="*/ 679 w 10000"/>
              <a:gd name="connsiteY36" fmla="*/ 2989 h 9936"/>
              <a:gd name="connsiteX37" fmla="*/ 586 w 10000"/>
              <a:gd name="connsiteY37" fmla="*/ 3051 h 9936"/>
              <a:gd name="connsiteX38" fmla="*/ 492 w 10000"/>
              <a:gd name="connsiteY38" fmla="*/ 3108 h 9936"/>
              <a:gd name="connsiteX39" fmla="*/ 394 w 10000"/>
              <a:gd name="connsiteY39" fmla="*/ 3164 h 9936"/>
              <a:gd name="connsiteX40" fmla="*/ 298 w 10000"/>
              <a:gd name="connsiteY40" fmla="*/ 3221 h 9936"/>
              <a:gd name="connsiteX41" fmla="*/ 203 w 10000"/>
              <a:gd name="connsiteY41" fmla="*/ 3274 h 9936"/>
              <a:gd name="connsiteX42" fmla="*/ 101 w 10000"/>
              <a:gd name="connsiteY42" fmla="*/ 3325 h 9936"/>
              <a:gd name="connsiteX43" fmla="*/ 0 w 10000"/>
              <a:gd name="connsiteY43" fmla="*/ 3373 h 9936"/>
              <a:gd name="connsiteX44" fmla="*/ 187 w 10000"/>
              <a:gd name="connsiteY44" fmla="*/ 6839 h 9936"/>
              <a:gd name="connsiteX45" fmla="*/ 1146 w 10000"/>
              <a:gd name="connsiteY45" fmla="*/ 9936 h 9936"/>
              <a:gd name="connsiteX46" fmla="*/ 1413 w 10000"/>
              <a:gd name="connsiteY46" fmla="*/ 9864 h 9936"/>
              <a:gd name="connsiteX47" fmla="*/ 1673 w 10000"/>
              <a:gd name="connsiteY47" fmla="*/ 9782 h 9936"/>
              <a:gd name="connsiteX48" fmla="*/ 1934 w 10000"/>
              <a:gd name="connsiteY48" fmla="*/ 9704 h 9936"/>
              <a:gd name="connsiteX49" fmla="*/ 2196 w 10000"/>
              <a:gd name="connsiteY49" fmla="*/ 9614 h 9936"/>
              <a:gd name="connsiteX50" fmla="*/ 2457 w 10000"/>
              <a:gd name="connsiteY50" fmla="*/ 9526 h 9936"/>
              <a:gd name="connsiteX51" fmla="*/ 2705 w 10000"/>
              <a:gd name="connsiteY51" fmla="*/ 9426 h 9936"/>
              <a:gd name="connsiteX52" fmla="*/ 2955 w 10000"/>
              <a:gd name="connsiteY52" fmla="*/ 9325 h 9936"/>
              <a:gd name="connsiteX53" fmla="*/ 3206 w 10000"/>
              <a:gd name="connsiteY53" fmla="*/ 9218 h 9936"/>
              <a:gd name="connsiteX54" fmla="*/ 3449 w 10000"/>
              <a:gd name="connsiteY54" fmla="*/ 9108 h 9936"/>
              <a:gd name="connsiteX55" fmla="*/ 3689 w 10000"/>
              <a:gd name="connsiteY55" fmla="*/ 8998 h 9936"/>
              <a:gd name="connsiteX56" fmla="*/ 3930 w 10000"/>
              <a:gd name="connsiteY56" fmla="*/ 8875 h 9936"/>
              <a:gd name="connsiteX57" fmla="*/ 4165 w 10000"/>
              <a:gd name="connsiteY57" fmla="*/ 8755 h 9936"/>
              <a:gd name="connsiteX58" fmla="*/ 4397 w 10000"/>
              <a:gd name="connsiteY58" fmla="*/ 8626 h 9936"/>
              <a:gd name="connsiteX59" fmla="*/ 4628 w 10000"/>
              <a:gd name="connsiteY59" fmla="*/ 8494 h 9936"/>
              <a:gd name="connsiteX60" fmla="*/ 4845 w 10000"/>
              <a:gd name="connsiteY60" fmla="*/ 8362 h 9936"/>
              <a:gd name="connsiteX61" fmla="*/ 5065 w 10000"/>
              <a:gd name="connsiteY61" fmla="*/ 8219 h 9936"/>
              <a:gd name="connsiteX62" fmla="*/ 5285 w 10000"/>
              <a:gd name="connsiteY62" fmla="*/ 8078 h 9936"/>
              <a:gd name="connsiteX63" fmla="*/ 5494 w 10000"/>
              <a:gd name="connsiteY63" fmla="*/ 7931 h 9936"/>
              <a:gd name="connsiteX64" fmla="*/ 5708 w 10000"/>
              <a:gd name="connsiteY64" fmla="*/ 7780 h 9936"/>
              <a:gd name="connsiteX65" fmla="*/ 5911 w 10000"/>
              <a:gd name="connsiteY65" fmla="*/ 7621 h 9936"/>
              <a:gd name="connsiteX66" fmla="*/ 6115 w 10000"/>
              <a:gd name="connsiteY66" fmla="*/ 7465 h 9936"/>
              <a:gd name="connsiteX67" fmla="*/ 6310 w 10000"/>
              <a:gd name="connsiteY67" fmla="*/ 7305 h 9936"/>
              <a:gd name="connsiteX68" fmla="*/ 6508 w 10000"/>
              <a:gd name="connsiteY68" fmla="*/ 7136 h 9936"/>
              <a:gd name="connsiteX69" fmla="*/ 6698 w 10000"/>
              <a:gd name="connsiteY69" fmla="*/ 6963 h 9936"/>
              <a:gd name="connsiteX70" fmla="*/ 6882 w 10000"/>
              <a:gd name="connsiteY70" fmla="*/ 6795 h 9936"/>
              <a:gd name="connsiteX71" fmla="*/ 7064 w 10000"/>
              <a:gd name="connsiteY71" fmla="*/ 6618 h 9936"/>
              <a:gd name="connsiteX72" fmla="*/ 7239 w 10000"/>
              <a:gd name="connsiteY72" fmla="*/ 6437 h 9936"/>
              <a:gd name="connsiteX73" fmla="*/ 7414 w 10000"/>
              <a:gd name="connsiteY73" fmla="*/ 6256 h 9936"/>
              <a:gd name="connsiteX74" fmla="*/ 7582 w 10000"/>
              <a:gd name="connsiteY74" fmla="*/ 6070 h 9936"/>
              <a:gd name="connsiteX75" fmla="*/ 7750 w 10000"/>
              <a:gd name="connsiteY75" fmla="*/ 5878 h 9936"/>
              <a:gd name="connsiteX76" fmla="*/ 7905 w 10000"/>
              <a:gd name="connsiteY76" fmla="*/ 5685 h 9936"/>
              <a:gd name="connsiteX77" fmla="*/ 8057 w 10000"/>
              <a:gd name="connsiteY77" fmla="*/ 5489 h 9936"/>
              <a:gd name="connsiteX78" fmla="*/ 8211 w 10000"/>
              <a:gd name="connsiteY78" fmla="*/ 5293 h 9936"/>
              <a:gd name="connsiteX79" fmla="*/ 8354 w 10000"/>
              <a:gd name="connsiteY79" fmla="*/ 5088 h 9936"/>
              <a:gd name="connsiteX80" fmla="*/ 8493 w 10000"/>
              <a:gd name="connsiteY80" fmla="*/ 4888 h 9936"/>
              <a:gd name="connsiteX81" fmla="*/ 8628 w 10000"/>
              <a:gd name="connsiteY81" fmla="*/ 4679 h 9936"/>
              <a:gd name="connsiteX82" fmla="*/ 8754 w 10000"/>
              <a:gd name="connsiteY82" fmla="*/ 4465 h 9936"/>
              <a:gd name="connsiteX83" fmla="*/ 8877 w 10000"/>
              <a:gd name="connsiteY83" fmla="*/ 4254 h 9936"/>
              <a:gd name="connsiteX84" fmla="*/ 9003 w 10000"/>
              <a:gd name="connsiteY84" fmla="*/ 4039 h 9936"/>
              <a:gd name="connsiteX85" fmla="*/ 9120 w 10000"/>
              <a:gd name="connsiteY85" fmla="*/ 3821 h 9936"/>
              <a:gd name="connsiteX86" fmla="*/ 9224 w 10000"/>
              <a:gd name="connsiteY86" fmla="*/ 3603 h 9936"/>
              <a:gd name="connsiteX87" fmla="*/ 9330 w 10000"/>
              <a:gd name="connsiteY87" fmla="*/ 3379 h 9936"/>
              <a:gd name="connsiteX88" fmla="*/ 9425 w 10000"/>
              <a:gd name="connsiteY88" fmla="*/ 3153 h 9936"/>
              <a:gd name="connsiteX89" fmla="*/ 9520 w 10000"/>
              <a:gd name="connsiteY89" fmla="*/ 2927 h 9936"/>
              <a:gd name="connsiteX90" fmla="*/ 9604 w 10000"/>
              <a:gd name="connsiteY90" fmla="*/ 2696 h 9936"/>
              <a:gd name="connsiteX91" fmla="*/ 9684 w 10000"/>
              <a:gd name="connsiteY91" fmla="*/ 2462 h 9936"/>
              <a:gd name="connsiteX92" fmla="*/ 9758 w 10000"/>
              <a:gd name="connsiteY92" fmla="*/ 2227 h 9936"/>
              <a:gd name="connsiteX93" fmla="*/ 9831 w 10000"/>
              <a:gd name="connsiteY93" fmla="*/ 1993 h 9936"/>
              <a:gd name="connsiteX94" fmla="*/ 9892 w 10000"/>
              <a:gd name="connsiteY94" fmla="*/ 1757 h 9936"/>
              <a:gd name="connsiteX95" fmla="*/ 9951 w 10000"/>
              <a:gd name="connsiteY95" fmla="*/ 1516 h 9936"/>
              <a:gd name="connsiteX96" fmla="*/ 10000 w 10000"/>
              <a:gd name="connsiteY96" fmla="*/ 1272 h 9936"/>
              <a:gd name="connsiteX97" fmla="*/ 6011 w 10000"/>
              <a:gd name="connsiteY97" fmla="*/ 1951 h 9936"/>
              <a:gd name="connsiteX98" fmla="*/ 2680 w 10000"/>
              <a:gd name="connsiteY98" fmla="*/ 0 h 9936"/>
              <a:gd name="connsiteX0" fmla="*/ 2680 w 10000"/>
              <a:gd name="connsiteY0" fmla="*/ 0 h 10000"/>
              <a:gd name="connsiteX1" fmla="*/ 2680 w 10000"/>
              <a:gd name="connsiteY1" fmla="*/ 0 h 10000"/>
              <a:gd name="connsiteX2" fmla="*/ 2665 w 10000"/>
              <a:gd name="connsiteY2" fmla="*/ 104 h 10000"/>
              <a:gd name="connsiteX3" fmla="*/ 2642 w 10000"/>
              <a:gd name="connsiteY3" fmla="*/ 209 h 10000"/>
              <a:gd name="connsiteX4" fmla="*/ 2621 w 10000"/>
              <a:gd name="connsiteY4" fmla="*/ 313 h 10000"/>
              <a:gd name="connsiteX5" fmla="*/ 2594 w 10000"/>
              <a:gd name="connsiteY5" fmla="*/ 412 h 10000"/>
              <a:gd name="connsiteX6" fmla="*/ 2561 w 10000"/>
              <a:gd name="connsiteY6" fmla="*/ 513 h 10000"/>
              <a:gd name="connsiteX7" fmla="*/ 2530 w 10000"/>
              <a:gd name="connsiteY7" fmla="*/ 615 h 10000"/>
              <a:gd name="connsiteX8" fmla="*/ 2502 w 10000"/>
              <a:gd name="connsiteY8" fmla="*/ 713 h 10000"/>
              <a:gd name="connsiteX9" fmla="*/ 2468 w 10000"/>
              <a:gd name="connsiteY9" fmla="*/ 813 h 10000"/>
              <a:gd name="connsiteX10" fmla="*/ 2428 w 10000"/>
              <a:gd name="connsiteY10" fmla="*/ 911 h 10000"/>
              <a:gd name="connsiteX11" fmla="*/ 2386 w 10000"/>
              <a:gd name="connsiteY11" fmla="*/ 1005 h 10000"/>
              <a:gd name="connsiteX12" fmla="*/ 2347 w 10000"/>
              <a:gd name="connsiteY12" fmla="*/ 1104 h 10000"/>
              <a:gd name="connsiteX13" fmla="*/ 2299 w 10000"/>
              <a:gd name="connsiteY13" fmla="*/ 1200 h 10000"/>
              <a:gd name="connsiteX14" fmla="*/ 2248 w 10000"/>
              <a:gd name="connsiteY14" fmla="*/ 1289 h 10000"/>
              <a:gd name="connsiteX15" fmla="*/ 2200 w 10000"/>
              <a:gd name="connsiteY15" fmla="*/ 1381 h 10000"/>
              <a:gd name="connsiteX16" fmla="*/ 2149 w 10000"/>
              <a:gd name="connsiteY16" fmla="*/ 1472 h 10000"/>
              <a:gd name="connsiteX17" fmla="*/ 2092 w 10000"/>
              <a:gd name="connsiteY17" fmla="*/ 1564 h 10000"/>
              <a:gd name="connsiteX18" fmla="*/ 2041 w 10000"/>
              <a:gd name="connsiteY18" fmla="*/ 1655 h 10000"/>
              <a:gd name="connsiteX19" fmla="*/ 1981 w 10000"/>
              <a:gd name="connsiteY19" fmla="*/ 1742 h 10000"/>
              <a:gd name="connsiteX20" fmla="*/ 1919 w 10000"/>
              <a:gd name="connsiteY20" fmla="*/ 1822 h 10000"/>
              <a:gd name="connsiteX21" fmla="*/ 1854 w 10000"/>
              <a:gd name="connsiteY21" fmla="*/ 1907 h 10000"/>
              <a:gd name="connsiteX22" fmla="*/ 1794 w 10000"/>
              <a:gd name="connsiteY22" fmla="*/ 1990 h 10000"/>
              <a:gd name="connsiteX23" fmla="*/ 1725 w 10000"/>
              <a:gd name="connsiteY23" fmla="*/ 2078 h 10000"/>
              <a:gd name="connsiteX24" fmla="*/ 1656 w 10000"/>
              <a:gd name="connsiteY24" fmla="*/ 2156 h 10000"/>
              <a:gd name="connsiteX25" fmla="*/ 1583 w 10000"/>
              <a:gd name="connsiteY25" fmla="*/ 2231 h 10000"/>
              <a:gd name="connsiteX26" fmla="*/ 1509 w 10000"/>
              <a:gd name="connsiteY26" fmla="*/ 2313 h 10000"/>
              <a:gd name="connsiteX27" fmla="*/ 1435 w 10000"/>
              <a:gd name="connsiteY27" fmla="*/ 2388 h 10000"/>
              <a:gd name="connsiteX28" fmla="*/ 1356 w 10000"/>
              <a:gd name="connsiteY28" fmla="*/ 2462 h 10000"/>
              <a:gd name="connsiteX29" fmla="*/ 1279 w 10000"/>
              <a:gd name="connsiteY29" fmla="*/ 2540 h 10000"/>
              <a:gd name="connsiteX30" fmla="*/ 1200 w 10000"/>
              <a:gd name="connsiteY30" fmla="*/ 2611 h 10000"/>
              <a:gd name="connsiteX31" fmla="*/ 1113 w 10000"/>
              <a:gd name="connsiteY31" fmla="*/ 2682 h 10000"/>
              <a:gd name="connsiteX32" fmla="*/ 1033 w 10000"/>
              <a:gd name="connsiteY32" fmla="*/ 2749 h 10000"/>
              <a:gd name="connsiteX33" fmla="*/ 946 w 10000"/>
              <a:gd name="connsiteY33" fmla="*/ 2818 h 10000"/>
              <a:gd name="connsiteX34" fmla="*/ 862 w 10000"/>
              <a:gd name="connsiteY34" fmla="*/ 2882 h 10000"/>
              <a:gd name="connsiteX35" fmla="*/ 767 w 10000"/>
              <a:gd name="connsiteY35" fmla="*/ 2948 h 10000"/>
              <a:gd name="connsiteX36" fmla="*/ 679 w 10000"/>
              <a:gd name="connsiteY36" fmla="*/ 3008 h 10000"/>
              <a:gd name="connsiteX37" fmla="*/ 586 w 10000"/>
              <a:gd name="connsiteY37" fmla="*/ 3071 h 10000"/>
              <a:gd name="connsiteX38" fmla="*/ 492 w 10000"/>
              <a:gd name="connsiteY38" fmla="*/ 3128 h 10000"/>
              <a:gd name="connsiteX39" fmla="*/ 394 w 10000"/>
              <a:gd name="connsiteY39" fmla="*/ 3184 h 10000"/>
              <a:gd name="connsiteX40" fmla="*/ 298 w 10000"/>
              <a:gd name="connsiteY40" fmla="*/ 3242 h 10000"/>
              <a:gd name="connsiteX41" fmla="*/ 203 w 10000"/>
              <a:gd name="connsiteY41" fmla="*/ 3295 h 10000"/>
              <a:gd name="connsiteX42" fmla="*/ 101 w 10000"/>
              <a:gd name="connsiteY42" fmla="*/ 3346 h 10000"/>
              <a:gd name="connsiteX43" fmla="*/ 0 w 10000"/>
              <a:gd name="connsiteY43" fmla="*/ 3395 h 10000"/>
              <a:gd name="connsiteX44" fmla="*/ 187 w 10000"/>
              <a:gd name="connsiteY44" fmla="*/ 6883 h 10000"/>
              <a:gd name="connsiteX45" fmla="*/ 1146 w 10000"/>
              <a:gd name="connsiteY45" fmla="*/ 10000 h 10000"/>
              <a:gd name="connsiteX46" fmla="*/ 1673 w 10000"/>
              <a:gd name="connsiteY46" fmla="*/ 9845 h 10000"/>
              <a:gd name="connsiteX47" fmla="*/ 1934 w 10000"/>
              <a:gd name="connsiteY47" fmla="*/ 9767 h 10000"/>
              <a:gd name="connsiteX48" fmla="*/ 2196 w 10000"/>
              <a:gd name="connsiteY48" fmla="*/ 9676 h 10000"/>
              <a:gd name="connsiteX49" fmla="*/ 2457 w 10000"/>
              <a:gd name="connsiteY49" fmla="*/ 9587 h 10000"/>
              <a:gd name="connsiteX50" fmla="*/ 2705 w 10000"/>
              <a:gd name="connsiteY50" fmla="*/ 9487 h 10000"/>
              <a:gd name="connsiteX51" fmla="*/ 2955 w 10000"/>
              <a:gd name="connsiteY51" fmla="*/ 9385 h 10000"/>
              <a:gd name="connsiteX52" fmla="*/ 3206 w 10000"/>
              <a:gd name="connsiteY52" fmla="*/ 9277 h 10000"/>
              <a:gd name="connsiteX53" fmla="*/ 3449 w 10000"/>
              <a:gd name="connsiteY53" fmla="*/ 9167 h 10000"/>
              <a:gd name="connsiteX54" fmla="*/ 3689 w 10000"/>
              <a:gd name="connsiteY54" fmla="*/ 9056 h 10000"/>
              <a:gd name="connsiteX55" fmla="*/ 3930 w 10000"/>
              <a:gd name="connsiteY55" fmla="*/ 8932 h 10000"/>
              <a:gd name="connsiteX56" fmla="*/ 4165 w 10000"/>
              <a:gd name="connsiteY56" fmla="*/ 8811 h 10000"/>
              <a:gd name="connsiteX57" fmla="*/ 4397 w 10000"/>
              <a:gd name="connsiteY57" fmla="*/ 8682 h 10000"/>
              <a:gd name="connsiteX58" fmla="*/ 4628 w 10000"/>
              <a:gd name="connsiteY58" fmla="*/ 8549 h 10000"/>
              <a:gd name="connsiteX59" fmla="*/ 4845 w 10000"/>
              <a:gd name="connsiteY59" fmla="*/ 8416 h 10000"/>
              <a:gd name="connsiteX60" fmla="*/ 5065 w 10000"/>
              <a:gd name="connsiteY60" fmla="*/ 8272 h 10000"/>
              <a:gd name="connsiteX61" fmla="*/ 5285 w 10000"/>
              <a:gd name="connsiteY61" fmla="*/ 8130 h 10000"/>
              <a:gd name="connsiteX62" fmla="*/ 5494 w 10000"/>
              <a:gd name="connsiteY62" fmla="*/ 7982 h 10000"/>
              <a:gd name="connsiteX63" fmla="*/ 5708 w 10000"/>
              <a:gd name="connsiteY63" fmla="*/ 7830 h 10000"/>
              <a:gd name="connsiteX64" fmla="*/ 5911 w 10000"/>
              <a:gd name="connsiteY64" fmla="*/ 7670 h 10000"/>
              <a:gd name="connsiteX65" fmla="*/ 6115 w 10000"/>
              <a:gd name="connsiteY65" fmla="*/ 7513 h 10000"/>
              <a:gd name="connsiteX66" fmla="*/ 6310 w 10000"/>
              <a:gd name="connsiteY66" fmla="*/ 7352 h 10000"/>
              <a:gd name="connsiteX67" fmla="*/ 6508 w 10000"/>
              <a:gd name="connsiteY67" fmla="*/ 7182 h 10000"/>
              <a:gd name="connsiteX68" fmla="*/ 6698 w 10000"/>
              <a:gd name="connsiteY68" fmla="*/ 7008 h 10000"/>
              <a:gd name="connsiteX69" fmla="*/ 6882 w 10000"/>
              <a:gd name="connsiteY69" fmla="*/ 6839 h 10000"/>
              <a:gd name="connsiteX70" fmla="*/ 7064 w 10000"/>
              <a:gd name="connsiteY70" fmla="*/ 6661 h 10000"/>
              <a:gd name="connsiteX71" fmla="*/ 7239 w 10000"/>
              <a:gd name="connsiteY71" fmla="*/ 6478 h 10000"/>
              <a:gd name="connsiteX72" fmla="*/ 7414 w 10000"/>
              <a:gd name="connsiteY72" fmla="*/ 6296 h 10000"/>
              <a:gd name="connsiteX73" fmla="*/ 7582 w 10000"/>
              <a:gd name="connsiteY73" fmla="*/ 6109 h 10000"/>
              <a:gd name="connsiteX74" fmla="*/ 7750 w 10000"/>
              <a:gd name="connsiteY74" fmla="*/ 5916 h 10000"/>
              <a:gd name="connsiteX75" fmla="*/ 7905 w 10000"/>
              <a:gd name="connsiteY75" fmla="*/ 5722 h 10000"/>
              <a:gd name="connsiteX76" fmla="*/ 8057 w 10000"/>
              <a:gd name="connsiteY76" fmla="*/ 5524 h 10000"/>
              <a:gd name="connsiteX77" fmla="*/ 8211 w 10000"/>
              <a:gd name="connsiteY77" fmla="*/ 5327 h 10000"/>
              <a:gd name="connsiteX78" fmla="*/ 8354 w 10000"/>
              <a:gd name="connsiteY78" fmla="*/ 5121 h 10000"/>
              <a:gd name="connsiteX79" fmla="*/ 8493 w 10000"/>
              <a:gd name="connsiteY79" fmla="*/ 4919 h 10000"/>
              <a:gd name="connsiteX80" fmla="*/ 8628 w 10000"/>
              <a:gd name="connsiteY80" fmla="*/ 4709 h 10000"/>
              <a:gd name="connsiteX81" fmla="*/ 8754 w 10000"/>
              <a:gd name="connsiteY81" fmla="*/ 4494 h 10000"/>
              <a:gd name="connsiteX82" fmla="*/ 8877 w 10000"/>
              <a:gd name="connsiteY82" fmla="*/ 4281 h 10000"/>
              <a:gd name="connsiteX83" fmla="*/ 9003 w 10000"/>
              <a:gd name="connsiteY83" fmla="*/ 4065 h 10000"/>
              <a:gd name="connsiteX84" fmla="*/ 9120 w 10000"/>
              <a:gd name="connsiteY84" fmla="*/ 3846 h 10000"/>
              <a:gd name="connsiteX85" fmla="*/ 9224 w 10000"/>
              <a:gd name="connsiteY85" fmla="*/ 3626 h 10000"/>
              <a:gd name="connsiteX86" fmla="*/ 9330 w 10000"/>
              <a:gd name="connsiteY86" fmla="*/ 3401 h 10000"/>
              <a:gd name="connsiteX87" fmla="*/ 9425 w 10000"/>
              <a:gd name="connsiteY87" fmla="*/ 3173 h 10000"/>
              <a:gd name="connsiteX88" fmla="*/ 9520 w 10000"/>
              <a:gd name="connsiteY88" fmla="*/ 2946 h 10000"/>
              <a:gd name="connsiteX89" fmla="*/ 9604 w 10000"/>
              <a:gd name="connsiteY89" fmla="*/ 2713 h 10000"/>
              <a:gd name="connsiteX90" fmla="*/ 9684 w 10000"/>
              <a:gd name="connsiteY90" fmla="*/ 2478 h 10000"/>
              <a:gd name="connsiteX91" fmla="*/ 9758 w 10000"/>
              <a:gd name="connsiteY91" fmla="*/ 2241 h 10000"/>
              <a:gd name="connsiteX92" fmla="*/ 9831 w 10000"/>
              <a:gd name="connsiteY92" fmla="*/ 2006 h 10000"/>
              <a:gd name="connsiteX93" fmla="*/ 9892 w 10000"/>
              <a:gd name="connsiteY93" fmla="*/ 1768 h 10000"/>
              <a:gd name="connsiteX94" fmla="*/ 9951 w 10000"/>
              <a:gd name="connsiteY94" fmla="*/ 1526 h 10000"/>
              <a:gd name="connsiteX95" fmla="*/ 10000 w 10000"/>
              <a:gd name="connsiteY95" fmla="*/ 1280 h 10000"/>
              <a:gd name="connsiteX96" fmla="*/ 6011 w 10000"/>
              <a:gd name="connsiteY96" fmla="*/ 1964 h 10000"/>
              <a:gd name="connsiteX97" fmla="*/ 2680 w 10000"/>
              <a:gd name="connsiteY97" fmla="*/ 0 h 10000"/>
              <a:gd name="connsiteX0" fmla="*/ 2680 w 10000"/>
              <a:gd name="connsiteY0" fmla="*/ 0 h 9845"/>
              <a:gd name="connsiteX1" fmla="*/ 2680 w 10000"/>
              <a:gd name="connsiteY1" fmla="*/ 0 h 9845"/>
              <a:gd name="connsiteX2" fmla="*/ 2665 w 10000"/>
              <a:gd name="connsiteY2" fmla="*/ 104 h 9845"/>
              <a:gd name="connsiteX3" fmla="*/ 2642 w 10000"/>
              <a:gd name="connsiteY3" fmla="*/ 209 h 9845"/>
              <a:gd name="connsiteX4" fmla="*/ 2621 w 10000"/>
              <a:gd name="connsiteY4" fmla="*/ 313 h 9845"/>
              <a:gd name="connsiteX5" fmla="*/ 2594 w 10000"/>
              <a:gd name="connsiteY5" fmla="*/ 412 h 9845"/>
              <a:gd name="connsiteX6" fmla="*/ 2561 w 10000"/>
              <a:gd name="connsiteY6" fmla="*/ 513 h 9845"/>
              <a:gd name="connsiteX7" fmla="*/ 2530 w 10000"/>
              <a:gd name="connsiteY7" fmla="*/ 615 h 9845"/>
              <a:gd name="connsiteX8" fmla="*/ 2502 w 10000"/>
              <a:gd name="connsiteY8" fmla="*/ 713 h 9845"/>
              <a:gd name="connsiteX9" fmla="*/ 2468 w 10000"/>
              <a:gd name="connsiteY9" fmla="*/ 813 h 9845"/>
              <a:gd name="connsiteX10" fmla="*/ 2428 w 10000"/>
              <a:gd name="connsiteY10" fmla="*/ 911 h 9845"/>
              <a:gd name="connsiteX11" fmla="*/ 2386 w 10000"/>
              <a:gd name="connsiteY11" fmla="*/ 1005 h 9845"/>
              <a:gd name="connsiteX12" fmla="*/ 2347 w 10000"/>
              <a:gd name="connsiteY12" fmla="*/ 1104 h 9845"/>
              <a:gd name="connsiteX13" fmla="*/ 2299 w 10000"/>
              <a:gd name="connsiteY13" fmla="*/ 1200 h 9845"/>
              <a:gd name="connsiteX14" fmla="*/ 2248 w 10000"/>
              <a:gd name="connsiteY14" fmla="*/ 1289 h 9845"/>
              <a:gd name="connsiteX15" fmla="*/ 2200 w 10000"/>
              <a:gd name="connsiteY15" fmla="*/ 1381 h 9845"/>
              <a:gd name="connsiteX16" fmla="*/ 2149 w 10000"/>
              <a:gd name="connsiteY16" fmla="*/ 1472 h 9845"/>
              <a:gd name="connsiteX17" fmla="*/ 2092 w 10000"/>
              <a:gd name="connsiteY17" fmla="*/ 1564 h 9845"/>
              <a:gd name="connsiteX18" fmla="*/ 2041 w 10000"/>
              <a:gd name="connsiteY18" fmla="*/ 1655 h 9845"/>
              <a:gd name="connsiteX19" fmla="*/ 1981 w 10000"/>
              <a:gd name="connsiteY19" fmla="*/ 1742 h 9845"/>
              <a:gd name="connsiteX20" fmla="*/ 1919 w 10000"/>
              <a:gd name="connsiteY20" fmla="*/ 1822 h 9845"/>
              <a:gd name="connsiteX21" fmla="*/ 1854 w 10000"/>
              <a:gd name="connsiteY21" fmla="*/ 1907 h 9845"/>
              <a:gd name="connsiteX22" fmla="*/ 1794 w 10000"/>
              <a:gd name="connsiteY22" fmla="*/ 1990 h 9845"/>
              <a:gd name="connsiteX23" fmla="*/ 1725 w 10000"/>
              <a:gd name="connsiteY23" fmla="*/ 2078 h 9845"/>
              <a:gd name="connsiteX24" fmla="*/ 1656 w 10000"/>
              <a:gd name="connsiteY24" fmla="*/ 2156 h 9845"/>
              <a:gd name="connsiteX25" fmla="*/ 1583 w 10000"/>
              <a:gd name="connsiteY25" fmla="*/ 2231 h 9845"/>
              <a:gd name="connsiteX26" fmla="*/ 1509 w 10000"/>
              <a:gd name="connsiteY26" fmla="*/ 2313 h 9845"/>
              <a:gd name="connsiteX27" fmla="*/ 1435 w 10000"/>
              <a:gd name="connsiteY27" fmla="*/ 2388 h 9845"/>
              <a:gd name="connsiteX28" fmla="*/ 1356 w 10000"/>
              <a:gd name="connsiteY28" fmla="*/ 2462 h 9845"/>
              <a:gd name="connsiteX29" fmla="*/ 1279 w 10000"/>
              <a:gd name="connsiteY29" fmla="*/ 2540 h 9845"/>
              <a:gd name="connsiteX30" fmla="*/ 1200 w 10000"/>
              <a:gd name="connsiteY30" fmla="*/ 2611 h 9845"/>
              <a:gd name="connsiteX31" fmla="*/ 1113 w 10000"/>
              <a:gd name="connsiteY31" fmla="*/ 2682 h 9845"/>
              <a:gd name="connsiteX32" fmla="*/ 1033 w 10000"/>
              <a:gd name="connsiteY32" fmla="*/ 2749 h 9845"/>
              <a:gd name="connsiteX33" fmla="*/ 946 w 10000"/>
              <a:gd name="connsiteY33" fmla="*/ 2818 h 9845"/>
              <a:gd name="connsiteX34" fmla="*/ 862 w 10000"/>
              <a:gd name="connsiteY34" fmla="*/ 2882 h 9845"/>
              <a:gd name="connsiteX35" fmla="*/ 767 w 10000"/>
              <a:gd name="connsiteY35" fmla="*/ 2948 h 9845"/>
              <a:gd name="connsiteX36" fmla="*/ 679 w 10000"/>
              <a:gd name="connsiteY36" fmla="*/ 3008 h 9845"/>
              <a:gd name="connsiteX37" fmla="*/ 586 w 10000"/>
              <a:gd name="connsiteY37" fmla="*/ 3071 h 9845"/>
              <a:gd name="connsiteX38" fmla="*/ 492 w 10000"/>
              <a:gd name="connsiteY38" fmla="*/ 3128 h 9845"/>
              <a:gd name="connsiteX39" fmla="*/ 394 w 10000"/>
              <a:gd name="connsiteY39" fmla="*/ 3184 h 9845"/>
              <a:gd name="connsiteX40" fmla="*/ 298 w 10000"/>
              <a:gd name="connsiteY40" fmla="*/ 3242 h 9845"/>
              <a:gd name="connsiteX41" fmla="*/ 203 w 10000"/>
              <a:gd name="connsiteY41" fmla="*/ 3295 h 9845"/>
              <a:gd name="connsiteX42" fmla="*/ 101 w 10000"/>
              <a:gd name="connsiteY42" fmla="*/ 3346 h 9845"/>
              <a:gd name="connsiteX43" fmla="*/ 0 w 10000"/>
              <a:gd name="connsiteY43" fmla="*/ 3395 h 9845"/>
              <a:gd name="connsiteX44" fmla="*/ 187 w 10000"/>
              <a:gd name="connsiteY44" fmla="*/ 6883 h 9845"/>
              <a:gd name="connsiteX45" fmla="*/ 1673 w 10000"/>
              <a:gd name="connsiteY45" fmla="*/ 9845 h 9845"/>
              <a:gd name="connsiteX46" fmla="*/ 1934 w 10000"/>
              <a:gd name="connsiteY46" fmla="*/ 9767 h 9845"/>
              <a:gd name="connsiteX47" fmla="*/ 2196 w 10000"/>
              <a:gd name="connsiteY47" fmla="*/ 9676 h 9845"/>
              <a:gd name="connsiteX48" fmla="*/ 2457 w 10000"/>
              <a:gd name="connsiteY48" fmla="*/ 9587 h 9845"/>
              <a:gd name="connsiteX49" fmla="*/ 2705 w 10000"/>
              <a:gd name="connsiteY49" fmla="*/ 9487 h 9845"/>
              <a:gd name="connsiteX50" fmla="*/ 2955 w 10000"/>
              <a:gd name="connsiteY50" fmla="*/ 9385 h 9845"/>
              <a:gd name="connsiteX51" fmla="*/ 3206 w 10000"/>
              <a:gd name="connsiteY51" fmla="*/ 9277 h 9845"/>
              <a:gd name="connsiteX52" fmla="*/ 3449 w 10000"/>
              <a:gd name="connsiteY52" fmla="*/ 9167 h 9845"/>
              <a:gd name="connsiteX53" fmla="*/ 3689 w 10000"/>
              <a:gd name="connsiteY53" fmla="*/ 9056 h 9845"/>
              <a:gd name="connsiteX54" fmla="*/ 3930 w 10000"/>
              <a:gd name="connsiteY54" fmla="*/ 8932 h 9845"/>
              <a:gd name="connsiteX55" fmla="*/ 4165 w 10000"/>
              <a:gd name="connsiteY55" fmla="*/ 8811 h 9845"/>
              <a:gd name="connsiteX56" fmla="*/ 4397 w 10000"/>
              <a:gd name="connsiteY56" fmla="*/ 8682 h 9845"/>
              <a:gd name="connsiteX57" fmla="*/ 4628 w 10000"/>
              <a:gd name="connsiteY57" fmla="*/ 8549 h 9845"/>
              <a:gd name="connsiteX58" fmla="*/ 4845 w 10000"/>
              <a:gd name="connsiteY58" fmla="*/ 8416 h 9845"/>
              <a:gd name="connsiteX59" fmla="*/ 5065 w 10000"/>
              <a:gd name="connsiteY59" fmla="*/ 8272 h 9845"/>
              <a:gd name="connsiteX60" fmla="*/ 5285 w 10000"/>
              <a:gd name="connsiteY60" fmla="*/ 8130 h 9845"/>
              <a:gd name="connsiteX61" fmla="*/ 5494 w 10000"/>
              <a:gd name="connsiteY61" fmla="*/ 7982 h 9845"/>
              <a:gd name="connsiteX62" fmla="*/ 5708 w 10000"/>
              <a:gd name="connsiteY62" fmla="*/ 7830 h 9845"/>
              <a:gd name="connsiteX63" fmla="*/ 5911 w 10000"/>
              <a:gd name="connsiteY63" fmla="*/ 7670 h 9845"/>
              <a:gd name="connsiteX64" fmla="*/ 6115 w 10000"/>
              <a:gd name="connsiteY64" fmla="*/ 7513 h 9845"/>
              <a:gd name="connsiteX65" fmla="*/ 6310 w 10000"/>
              <a:gd name="connsiteY65" fmla="*/ 7352 h 9845"/>
              <a:gd name="connsiteX66" fmla="*/ 6508 w 10000"/>
              <a:gd name="connsiteY66" fmla="*/ 7182 h 9845"/>
              <a:gd name="connsiteX67" fmla="*/ 6698 w 10000"/>
              <a:gd name="connsiteY67" fmla="*/ 7008 h 9845"/>
              <a:gd name="connsiteX68" fmla="*/ 6882 w 10000"/>
              <a:gd name="connsiteY68" fmla="*/ 6839 h 9845"/>
              <a:gd name="connsiteX69" fmla="*/ 7064 w 10000"/>
              <a:gd name="connsiteY69" fmla="*/ 6661 h 9845"/>
              <a:gd name="connsiteX70" fmla="*/ 7239 w 10000"/>
              <a:gd name="connsiteY70" fmla="*/ 6478 h 9845"/>
              <a:gd name="connsiteX71" fmla="*/ 7414 w 10000"/>
              <a:gd name="connsiteY71" fmla="*/ 6296 h 9845"/>
              <a:gd name="connsiteX72" fmla="*/ 7582 w 10000"/>
              <a:gd name="connsiteY72" fmla="*/ 6109 h 9845"/>
              <a:gd name="connsiteX73" fmla="*/ 7750 w 10000"/>
              <a:gd name="connsiteY73" fmla="*/ 5916 h 9845"/>
              <a:gd name="connsiteX74" fmla="*/ 7905 w 10000"/>
              <a:gd name="connsiteY74" fmla="*/ 5722 h 9845"/>
              <a:gd name="connsiteX75" fmla="*/ 8057 w 10000"/>
              <a:gd name="connsiteY75" fmla="*/ 5524 h 9845"/>
              <a:gd name="connsiteX76" fmla="*/ 8211 w 10000"/>
              <a:gd name="connsiteY76" fmla="*/ 5327 h 9845"/>
              <a:gd name="connsiteX77" fmla="*/ 8354 w 10000"/>
              <a:gd name="connsiteY77" fmla="*/ 5121 h 9845"/>
              <a:gd name="connsiteX78" fmla="*/ 8493 w 10000"/>
              <a:gd name="connsiteY78" fmla="*/ 4919 h 9845"/>
              <a:gd name="connsiteX79" fmla="*/ 8628 w 10000"/>
              <a:gd name="connsiteY79" fmla="*/ 4709 h 9845"/>
              <a:gd name="connsiteX80" fmla="*/ 8754 w 10000"/>
              <a:gd name="connsiteY80" fmla="*/ 4494 h 9845"/>
              <a:gd name="connsiteX81" fmla="*/ 8877 w 10000"/>
              <a:gd name="connsiteY81" fmla="*/ 4281 h 9845"/>
              <a:gd name="connsiteX82" fmla="*/ 9003 w 10000"/>
              <a:gd name="connsiteY82" fmla="*/ 4065 h 9845"/>
              <a:gd name="connsiteX83" fmla="*/ 9120 w 10000"/>
              <a:gd name="connsiteY83" fmla="*/ 3846 h 9845"/>
              <a:gd name="connsiteX84" fmla="*/ 9224 w 10000"/>
              <a:gd name="connsiteY84" fmla="*/ 3626 h 9845"/>
              <a:gd name="connsiteX85" fmla="*/ 9330 w 10000"/>
              <a:gd name="connsiteY85" fmla="*/ 3401 h 9845"/>
              <a:gd name="connsiteX86" fmla="*/ 9425 w 10000"/>
              <a:gd name="connsiteY86" fmla="*/ 3173 h 9845"/>
              <a:gd name="connsiteX87" fmla="*/ 9520 w 10000"/>
              <a:gd name="connsiteY87" fmla="*/ 2946 h 9845"/>
              <a:gd name="connsiteX88" fmla="*/ 9604 w 10000"/>
              <a:gd name="connsiteY88" fmla="*/ 2713 h 9845"/>
              <a:gd name="connsiteX89" fmla="*/ 9684 w 10000"/>
              <a:gd name="connsiteY89" fmla="*/ 2478 h 9845"/>
              <a:gd name="connsiteX90" fmla="*/ 9758 w 10000"/>
              <a:gd name="connsiteY90" fmla="*/ 2241 h 9845"/>
              <a:gd name="connsiteX91" fmla="*/ 9831 w 10000"/>
              <a:gd name="connsiteY91" fmla="*/ 2006 h 9845"/>
              <a:gd name="connsiteX92" fmla="*/ 9892 w 10000"/>
              <a:gd name="connsiteY92" fmla="*/ 1768 h 9845"/>
              <a:gd name="connsiteX93" fmla="*/ 9951 w 10000"/>
              <a:gd name="connsiteY93" fmla="*/ 1526 h 9845"/>
              <a:gd name="connsiteX94" fmla="*/ 10000 w 10000"/>
              <a:gd name="connsiteY94" fmla="*/ 1280 h 9845"/>
              <a:gd name="connsiteX95" fmla="*/ 6011 w 10000"/>
              <a:gd name="connsiteY95" fmla="*/ 1964 h 9845"/>
              <a:gd name="connsiteX96" fmla="*/ 2680 w 10000"/>
              <a:gd name="connsiteY96" fmla="*/ 0 h 9845"/>
              <a:gd name="connsiteX0" fmla="*/ 2680 w 10000"/>
              <a:gd name="connsiteY0" fmla="*/ 0 h 10115"/>
              <a:gd name="connsiteX1" fmla="*/ 2680 w 10000"/>
              <a:gd name="connsiteY1" fmla="*/ 0 h 10115"/>
              <a:gd name="connsiteX2" fmla="*/ 2665 w 10000"/>
              <a:gd name="connsiteY2" fmla="*/ 106 h 10115"/>
              <a:gd name="connsiteX3" fmla="*/ 2642 w 10000"/>
              <a:gd name="connsiteY3" fmla="*/ 212 h 10115"/>
              <a:gd name="connsiteX4" fmla="*/ 2621 w 10000"/>
              <a:gd name="connsiteY4" fmla="*/ 318 h 10115"/>
              <a:gd name="connsiteX5" fmla="*/ 2594 w 10000"/>
              <a:gd name="connsiteY5" fmla="*/ 418 h 10115"/>
              <a:gd name="connsiteX6" fmla="*/ 2561 w 10000"/>
              <a:gd name="connsiteY6" fmla="*/ 521 h 10115"/>
              <a:gd name="connsiteX7" fmla="*/ 2530 w 10000"/>
              <a:gd name="connsiteY7" fmla="*/ 625 h 10115"/>
              <a:gd name="connsiteX8" fmla="*/ 2502 w 10000"/>
              <a:gd name="connsiteY8" fmla="*/ 724 h 10115"/>
              <a:gd name="connsiteX9" fmla="*/ 2468 w 10000"/>
              <a:gd name="connsiteY9" fmla="*/ 826 h 10115"/>
              <a:gd name="connsiteX10" fmla="*/ 2428 w 10000"/>
              <a:gd name="connsiteY10" fmla="*/ 925 h 10115"/>
              <a:gd name="connsiteX11" fmla="*/ 2386 w 10000"/>
              <a:gd name="connsiteY11" fmla="*/ 1021 h 10115"/>
              <a:gd name="connsiteX12" fmla="*/ 2347 w 10000"/>
              <a:gd name="connsiteY12" fmla="*/ 1121 h 10115"/>
              <a:gd name="connsiteX13" fmla="*/ 2299 w 10000"/>
              <a:gd name="connsiteY13" fmla="*/ 1219 h 10115"/>
              <a:gd name="connsiteX14" fmla="*/ 2248 w 10000"/>
              <a:gd name="connsiteY14" fmla="*/ 1309 h 10115"/>
              <a:gd name="connsiteX15" fmla="*/ 2200 w 10000"/>
              <a:gd name="connsiteY15" fmla="*/ 1403 h 10115"/>
              <a:gd name="connsiteX16" fmla="*/ 2149 w 10000"/>
              <a:gd name="connsiteY16" fmla="*/ 1495 h 10115"/>
              <a:gd name="connsiteX17" fmla="*/ 2092 w 10000"/>
              <a:gd name="connsiteY17" fmla="*/ 1589 h 10115"/>
              <a:gd name="connsiteX18" fmla="*/ 2041 w 10000"/>
              <a:gd name="connsiteY18" fmla="*/ 1681 h 10115"/>
              <a:gd name="connsiteX19" fmla="*/ 1981 w 10000"/>
              <a:gd name="connsiteY19" fmla="*/ 1769 h 10115"/>
              <a:gd name="connsiteX20" fmla="*/ 1919 w 10000"/>
              <a:gd name="connsiteY20" fmla="*/ 1851 h 10115"/>
              <a:gd name="connsiteX21" fmla="*/ 1854 w 10000"/>
              <a:gd name="connsiteY21" fmla="*/ 1937 h 10115"/>
              <a:gd name="connsiteX22" fmla="*/ 1794 w 10000"/>
              <a:gd name="connsiteY22" fmla="*/ 2021 h 10115"/>
              <a:gd name="connsiteX23" fmla="*/ 1725 w 10000"/>
              <a:gd name="connsiteY23" fmla="*/ 2111 h 10115"/>
              <a:gd name="connsiteX24" fmla="*/ 1656 w 10000"/>
              <a:gd name="connsiteY24" fmla="*/ 2190 h 10115"/>
              <a:gd name="connsiteX25" fmla="*/ 1583 w 10000"/>
              <a:gd name="connsiteY25" fmla="*/ 2266 h 10115"/>
              <a:gd name="connsiteX26" fmla="*/ 1509 w 10000"/>
              <a:gd name="connsiteY26" fmla="*/ 2349 h 10115"/>
              <a:gd name="connsiteX27" fmla="*/ 1435 w 10000"/>
              <a:gd name="connsiteY27" fmla="*/ 2426 h 10115"/>
              <a:gd name="connsiteX28" fmla="*/ 1356 w 10000"/>
              <a:gd name="connsiteY28" fmla="*/ 2501 h 10115"/>
              <a:gd name="connsiteX29" fmla="*/ 1279 w 10000"/>
              <a:gd name="connsiteY29" fmla="*/ 2580 h 10115"/>
              <a:gd name="connsiteX30" fmla="*/ 1200 w 10000"/>
              <a:gd name="connsiteY30" fmla="*/ 2652 h 10115"/>
              <a:gd name="connsiteX31" fmla="*/ 1113 w 10000"/>
              <a:gd name="connsiteY31" fmla="*/ 2724 h 10115"/>
              <a:gd name="connsiteX32" fmla="*/ 1033 w 10000"/>
              <a:gd name="connsiteY32" fmla="*/ 2792 h 10115"/>
              <a:gd name="connsiteX33" fmla="*/ 946 w 10000"/>
              <a:gd name="connsiteY33" fmla="*/ 2862 h 10115"/>
              <a:gd name="connsiteX34" fmla="*/ 862 w 10000"/>
              <a:gd name="connsiteY34" fmla="*/ 2927 h 10115"/>
              <a:gd name="connsiteX35" fmla="*/ 767 w 10000"/>
              <a:gd name="connsiteY35" fmla="*/ 2994 h 10115"/>
              <a:gd name="connsiteX36" fmla="*/ 679 w 10000"/>
              <a:gd name="connsiteY36" fmla="*/ 3055 h 10115"/>
              <a:gd name="connsiteX37" fmla="*/ 586 w 10000"/>
              <a:gd name="connsiteY37" fmla="*/ 3119 h 10115"/>
              <a:gd name="connsiteX38" fmla="*/ 492 w 10000"/>
              <a:gd name="connsiteY38" fmla="*/ 3177 h 10115"/>
              <a:gd name="connsiteX39" fmla="*/ 394 w 10000"/>
              <a:gd name="connsiteY39" fmla="*/ 3234 h 10115"/>
              <a:gd name="connsiteX40" fmla="*/ 298 w 10000"/>
              <a:gd name="connsiteY40" fmla="*/ 3293 h 10115"/>
              <a:gd name="connsiteX41" fmla="*/ 203 w 10000"/>
              <a:gd name="connsiteY41" fmla="*/ 3347 h 10115"/>
              <a:gd name="connsiteX42" fmla="*/ 101 w 10000"/>
              <a:gd name="connsiteY42" fmla="*/ 3399 h 10115"/>
              <a:gd name="connsiteX43" fmla="*/ 0 w 10000"/>
              <a:gd name="connsiteY43" fmla="*/ 3448 h 10115"/>
              <a:gd name="connsiteX44" fmla="*/ 187 w 10000"/>
              <a:gd name="connsiteY44" fmla="*/ 6991 h 10115"/>
              <a:gd name="connsiteX45" fmla="*/ 1934 w 10000"/>
              <a:gd name="connsiteY45" fmla="*/ 9921 h 10115"/>
              <a:gd name="connsiteX46" fmla="*/ 2196 w 10000"/>
              <a:gd name="connsiteY46" fmla="*/ 9828 h 10115"/>
              <a:gd name="connsiteX47" fmla="*/ 2457 w 10000"/>
              <a:gd name="connsiteY47" fmla="*/ 9738 h 10115"/>
              <a:gd name="connsiteX48" fmla="*/ 2705 w 10000"/>
              <a:gd name="connsiteY48" fmla="*/ 9636 h 10115"/>
              <a:gd name="connsiteX49" fmla="*/ 2955 w 10000"/>
              <a:gd name="connsiteY49" fmla="*/ 9533 h 10115"/>
              <a:gd name="connsiteX50" fmla="*/ 3206 w 10000"/>
              <a:gd name="connsiteY50" fmla="*/ 9423 h 10115"/>
              <a:gd name="connsiteX51" fmla="*/ 3449 w 10000"/>
              <a:gd name="connsiteY51" fmla="*/ 9311 h 10115"/>
              <a:gd name="connsiteX52" fmla="*/ 3689 w 10000"/>
              <a:gd name="connsiteY52" fmla="*/ 9199 h 10115"/>
              <a:gd name="connsiteX53" fmla="*/ 3930 w 10000"/>
              <a:gd name="connsiteY53" fmla="*/ 9073 h 10115"/>
              <a:gd name="connsiteX54" fmla="*/ 4165 w 10000"/>
              <a:gd name="connsiteY54" fmla="*/ 8950 h 10115"/>
              <a:gd name="connsiteX55" fmla="*/ 4397 w 10000"/>
              <a:gd name="connsiteY55" fmla="*/ 8819 h 10115"/>
              <a:gd name="connsiteX56" fmla="*/ 4628 w 10000"/>
              <a:gd name="connsiteY56" fmla="*/ 8684 h 10115"/>
              <a:gd name="connsiteX57" fmla="*/ 4845 w 10000"/>
              <a:gd name="connsiteY57" fmla="*/ 8549 h 10115"/>
              <a:gd name="connsiteX58" fmla="*/ 5065 w 10000"/>
              <a:gd name="connsiteY58" fmla="*/ 8402 h 10115"/>
              <a:gd name="connsiteX59" fmla="*/ 5285 w 10000"/>
              <a:gd name="connsiteY59" fmla="*/ 8258 h 10115"/>
              <a:gd name="connsiteX60" fmla="*/ 5494 w 10000"/>
              <a:gd name="connsiteY60" fmla="*/ 8108 h 10115"/>
              <a:gd name="connsiteX61" fmla="*/ 5708 w 10000"/>
              <a:gd name="connsiteY61" fmla="*/ 7953 h 10115"/>
              <a:gd name="connsiteX62" fmla="*/ 5911 w 10000"/>
              <a:gd name="connsiteY62" fmla="*/ 7791 h 10115"/>
              <a:gd name="connsiteX63" fmla="*/ 6115 w 10000"/>
              <a:gd name="connsiteY63" fmla="*/ 7631 h 10115"/>
              <a:gd name="connsiteX64" fmla="*/ 6310 w 10000"/>
              <a:gd name="connsiteY64" fmla="*/ 7468 h 10115"/>
              <a:gd name="connsiteX65" fmla="*/ 6508 w 10000"/>
              <a:gd name="connsiteY65" fmla="*/ 7295 h 10115"/>
              <a:gd name="connsiteX66" fmla="*/ 6698 w 10000"/>
              <a:gd name="connsiteY66" fmla="*/ 7118 h 10115"/>
              <a:gd name="connsiteX67" fmla="*/ 6882 w 10000"/>
              <a:gd name="connsiteY67" fmla="*/ 6947 h 10115"/>
              <a:gd name="connsiteX68" fmla="*/ 7064 w 10000"/>
              <a:gd name="connsiteY68" fmla="*/ 6766 h 10115"/>
              <a:gd name="connsiteX69" fmla="*/ 7239 w 10000"/>
              <a:gd name="connsiteY69" fmla="*/ 6580 h 10115"/>
              <a:gd name="connsiteX70" fmla="*/ 7414 w 10000"/>
              <a:gd name="connsiteY70" fmla="*/ 6395 h 10115"/>
              <a:gd name="connsiteX71" fmla="*/ 7582 w 10000"/>
              <a:gd name="connsiteY71" fmla="*/ 6205 h 10115"/>
              <a:gd name="connsiteX72" fmla="*/ 7750 w 10000"/>
              <a:gd name="connsiteY72" fmla="*/ 6009 h 10115"/>
              <a:gd name="connsiteX73" fmla="*/ 7905 w 10000"/>
              <a:gd name="connsiteY73" fmla="*/ 5812 h 10115"/>
              <a:gd name="connsiteX74" fmla="*/ 8057 w 10000"/>
              <a:gd name="connsiteY74" fmla="*/ 5611 h 10115"/>
              <a:gd name="connsiteX75" fmla="*/ 8211 w 10000"/>
              <a:gd name="connsiteY75" fmla="*/ 5411 h 10115"/>
              <a:gd name="connsiteX76" fmla="*/ 8354 w 10000"/>
              <a:gd name="connsiteY76" fmla="*/ 5202 h 10115"/>
              <a:gd name="connsiteX77" fmla="*/ 8493 w 10000"/>
              <a:gd name="connsiteY77" fmla="*/ 4996 h 10115"/>
              <a:gd name="connsiteX78" fmla="*/ 8628 w 10000"/>
              <a:gd name="connsiteY78" fmla="*/ 4783 h 10115"/>
              <a:gd name="connsiteX79" fmla="*/ 8754 w 10000"/>
              <a:gd name="connsiteY79" fmla="*/ 4565 h 10115"/>
              <a:gd name="connsiteX80" fmla="*/ 8877 w 10000"/>
              <a:gd name="connsiteY80" fmla="*/ 4348 h 10115"/>
              <a:gd name="connsiteX81" fmla="*/ 9003 w 10000"/>
              <a:gd name="connsiteY81" fmla="*/ 4129 h 10115"/>
              <a:gd name="connsiteX82" fmla="*/ 9120 w 10000"/>
              <a:gd name="connsiteY82" fmla="*/ 3907 h 10115"/>
              <a:gd name="connsiteX83" fmla="*/ 9224 w 10000"/>
              <a:gd name="connsiteY83" fmla="*/ 3683 h 10115"/>
              <a:gd name="connsiteX84" fmla="*/ 9330 w 10000"/>
              <a:gd name="connsiteY84" fmla="*/ 3455 h 10115"/>
              <a:gd name="connsiteX85" fmla="*/ 9425 w 10000"/>
              <a:gd name="connsiteY85" fmla="*/ 3223 h 10115"/>
              <a:gd name="connsiteX86" fmla="*/ 9520 w 10000"/>
              <a:gd name="connsiteY86" fmla="*/ 2992 h 10115"/>
              <a:gd name="connsiteX87" fmla="*/ 9604 w 10000"/>
              <a:gd name="connsiteY87" fmla="*/ 2756 h 10115"/>
              <a:gd name="connsiteX88" fmla="*/ 9684 w 10000"/>
              <a:gd name="connsiteY88" fmla="*/ 2517 h 10115"/>
              <a:gd name="connsiteX89" fmla="*/ 9758 w 10000"/>
              <a:gd name="connsiteY89" fmla="*/ 2276 h 10115"/>
              <a:gd name="connsiteX90" fmla="*/ 9831 w 10000"/>
              <a:gd name="connsiteY90" fmla="*/ 2038 h 10115"/>
              <a:gd name="connsiteX91" fmla="*/ 9892 w 10000"/>
              <a:gd name="connsiteY91" fmla="*/ 1796 h 10115"/>
              <a:gd name="connsiteX92" fmla="*/ 9951 w 10000"/>
              <a:gd name="connsiteY92" fmla="*/ 1550 h 10115"/>
              <a:gd name="connsiteX93" fmla="*/ 10000 w 10000"/>
              <a:gd name="connsiteY93" fmla="*/ 1300 h 10115"/>
              <a:gd name="connsiteX94" fmla="*/ 6011 w 10000"/>
              <a:gd name="connsiteY94" fmla="*/ 1995 h 10115"/>
              <a:gd name="connsiteX95" fmla="*/ 2680 w 10000"/>
              <a:gd name="connsiteY95" fmla="*/ 0 h 10115"/>
              <a:gd name="connsiteX0" fmla="*/ 2680 w 10000"/>
              <a:gd name="connsiteY0" fmla="*/ 0 h 10157"/>
              <a:gd name="connsiteX1" fmla="*/ 2680 w 10000"/>
              <a:gd name="connsiteY1" fmla="*/ 0 h 10157"/>
              <a:gd name="connsiteX2" fmla="*/ 2665 w 10000"/>
              <a:gd name="connsiteY2" fmla="*/ 106 h 10157"/>
              <a:gd name="connsiteX3" fmla="*/ 2642 w 10000"/>
              <a:gd name="connsiteY3" fmla="*/ 212 h 10157"/>
              <a:gd name="connsiteX4" fmla="*/ 2621 w 10000"/>
              <a:gd name="connsiteY4" fmla="*/ 318 h 10157"/>
              <a:gd name="connsiteX5" fmla="*/ 2594 w 10000"/>
              <a:gd name="connsiteY5" fmla="*/ 418 h 10157"/>
              <a:gd name="connsiteX6" fmla="*/ 2561 w 10000"/>
              <a:gd name="connsiteY6" fmla="*/ 521 h 10157"/>
              <a:gd name="connsiteX7" fmla="*/ 2530 w 10000"/>
              <a:gd name="connsiteY7" fmla="*/ 625 h 10157"/>
              <a:gd name="connsiteX8" fmla="*/ 2502 w 10000"/>
              <a:gd name="connsiteY8" fmla="*/ 724 h 10157"/>
              <a:gd name="connsiteX9" fmla="*/ 2468 w 10000"/>
              <a:gd name="connsiteY9" fmla="*/ 826 h 10157"/>
              <a:gd name="connsiteX10" fmla="*/ 2428 w 10000"/>
              <a:gd name="connsiteY10" fmla="*/ 925 h 10157"/>
              <a:gd name="connsiteX11" fmla="*/ 2386 w 10000"/>
              <a:gd name="connsiteY11" fmla="*/ 1021 h 10157"/>
              <a:gd name="connsiteX12" fmla="*/ 2347 w 10000"/>
              <a:gd name="connsiteY12" fmla="*/ 1121 h 10157"/>
              <a:gd name="connsiteX13" fmla="*/ 2299 w 10000"/>
              <a:gd name="connsiteY13" fmla="*/ 1219 h 10157"/>
              <a:gd name="connsiteX14" fmla="*/ 2248 w 10000"/>
              <a:gd name="connsiteY14" fmla="*/ 1309 h 10157"/>
              <a:gd name="connsiteX15" fmla="*/ 2200 w 10000"/>
              <a:gd name="connsiteY15" fmla="*/ 1403 h 10157"/>
              <a:gd name="connsiteX16" fmla="*/ 2149 w 10000"/>
              <a:gd name="connsiteY16" fmla="*/ 1495 h 10157"/>
              <a:gd name="connsiteX17" fmla="*/ 2092 w 10000"/>
              <a:gd name="connsiteY17" fmla="*/ 1589 h 10157"/>
              <a:gd name="connsiteX18" fmla="*/ 2041 w 10000"/>
              <a:gd name="connsiteY18" fmla="*/ 1681 h 10157"/>
              <a:gd name="connsiteX19" fmla="*/ 1981 w 10000"/>
              <a:gd name="connsiteY19" fmla="*/ 1769 h 10157"/>
              <a:gd name="connsiteX20" fmla="*/ 1919 w 10000"/>
              <a:gd name="connsiteY20" fmla="*/ 1851 h 10157"/>
              <a:gd name="connsiteX21" fmla="*/ 1854 w 10000"/>
              <a:gd name="connsiteY21" fmla="*/ 1937 h 10157"/>
              <a:gd name="connsiteX22" fmla="*/ 1794 w 10000"/>
              <a:gd name="connsiteY22" fmla="*/ 2021 h 10157"/>
              <a:gd name="connsiteX23" fmla="*/ 1725 w 10000"/>
              <a:gd name="connsiteY23" fmla="*/ 2111 h 10157"/>
              <a:gd name="connsiteX24" fmla="*/ 1656 w 10000"/>
              <a:gd name="connsiteY24" fmla="*/ 2190 h 10157"/>
              <a:gd name="connsiteX25" fmla="*/ 1583 w 10000"/>
              <a:gd name="connsiteY25" fmla="*/ 2266 h 10157"/>
              <a:gd name="connsiteX26" fmla="*/ 1509 w 10000"/>
              <a:gd name="connsiteY26" fmla="*/ 2349 h 10157"/>
              <a:gd name="connsiteX27" fmla="*/ 1435 w 10000"/>
              <a:gd name="connsiteY27" fmla="*/ 2426 h 10157"/>
              <a:gd name="connsiteX28" fmla="*/ 1356 w 10000"/>
              <a:gd name="connsiteY28" fmla="*/ 2501 h 10157"/>
              <a:gd name="connsiteX29" fmla="*/ 1279 w 10000"/>
              <a:gd name="connsiteY29" fmla="*/ 2580 h 10157"/>
              <a:gd name="connsiteX30" fmla="*/ 1200 w 10000"/>
              <a:gd name="connsiteY30" fmla="*/ 2652 h 10157"/>
              <a:gd name="connsiteX31" fmla="*/ 1113 w 10000"/>
              <a:gd name="connsiteY31" fmla="*/ 2724 h 10157"/>
              <a:gd name="connsiteX32" fmla="*/ 1033 w 10000"/>
              <a:gd name="connsiteY32" fmla="*/ 2792 h 10157"/>
              <a:gd name="connsiteX33" fmla="*/ 946 w 10000"/>
              <a:gd name="connsiteY33" fmla="*/ 2862 h 10157"/>
              <a:gd name="connsiteX34" fmla="*/ 862 w 10000"/>
              <a:gd name="connsiteY34" fmla="*/ 2927 h 10157"/>
              <a:gd name="connsiteX35" fmla="*/ 767 w 10000"/>
              <a:gd name="connsiteY35" fmla="*/ 2994 h 10157"/>
              <a:gd name="connsiteX36" fmla="*/ 679 w 10000"/>
              <a:gd name="connsiteY36" fmla="*/ 3055 h 10157"/>
              <a:gd name="connsiteX37" fmla="*/ 586 w 10000"/>
              <a:gd name="connsiteY37" fmla="*/ 3119 h 10157"/>
              <a:gd name="connsiteX38" fmla="*/ 492 w 10000"/>
              <a:gd name="connsiteY38" fmla="*/ 3177 h 10157"/>
              <a:gd name="connsiteX39" fmla="*/ 394 w 10000"/>
              <a:gd name="connsiteY39" fmla="*/ 3234 h 10157"/>
              <a:gd name="connsiteX40" fmla="*/ 298 w 10000"/>
              <a:gd name="connsiteY40" fmla="*/ 3293 h 10157"/>
              <a:gd name="connsiteX41" fmla="*/ 203 w 10000"/>
              <a:gd name="connsiteY41" fmla="*/ 3347 h 10157"/>
              <a:gd name="connsiteX42" fmla="*/ 101 w 10000"/>
              <a:gd name="connsiteY42" fmla="*/ 3399 h 10157"/>
              <a:gd name="connsiteX43" fmla="*/ 0 w 10000"/>
              <a:gd name="connsiteY43" fmla="*/ 3448 h 10157"/>
              <a:gd name="connsiteX44" fmla="*/ 187 w 10000"/>
              <a:gd name="connsiteY44" fmla="*/ 6991 h 10157"/>
              <a:gd name="connsiteX45" fmla="*/ 1934 w 10000"/>
              <a:gd name="connsiteY45" fmla="*/ 9921 h 10157"/>
              <a:gd name="connsiteX46" fmla="*/ 1928 w 10000"/>
              <a:gd name="connsiteY46" fmla="*/ 9967 h 10157"/>
              <a:gd name="connsiteX47" fmla="*/ 2196 w 10000"/>
              <a:gd name="connsiteY47" fmla="*/ 9828 h 10157"/>
              <a:gd name="connsiteX48" fmla="*/ 2457 w 10000"/>
              <a:gd name="connsiteY48" fmla="*/ 9738 h 10157"/>
              <a:gd name="connsiteX49" fmla="*/ 2705 w 10000"/>
              <a:gd name="connsiteY49" fmla="*/ 9636 h 10157"/>
              <a:gd name="connsiteX50" fmla="*/ 2955 w 10000"/>
              <a:gd name="connsiteY50" fmla="*/ 9533 h 10157"/>
              <a:gd name="connsiteX51" fmla="*/ 3206 w 10000"/>
              <a:gd name="connsiteY51" fmla="*/ 9423 h 10157"/>
              <a:gd name="connsiteX52" fmla="*/ 3449 w 10000"/>
              <a:gd name="connsiteY52" fmla="*/ 9311 h 10157"/>
              <a:gd name="connsiteX53" fmla="*/ 3689 w 10000"/>
              <a:gd name="connsiteY53" fmla="*/ 9199 h 10157"/>
              <a:gd name="connsiteX54" fmla="*/ 3930 w 10000"/>
              <a:gd name="connsiteY54" fmla="*/ 9073 h 10157"/>
              <a:gd name="connsiteX55" fmla="*/ 4165 w 10000"/>
              <a:gd name="connsiteY55" fmla="*/ 8950 h 10157"/>
              <a:gd name="connsiteX56" fmla="*/ 4397 w 10000"/>
              <a:gd name="connsiteY56" fmla="*/ 8819 h 10157"/>
              <a:gd name="connsiteX57" fmla="*/ 4628 w 10000"/>
              <a:gd name="connsiteY57" fmla="*/ 8684 h 10157"/>
              <a:gd name="connsiteX58" fmla="*/ 4845 w 10000"/>
              <a:gd name="connsiteY58" fmla="*/ 8549 h 10157"/>
              <a:gd name="connsiteX59" fmla="*/ 5065 w 10000"/>
              <a:gd name="connsiteY59" fmla="*/ 8402 h 10157"/>
              <a:gd name="connsiteX60" fmla="*/ 5285 w 10000"/>
              <a:gd name="connsiteY60" fmla="*/ 8258 h 10157"/>
              <a:gd name="connsiteX61" fmla="*/ 5494 w 10000"/>
              <a:gd name="connsiteY61" fmla="*/ 8108 h 10157"/>
              <a:gd name="connsiteX62" fmla="*/ 5708 w 10000"/>
              <a:gd name="connsiteY62" fmla="*/ 7953 h 10157"/>
              <a:gd name="connsiteX63" fmla="*/ 5911 w 10000"/>
              <a:gd name="connsiteY63" fmla="*/ 7791 h 10157"/>
              <a:gd name="connsiteX64" fmla="*/ 6115 w 10000"/>
              <a:gd name="connsiteY64" fmla="*/ 7631 h 10157"/>
              <a:gd name="connsiteX65" fmla="*/ 6310 w 10000"/>
              <a:gd name="connsiteY65" fmla="*/ 7468 h 10157"/>
              <a:gd name="connsiteX66" fmla="*/ 6508 w 10000"/>
              <a:gd name="connsiteY66" fmla="*/ 7295 h 10157"/>
              <a:gd name="connsiteX67" fmla="*/ 6698 w 10000"/>
              <a:gd name="connsiteY67" fmla="*/ 7118 h 10157"/>
              <a:gd name="connsiteX68" fmla="*/ 6882 w 10000"/>
              <a:gd name="connsiteY68" fmla="*/ 6947 h 10157"/>
              <a:gd name="connsiteX69" fmla="*/ 7064 w 10000"/>
              <a:gd name="connsiteY69" fmla="*/ 6766 h 10157"/>
              <a:gd name="connsiteX70" fmla="*/ 7239 w 10000"/>
              <a:gd name="connsiteY70" fmla="*/ 6580 h 10157"/>
              <a:gd name="connsiteX71" fmla="*/ 7414 w 10000"/>
              <a:gd name="connsiteY71" fmla="*/ 6395 h 10157"/>
              <a:gd name="connsiteX72" fmla="*/ 7582 w 10000"/>
              <a:gd name="connsiteY72" fmla="*/ 6205 h 10157"/>
              <a:gd name="connsiteX73" fmla="*/ 7750 w 10000"/>
              <a:gd name="connsiteY73" fmla="*/ 6009 h 10157"/>
              <a:gd name="connsiteX74" fmla="*/ 7905 w 10000"/>
              <a:gd name="connsiteY74" fmla="*/ 5812 h 10157"/>
              <a:gd name="connsiteX75" fmla="*/ 8057 w 10000"/>
              <a:gd name="connsiteY75" fmla="*/ 5611 h 10157"/>
              <a:gd name="connsiteX76" fmla="*/ 8211 w 10000"/>
              <a:gd name="connsiteY76" fmla="*/ 5411 h 10157"/>
              <a:gd name="connsiteX77" fmla="*/ 8354 w 10000"/>
              <a:gd name="connsiteY77" fmla="*/ 5202 h 10157"/>
              <a:gd name="connsiteX78" fmla="*/ 8493 w 10000"/>
              <a:gd name="connsiteY78" fmla="*/ 4996 h 10157"/>
              <a:gd name="connsiteX79" fmla="*/ 8628 w 10000"/>
              <a:gd name="connsiteY79" fmla="*/ 4783 h 10157"/>
              <a:gd name="connsiteX80" fmla="*/ 8754 w 10000"/>
              <a:gd name="connsiteY80" fmla="*/ 4565 h 10157"/>
              <a:gd name="connsiteX81" fmla="*/ 8877 w 10000"/>
              <a:gd name="connsiteY81" fmla="*/ 4348 h 10157"/>
              <a:gd name="connsiteX82" fmla="*/ 9003 w 10000"/>
              <a:gd name="connsiteY82" fmla="*/ 4129 h 10157"/>
              <a:gd name="connsiteX83" fmla="*/ 9120 w 10000"/>
              <a:gd name="connsiteY83" fmla="*/ 3907 h 10157"/>
              <a:gd name="connsiteX84" fmla="*/ 9224 w 10000"/>
              <a:gd name="connsiteY84" fmla="*/ 3683 h 10157"/>
              <a:gd name="connsiteX85" fmla="*/ 9330 w 10000"/>
              <a:gd name="connsiteY85" fmla="*/ 3455 h 10157"/>
              <a:gd name="connsiteX86" fmla="*/ 9425 w 10000"/>
              <a:gd name="connsiteY86" fmla="*/ 3223 h 10157"/>
              <a:gd name="connsiteX87" fmla="*/ 9520 w 10000"/>
              <a:gd name="connsiteY87" fmla="*/ 2992 h 10157"/>
              <a:gd name="connsiteX88" fmla="*/ 9604 w 10000"/>
              <a:gd name="connsiteY88" fmla="*/ 2756 h 10157"/>
              <a:gd name="connsiteX89" fmla="*/ 9684 w 10000"/>
              <a:gd name="connsiteY89" fmla="*/ 2517 h 10157"/>
              <a:gd name="connsiteX90" fmla="*/ 9758 w 10000"/>
              <a:gd name="connsiteY90" fmla="*/ 2276 h 10157"/>
              <a:gd name="connsiteX91" fmla="*/ 9831 w 10000"/>
              <a:gd name="connsiteY91" fmla="*/ 2038 h 10157"/>
              <a:gd name="connsiteX92" fmla="*/ 9892 w 10000"/>
              <a:gd name="connsiteY92" fmla="*/ 1796 h 10157"/>
              <a:gd name="connsiteX93" fmla="*/ 9951 w 10000"/>
              <a:gd name="connsiteY93" fmla="*/ 1550 h 10157"/>
              <a:gd name="connsiteX94" fmla="*/ 10000 w 10000"/>
              <a:gd name="connsiteY94" fmla="*/ 1300 h 10157"/>
              <a:gd name="connsiteX95" fmla="*/ 6011 w 10000"/>
              <a:gd name="connsiteY95" fmla="*/ 1995 h 10157"/>
              <a:gd name="connsiteX96" fmla="*/ 2680 w 10000"/>
              <a:gd name="connsiteY96" fmla="*/ 0 h 10157"/>
              <a:gd name="connsiteX0" fmla="*/ 2680 w 10000"/>
              <a:gd name="connsiteY0" fmla="*/ 0 h 10161"/>
              <a:gd name="connsiteX1" fmla="*/ 2680 w 10000"/>
              <a:gd name="connsiteY1" fmla="*/ 0 h 10161"/>
              <a:gd name="connsiteX2" fmla="*/ 2665 w 10000"/>
              <a:gd name="connsiteY2" fmla="*/ 106 h 10161"/>
              <a:gd name="connsiteX3" fmla="*/ 2642 w 10000"/>
              <a:gd name="connsiteY3" fmla="*/ 212 h 10161"/>
              <a:gd name="connsiteX4" fmla="*/ 2621 w 10000"/>
              <a:gd name="connsiteY4" fmla="*/ 318 h 10161"/>
              <a:gd name="connsiteX5" fmla="*/ 2594 w 10000"/>
              <a:gd name="connsiteY5" fmla="*/ 418 h 10161"/>
              <a:gd name="connsiteX6" fmla="*/ 2561 w 10000"/>
              <a:gd name="connsiteY6" fmla="*/ 521 h 10161"/>
              <a:gd name="connsiteX7" fmla="*/ 2530 w 10000"/>
              <a:gd name="connsiteY7" fmla="*/ 625 h 10161"/>
              <a:gd name="connsiteX8" fmla="*/ 2502 w 10000"/>
              <a:gd name="connsiteY8" fmla="*/ 724 h 10161"/>
              <a:gd name="connsiteX9" fmla="*/ 2468 w 10000"/>
              <a:gd name="connsiteY9" fmla="*/ 826 h 10161"/>
              <a:gd name="connsiteX10" fmla="*/ 2428 w 10000"/>
              <a:gd name="connsiteY10" fmla="*/ 925 h 10161"/>
              <a:gd name="connsiteX11" fmla="*/ 2386 w 10000"/>
              <a:gd name="connsiteY11" fmla="*/ 1021 h 10161"/>
              <a:gd name="connsiteX12" fmla="*/ 2347 w 10000"/>
              <a:gd name="connsiteY12" fmla="*/ 1121 h 10161"/>
              <a:gd name="connsiteX13" fmla="*/ 2299 w 10000"/>
              <a:gd name="connsiteY13" fmla="*/ 1219 h 10161"/>
              <a:gd name="connsiteX14" fmla="*/ 2248 w 10000"/>
              <a:gd name="connsiteY14" fmla="*/ 1309 h 10161"/>
              <a:gd name="connsiteX15" fmla="*/ 2200 w 10000"/>
              <a:gd name="connsiteY15" fmla="*/ 1403 h 10161"/>
              <a:gd name="connsiteX16" fmla="*/ 2149 w 10000"/>
              <a:gd name="connsiteY16" fmla="*/ 1495 h 10161"/>
              <a:gd name="connsiteX17" fmla="*/ 2092 w 10000"/>
              <a:gd name="connsiteY17" fmla="*/ 1589 h 10161"/>
              <a:gd name="connsiteX18" fmla="*/ 2041 w 10000"/>
              <a:gd name="connsiteY18" fmla="*/ 1681 h 10161"/>
              <a:gd name="connsiteX19" fmla="*/ 1981 w 10000"/>
              <a:gd name="connsiteY19" fmla="*/ 1769 h 10161"/>
              <a:gd name="connsiteX20" fmla="*/ 1919 w 10000"/>
              <a:gd name="connsiteY20" fmla="*/ 1851 h 10161"/>
              <a:gd name="connsiteX21" fmla="*/ 1854 w 10000"/>
              <a:gd name="connsiteY21" fmla="*/ 1937 h 10161"/>
              <a:gd name="connsiteX22" fmla="*/ 1794 w 10000"/>
              <a:gd name="connsiteY22" fmla="*/ 2021 h 10161"/>
              <a:gd name="connsiteX23" fmla="*/ 1725 w 10000"/>
              <a:gd name="connsiteY23" fmla="*/ 2111 h 10161"/>
              <a:gd name="connsiteX24" fmla="*/ 1656 w 10000"/>
              <a:gd name="connsiteY24" fmla="*/ 2190 h 10161"/>
              <a:gd name="connsiteX25" fmla="*/ 1583 w 10000"/>
              <a:gd name="connsiteY25" fmla="*/ 2266 h 10161"/>
              <a:gd name="connsiteX26" fmla="*/ 1509 w 10000"/>
              <a:gd name="connsiteY26" fmla="*/ 2349 h 10161"/>
              <a:gd name="connsiteX27" fmla="*/ 1435 w 10000"/>
              <a:gd name="connsiteY27" fmla="*/ 2426 h 10161"/>
              <a:gd name="connsiteX28" fmla="*/ 1356 w 10000"/>
              <a:gd name="connsiteY28" fmla="*/ 2501 h 10161"/>
              <a:gd name="connsiteX29" fmla="*/ 1279 w 10000"/>
              <a:gd name="connsiteY29" fmla="*/ 2580 h 10161"/>
              <a:gd name="connsiteX30" fmla="*/ 1200 w 10000"/>
              <a:gd name="connsiteY30" fmla="*/ 2652 h 10161"/>
              <a:gd name="connsiteX31" fmla="*/ 1113 w 10000"/>
              <a:gd name="connsiteY31" fmla="*/ 2724 h 10161"/>
              <a:gd name="connsiteX32" fmla="*/ 1033 w 10000"/>
              <a:gd name="connsiteY32" fmla="*/ 2792 h 10161"/>
              <a:gd name="connsiteX33" fmla="*/ 946 w 10000"/>
              <a:gd name="connsiteY33" fmla="*/ 2862 h 10161"/>
              <a:gd name="connsiteX34" fmla="*/ 862 w 10000"/>
              <a:gd name="connsiteY34" fmla="*/ 2927 h 10161"/>
              <a:gd name="connsiteX35" fmla="*/ 767 w 10000"/>
              <a:gd name="connsiteY35" fmla="*/ 2994 h 10161"/>
              <a:gd name="connsiteX36" fmla="*/ 679 w 10000"/>
              <a:gd name="connsiteY36" fmla="*/ 3055 h 10161"/>
              <a:gd name="connsiteX37" fmla="*/ 586 w 10000"/>
              <a:gd name="connsiteY37" fmla="*/ 3119 h 10161"/>
              <a:gd name="connsiteX38" fmla="*/ 492 w 10000"/>
              <a:gd name="connsiteY38" fmla="*/ 3177 h 10161"/>
              <a:gd name="connsiteX39" fmla="*/ 394 w 10000"/>
              <a:gd name="connsiteY39" fmla="*/ 3234 h 10161"/>
              <a:gd name="connsiteX40" fmla="*/ 298 w 10000"/>
              <a:gd name="connsiteY40" fmla="*/ 3293 h 10161"/>
              <a:gd name="connsiteX41" fmla="*/ 203 w 10000"/>
              <a:gd name="connsiteY41" fmla="*/ 3347 h 10161"/>
              <a:gd name="connsiteX42" fmla="*/ 101 w 10000"/>
              <a:gd name="connsiteY42" fmla="*/ 3399 h 10161"/>
              <a:gd name="connsiteX43" fmla="*/ 0 w 10000"/>
              <a:gd name="connsiteY43" fmla="*/ 3448 h 10161"/>
              <a:gd name="connsiteX44" fmla="*/ 187 w 10000"/>
              <a:gd name="connsiteY44" fmla="*/ 6991 h 10161"/>
              <a:gd name="connsiteX45" fmla="*/ 1934 w 10000"/>
              <a:gd name="connsiteY45" fmla="*/ 9921 h 10161"/>
              <a:gd name="connsiteX46" fmla="*/ 1928 w 10000"/>
              <a:gd name="connsiteY46" fmla="*/ 9967 h 10161"/>
              <a:gd name="connsiteX47" fmla="*/ 2457 w 10000"/>
              <a:gd name="connsiteY47" fmla="*/ 9738 h 10161"/>
              <a:gd name="connsiteX48" fmla="*/ 2705 w 10000"/>
              <a:gd name="connsiteY48" fmla="*/ 9636 h 10161"/>
              <a:gd name="connsiteX49" fmla="*/ 2955 w 10000"/>
              <a:gd name="connsiteY49" fmla="*/ 9533 h 10161"/>
              <a:gd name="connsiteX50" fmla="*/ 3206 w 10000"/>
              <a:gd name="connsiteY50" fmla="*/ 9423 h 10161"/>
              <a:gd name="connsiteX51" fmla="*/ 3449 w 10000"/>
              <a:gd name="connsiteY51" fmla="*/ 9311 h 10161"/>
              <a:gd name="connsiteX52" fmla="*/ 3689 w 10000"/>
              <a:gd name="connsiteY52" fmla="*/ 9199 h 10161"/>
              <a:gd name="connsiteX53" fmla="*/ 3930 w 10000"/>
              <a:gd name="connsiteY53" fmla="*/ 9073 h 10161"/>
              <a:gd name="connsiteX54" fmla="*/ 4165 w 10000"/>
              <a:gd name="connsiteY54" fmla="*/ 8950 h 10161"/>
              <a:gd name="connsiteX55" fmla="*/ 4397 w 10000"/>
              <a:gd name="connsiteY55" fmla="*/ 8819 h 10161"/>
              <a:gd name="connsiteX56" fmla="*/ 4628 w 10000"/>
              <a:gd name="connsiteY56" fmla="*/ 8684 h 10161"/>
              <a:gd name="connsiteX57" fmla="*/ 4845 w 10000"/>
              <a:gd name="connsiteY57" fmla="*/ 8549 h 10161"/>
              <a:gd name="connsiteX58" fmla="*/ 5065 w 10000"/>
              <a:gd name="connsiteY58" fmla="*/ 8402 h 10161"/>
              <a:gd name="connsiteX59" fmla="*/ 5285 w 10000"/>
              <a:gd name="connsiteY59" fmla="*/ 8258 h 10161"/>
              <a:gd name="connsiteX60" fmla="*/ 5494 w 10000"/>
              <a:gd name="connsiteY60" fmla="*/ 8108 h 10161"/>
              <a:gd name="connsiteX61" fmla="*/ 5708 w 10000"/>
              <a:gd name="connsiteY61" fmla="*/ 7953 h 10161"/>
              <a:gd name="connsiteX62" fmla="*/ 5911 w 10000"/>
              <a:gd name="connsiteY62" fmla="*/ 7791 h 10161"/>
              <a:gd name="connsiteX63" fmla="*/ 6115 w 10000"/>
              <a:gd name="connsiteY63" fmla="*/ 7631 h 10161"/>
              <a:gd name="connsiteX64" fmla="*/ 6310 w 10000"/>
              <a:gd name="connsiteY64" fmla="*/ 7468 h 10161"/>
              <a:gd name="connsiteX65" fmla="*/ 6508 w 10000"/>
              <a:gd name="connsiteY65" fmla="*/ 7295 h 10161"/>
              <a:gd name="connsiteX66" fmla="*/ 6698 w 10000"/>
              <a:gd name="connsiteY66" fmla="*/ 7118 h 10161"/>
              <a:gd name="connsiteX67" fmla="*/ 6882 w 10000"/>
              <a:gd name="connsiteY67" fmla="*/ 6947 h 10161"/>
              <a:gd name="connsiteX68" fmla="*/ 7064 w 10000"/>
              <a:gd name="connsiteY68" fmla="*/ 6766 h 10161"/>
              <a:gd name="connsiteX69" fmla="*/ 7239 w 10000"/>
              <a:gd name="connsiteY69" fmla="*/ 6580 h 10161"/>
              <a:gd name="connsiteX70" fmla="*/ 7414 w 10000"/>
              <a:gd name="connsiteY70" fmla="*/ 6395 h 10161"/>
              <a:gd name="connsiteX71" fmla="*/ 7582 w 10000"/>
              <a:gd name="connsiteY71" fmla="*/ 6205 h 10161"/>
              <a:gd name="connsiteX72" fmla="*/ 7750 w 10000"/>
              <a:gd name="connsiteY72" fmla="*/ 6009 h 10161"/>
              <a:gd name="connsiteX73" fmla="*/ 7905 w 10000"/>
              <a:gd name="connsiteY73" fmla="*/ 5812 h 10161"/>
              <a:gd name="connsiteX74" fmla="*/ 8057 w 10000"/>
              <a:gd name="connsiteY74" fmla="*/ 5611 h 10161"/>
              <a:gd name="connsiteX75" fmla="*/ 8211 w 10000"/>
              <a:gd name="connsiteY75" fmla="*/ 5411 h 10161"/>
              <a:gd name="connsiteX76" fmla="*/ 8354 w 10000"/>
              <a:gd name="connsiteY76" fmla="*/ 5202 h 10161"/>
              <a:gd name="connsiteX77" fmla="*/ 8493 w 10000"/>
              <a:gd name="connsiteY77" fmla="*/ 4996 h 10161"/>
              <a:gd name="connsiteX78" fmla="*/ 8628 w 10000"/>
              <a:gd name="connsiteY78" fmla="*/ 4783 h 10161"/>
              <a:gd name="connsiteX79" fmla="*/ 8754 w 10000"/>
              <a:gd name="connsiteY79" fmla="*/ 4565 h 10161"/>
              <a:gd name="connsiteX80" fmla="*/ 8877 w 10000"/>
              <a:gd name="connsiteY80" fmla="*/ 4348 h 10161"/>
              <a:gd name="connsiteX81" fmla="*/ 9003 w 10000"/>
              <a:gd name="connsiteY81" fmla="*/ 4129 h 10161"/>
              <a:gd name="connsiteX82" fmla="*/ 9120 w 10000"/>
              <a:gd name="connsiteY82" fmla="*/ 3907 h 10161"/>
              <a:gd name="connsiteX83" fmla="*/ 9224 w 10000"/>
              <a:gd name="connsiteY83" fmla="*/ 3683 h 10161"/>
              <a:gd name="connsiteX84" fmla="*/ 9330 w 10000"/>
              <a:gd name="connsiteY84" fmla="*/ 3455 h 10161"/>
              <a:gd name="connsiteX85" fmla="*/ 9425 w 10000"/>
              <a:gd name="connsiteY85" fmla="*/ 3223 h 10161"/>
              <a:gd name="connsiteX86" fmla="*/ 9520 w 10000"/>
              <a:gd name="connsiteY86" fmla="*/ 2992 h 10161"/>
              <a:gd name="connsiteX87" fmla="*/ 9604 w 10000"/>
              <a:gd name="connsiteY87" fmla="*/ 2756 h 10161"/>
              <a:gd name="connsiteX88" fmla="*/ 9684 w 10000"/>
              <a:gd name="connsiteY88" fmla="*/ 2517 h 10161"/>
              <a:gd name="connsiteX89" fmla="*/ 9758 w 10000"/>
              <a:gd name="connsiteY89" fmla="*/ 2276 h 10161"/>
              <a:gd name="connsiteX90" fmla="*/ 9831 w 10000"/>
              <a:gd name="connsiteY90" fmla="*/ 2038 h 10161"/>
              <a:gd name="connsiteX91" fmla="*/ 9892 w 10000"/>
              <a:gd name="connsiteY91" fmla="*/ 1796 h 10161"/>
              <a:gd name="connsiteX92" fmla="*/ 9951 w 10000"/>
              <a:gd name="connsiteY92" fmla="*/ 1550 h 10161"/>
              <a:gd name="connsiteX93" fmla="*/ 10000 w 10000"/>
              <a:gd name="connsiteY93" fmla="*/ 1300 h 10161"/>
              <a:gd name="connsiteX94" fmla="*/ 6011 w 10000"/>
              <a:gd name="connsiteY94" fmla="*/ 1995 h 10161"/>
              <a:gd name="connsiteX95" fmla="*/ 2680 w 10000"/>
              <a:gd name="connsiteY95" fmla="*/ 0 h 10161"/>
              <a:gd name="connsiteX0" fmla="*/ 2680 w 10000"/>
              <a:gd name="connsiteY0" fmla="*/ 0 h 10093"/>
              <a:gd name="connsiteX1" fmla="*/ 2680 w 10000"/>
              <a:gd name="connsiteY1" fmla="*/ 0 h 10093"/>
              <a:gd name="connsiteX2" fmla="*/ 2665 w 10000"/>
              <a:gd name="connsiteY2" fmla="*/ 106 h 10093"/>
              <a:gd name="connsiteX3" fmla="*/ 2642 w 10000"/>
              <a:gd name="connsiteY3" fmla="*/ 212 h 10093"/>
              <a:gd name="connsiteX4" fmla="*/ 2621 w 10000"/>
              <a:gd name="connsiteY4" fmla="*/ 318 h 10093"/>
              <a:gd name="connsiteX5" fmla="*/ 2594 w 10000"/>
              <a:gd name="connsiteY5" fmla="*/ 418 h 10093"/>
              <a:gd name="connsiteX6" fmla="*/ 2561 w 10000"/>
              <a:gd name="connsiteY6" fmla="*/ 521 h 10093"/>
              <a:gd name="connsiteX7" fmla="*/ 2530 w 10000"/>
              <a:gd name="connsiteY7" fmla="*/ 625 h 10093"/>
              <a:gd name="connsiteX8" fmla="*/ 2502 w 10000"/>
              <a:gd name="connsiteY8" fmla="*/ 724 h 10093"/>
              <a:gd name="connsiteX9" fmla="*/ 2468 w 10000"/>
              <a:gd name="connsiteY9" fmla="*/ 826 h 10093"/>
              <a:gd name="connsiteX10" fmla="*/ 2428 w 10000"/>
              <a:gd name="connsiteY10" fmla="*/ 925 h 10093"/>
              <a:gd name="connsiteX11" fmla="*/ 2386 w 10000"/>
              <a:gd name="connsiteY11" fmla="*/ 1021 h 10093"/>
              <a:gd name="connsiteX12" fmla="*/ 2347 w 10000"/>
              <a:gd name="connsiteY12" fmla="*/ 1121 h 10093"/>
              <a:gd name="connsiteX13" fmla="*/ 2299 w 10000"/>
              <a:gd name="connsiteY13" fmla="*/ 1219 h 10093"/>
              <a:gd name="connsiteX14" fmla="*/ 2248 w 10000"/>
              <a:gd name="connsiteY14" fmla="*/ 1309 h 10093"/>
              <a:gd name="connsiteX15" fmla="*/ 2200 w 10000"/>
              <a:gd name="connsiteY15" fmla="*/ 1403 h 10093"/>
              <a:gd name="connsiteX16" fmla="*/ 2149 w 10000"/>
              <a:gd name="connsiteY16" fmla="*/ 1495 h 10093"/>
              <a:gd name="connsiteX17" fmla="*/ 2092 w 10000"/>
              <a:gd name="connsiteY17" fmla="*/ 1589 h 10093"/>
              <a:gd name="connsiteX18" fmla="*/ 2041 w 10000"/>
              <a:gd name="connsiteY18" fmla="*/ 1681 h 10093"/>
              <a:gd name="connsiteX19" fmla="*/ 1981 w 10000"/>
              <a:gd name="connsiteY19" fmla="*/ 1769 h 10093"/>
              <a:gd name="connsiteX20" fmla="*/ 1919 w 10000"/>
              <a:gd name="connsiteY20" fmla="*/ 1851 h 10093"/>
              <a:gd name="connsiteX21" fmla="*/ 1854 w 10000"/>
              <a:gd name="connsiteY21" fmla="*/ 1937 h 10093"/>
              <a:gd name="connsiteX22" fmla="*/ 1794 w 10000"/>
              <a:gd name="connsiteY22" fmla="*/ 2021 h 10093"/>
              <a:gd name="connsiteX23" fmla="*/ 1725 w 10000"/>
              <a:gd name="connsiteY23" fmla="*/ 2111 h 10093"/>
              <a:gd name="connsiteX24" fmla="*/ 1656 w 10000"/>
              <a:gd name="connsiteY24" fmla="*/ 2190 h 10093"/>
              <a:gd name="connsiteX25" fmla="*/ 1583 w 10000"/>
              <a:gd name="connsiteY25" fmla="*/ 2266 h 10093"/>
              <a:gd name="connsiteX26" fmla="*/ 1509 w 10000"/>
              <a:gd name="connsiteY26" fmla="*/ 2349 h 10093"/>
              <a:gd name="connsiteX27" fmla="*/ 1435 w 10000"/>
              <a:gd name="connsiteY27" fmla="*/ 2426 h 10093"/>
              <a:gd name="connsiteX28" fmla="*/ 1356 w 10000"/>
              <a:gd name="connsiteY28" fmla="*/ 2501 h 10093"/>
              <a:gd name="connsiteX29" fmla="*/ 1279 w 10000"/>
              <a:gd name="connsiteY29" fmla="*/ 2580 h 10093"/>
              <a:gd name="connsiteX30" fmla="*/ 1200 w 10000"/>
              <a:gd name="connsiteY30" fmla="*/ 2652 h 10093"/>
              <a:gd name="connsiteX31" fmla="*/ 1113 w 10000"/>
              <a:gd name="connsiteY31" fmla="*/ 2724 h 10093"/>
              <a:gd name="connsiteX32" fmla="*/ 1033 w 10000"/>
              <a:gd name="connsiteY32" fmla="*/ 2792 h 10093"/>
              <a:gd name="connsiteX33" fmla="*/ 946 w 10000"/>
              <a:gd name="connsiteY33" fmla="*/ 2862 h 10093"/>
              <a:gd name="connsiteX34" fmla="*/ 862 w 10000"/>
              <a:gd name="connsiteY34" fmla="*/ 2927 h 10093"/>
              <a:gd name="connsiteX35" fmla="*/ 767 w 10000"/>
              <a:gd name="connsiteY35" fmla="*/ 2994 h 10093"/>
              <a:gd name="connsiteX36" fmla="*/ 679 w 10000"/>
              <a:gd name="connsiteY36" fmla="*/ 3055 h 10093"/>
              <a:gd name="connsiteX37" fmla="*/ 586 w 10000"/>
              <a:gd name="connsiteY37" fmla="*/ 3119 h 10093"/>
              <a:gd name="connsiteX38" fmla="*/ 492 w 10000"/>
              <a:gd name="connsiteY38" fmla="*/ 3177 h 10093"/>
              <a:gd name="connsiteX39" fmla="*/ 394 w 10000"/>
              <a:gd name="connsiteY39" fmla="*/ 3234 h 10093"/>
              <a:gd name="connsiteX40" fmla="*/ 298 w 10000"/>
              <a:gd name="connsiteY40" fmla="*/ 3293 h 10093"/>
              <a:gd name="connsiteX41" fmla="*/ 203 w 10000"/>
              <a:gd name="connsiteY41" fmla="*/ 3347 h 10093"/>
              <a:gd name="connsiteX42" fmla="*/ 101 w 10000"/>
              <a:gd name="connsiteY42" fmla="*/ 3399 h 10093"/>
              <a:gd name="connsiteX43" fmla="*/ 0 w 10000"/>
              <a:gd name="connsiteY43" fmla="*/ 3448 h 10093"/>
              <a:gd name="connsiteX44" fmla="*/ 187 w 10000"/>
              <a:gd name="connsiteY44" fmla="*/ 6991 h 10093"/>
              <a:gd name="connsiteX45" fmla="*/ 1934 w 10000"/>
              <a:gd name="connsiteY45" fmla="*/ 9921 h 10093"/>
              <a:gd name="connsiteX46" fmla="*/ 2457 w 10000"/>
              <a:gd name="connsiteY46" fmla="*/ 9738 h 10093"/>
              <a:gd name="connsiteX47" fmla="*/ 2705 w 10000"/>
              <a:gd name="connsiteY47" fmla="*/ 9636 h 10093"/>
              <a:gd name="connsiteX48" fmla="*/ 2955 w 10000"/>
              <a:gd name="connsiteY48" fmla="*/ 9533 h 10093"/>
              <a:gd name="connsiteX49" fmla="*/ 3206 w 10000"/>
              <a:gd name="connsiteY49" fmla="*/ 9423 h 10093"/>
              <a:gd name="connsiteX50" fmla="*/ 3449 w 10000"/>
              <a:gd name="connsiteY50" fmla="*/ 9311 h 10093"/>
              <a:gd name="connsiteX51" fmla="*/ 3689 w 10000"/>
              <a:gd name="connsiteY51" fmla="*/ 9199 h 10093"/>
              <a:gd name="connsiteX52" fmla="*/ 3930 w 10000"/>
              <a:gd name="connsiteY52" fmla="*/ 9073 h 10093"/>
              <a:gd name="connsiteX53" fmla="*/ 4165 w 10000"/>
              <a:gd name="connsiteY53" fmla="*/ 8950 h 10093"/>
              <a:gd name="connsiteX54" fmla="*/ 4397 w 10000"/>
              <a:gd name="connsiteY54" fmla="*/ 8819 h 10093"/>
              <a:gd name="connsiteX55" fmla="*/ 4628 w 10000"/>
              <a:gd name="connsiteY55" fmla="*/ 8684 h 10093"/>
              <a:gd name="connsiteX56" fmla="*/ 4845 w 10000"/>
              <a:gd name="connsiteY56" fmla="*/ 8549 h 10093"/>
              <a:gd name="connsiteX57" fmla="*/ 5065 w 10000"/>
              <a:gd name="connsiteY57" fmla="*/ 8402 h 10093"/>
              <a:gd name="connsiteX58" fmla="*/ 5285 w 10000"/>
              <a:gd name="connsiteY58" fmla="*/ 8258 h 10093"/>
              <a:gd name="connsiteX59" fmla="*/ 5494 w 10000"/>
              <a:gd name="connsiteY59" fmla="*/ 8108 h 10093"/>
              <a:gd name="connsiteX60" fmla="*/ 5708 w 10000"/>
              <a:gd name="connsiteY60" fmla="*/ 7953 h 10093"/>
              <a:gd name="connsiteX61" fmla="*/ 5911 w 10000"/>
              <a:gd name="connsiteY61" fmla="*/ 7791 h 10093"/>
              <a:gd name="connsiteX62" fmla="*/ 6115 w 10000"/>
              <a:gd name="connsiteY62" fmla="*/ 7631 h 10093"/>
              <a:gd name="connsiteX63" fmla="*/ 6310 w 10000"/>
              <a:gd name="connsiteY63" fmla="*/ 7468 h 10093"/>
              <a:gd name="connsiteX64" fmla="*/ 6508 w 10000"/>
              <a:gd name="connsiteY64" fmla="*/ 7295 h 10093"/>
              <a:gd name="connsiteX65" fmla="*/ 6698 w 10000"/>
              <a:gd name="connsiteY65" fmla="*/ 7118 h 10093"/>
              <a:gd name="connsiteX66" fmla="*/ 6882 w 10000"/>
              <a:gd name="connsiteY66" fmla="*/ 6947 h 10093"/>
              <a:gd name="connsiteX67" fmla="*/ 7064 w 10000"/>
              <a:gd name="connsiteY67" fmla="*/ 6766 h 10093"/>
              <a:gd name="connsiteX68" fmla="*/ 7239 w 10000"/>
              <a:gd name="connsiteY68" fmla="*/ 6580 h 10093"/>
              <a:gd name="connsiteX69" fmla="*/ 7414 w 10000"/>
              <a:gd name="connsiteY69" fmla="*/ 6395 h 10093"/>
              <a:gd name="connsiteX70" fmla="*/ 7582 w 10000"/>
              <a:gd name="connsiteY70" fmla="*/ 6205 h 10093"/>
              <a:gd name="connsiteX71" fmla="*/ 7750 w 10000"/>
              <a:gd name="connsiteY71" fmla="*/ 6009 h 10093"/>
              <a:gd name="connsiteX72" fmla="*/ 7905 w 10000"/>
              <a:gd name="connsiteY72" fmla="*/ 5812 h 10093"/>
              <a:gd name="connsiteX73" fmla="*/ 8057 w 10000"/>
              <a:gd name="connsiteY73" fmla="*/ 5611 h 10093"/>
              <a:gd name="connsiteX74" fmla="*/ 8211 w 10000"/>
              <a:gd name="connsiteY74" fmla="*/ 5411 h 10093"/>
              <a:gd name="connsiteX75" fmla="*/ 8354 w 10000"/>
              <a:gd name="connsiteY75" fmla="*/ 5202 h 10093"/>
              <a:gd name="connsiteX76" fmla="*/ 8493 w 10000"/>
              <a:gd name="connsiteY76" fmla="*/ 4996 h 10093"/>
              <a:gd name="connsiteX77" fmla="*/ 8628 w 10000"/>
              <a:gd name="connsiteY77" fmla="*/ 4783 h 10093"/>
              <a:gd name="connsiteX78" fmla="*/ 8754 w 10000"/>
              <a:gd name="connsiteY78" fmla="*/ 4565 h 10093"/>
              <a:gd name="connsiteX79" fmla="*/ 8877 w 10000"/>
              <a:gd name="connsiteY79" fmla="*/ 4348 h 10093"/>
              <a:gd name="connsiteX80" fmla="*/ 9003 w 10000"/>
              <a:gd name="connsiteY80" fmla="*/ 4129 h 10093"/>
              <a:gd name="connsiteX81" fmla="*/ 9120 w 10000"/>
              <a:gd name="connsiteY81" fmla="*/ 3907 h 10093"/>
              <a:gd name="connsiteX82" fmla="*/ 9224 w 10000"/>
              <a:gd name="connsiteY82" fmla="*/ 3683 h 10093"/>
              <a:gd name="connsiteX83" fmla="*/ 9330 w 10000"/>
              <a:gd name="connsiteY83" fmla="*/ 3455 h 10093"/>
              <a:gd name="connsiteX84" fmla="*/ 9425 w 10000"/>
              <a:gd name="connsiteY84" fmla="*/ 3223 h 10093"/>
              <a:gd name="connsiteX85" fmla="*/ 9520 w 10000"/>
              <a:gd name="connsiteY85" fmla="*/ 2992 h 10093"/>
              <a:gd name="connsiteX86" fmla="*/ 9604 w 10000"/>
              <a:gd name="connsiteY86" fmla="*/ 2756 h 10093"/>
              <a:gd name="connsiteX87" fmla="*/ 9684 w 10000"/>
              <a:gd name="connsiteY87" fmla="*/ 2517 h 10093"/>
              <a:gd name="connsiteX88" fmla="*/ 9758 w 10000"/>
              <a:gd name="connsiteY88" fmla="*/ 2276 h 10093"/>
              <a:gd name="connsiteX89" fmla="*/ 9831 w 10000"/>
              <a:gd name="connsiteY89" fmla="*/ 2038 h 10093"/>
              <a:gd name="connsiteX90" fmla="*/ 9892 w 10000"/>
              <a:gd name="connsiteY90" fmla="*/ 1796 h 10093"/>
              <a:gd name="connsiteX91" fmla="*/ 9951 w 10000"/>
              <a:gd name="connsiteY91" fmla="*/ 1550 h 10093"/>
              <a:gd name="connsiteX92" fmla="*/ 10000 w 10000"/>
              <a:gd name="connsiteY92" fmla="*/ 1300 h 10093"/>
              <a:gd name="connsiteX93" fmla="*/ 6011 w 10000"/>
              <a:gd name="connsiteY93" fmla="*/ 1995 h 10093"/>
              <a:gd name="connsiteX94" fmla="*/ 2680 w 10000"/>
              <a:gd name="connsiteY94" fmla="*/ 0 h 10093"/>
              <a:gd name="connsiteX0" fmla="*/ 2680 w 10000"/>
              <a:gd name="connsiteY0" fmla="*/ 0 h 9916"/>
              <a:gd name="connsiteX1" fmla="*/ 2680 w 10000"/>
              <a:gd name="connsiteY1" fmla="*/ 0 h 9916"/>
              <a:gd name="connsiteX2" fmla="*/ 2665 w 10000"/>
              <a:gd name="connsiteY2" fmla="*/ 106 h 9916"/>
              <a:gd name="connsiteX3" fmla="*/ 2642 w 10000"/>
              <a:gd name="connsiteY3" fmla="*/ 212 h 9916"/>
              <a:gd name="connsiteX4" fmla="*/ 2621 w 10000"/>
              <a:gd name="connsiteY4" fmla="*/ 318 h 9916"/>
              <a:gd name="connsiteX5" fmla="*/ 2594 w 10000"/>
              <a:gd name="connsiteY5" fmla="*/ 418 h 9916"/>
              <a:gd name="connsiteX6" fmla="*/ 2561 w 10000"/>
              <a:gd name="connsiteY6" fmla="*/ 521 h 9916"/>
              <a:gd name="connsiteX7" fmla="*/ 2530 w 10000"/>
              <a:gd name="connsiteY7" fmla="*/ 625 h 9916"/>
              <a:gd name="connsiteX8" fmla="*/ 2502 w 10000"/>
              <a:gd name="connsiteY8" fmla="*/ 724 h 9916"/>
              <a:gd name="connsiteX9" fmla="*/ 2468 w 10000"/>
              <a:gd name="connsiteY9" fmla="*/ 826 h 9916"/>
              <a:gd name="connsiteX10" fmla="*/ 2428 w 10000"/>
              <a:gd name="connsiteY10" fmla="*/ 925 h 9916"/>
              <a:gd name="connsiteX11" fmla="*/ 2386 w 10000"/>
              <a:gd name="connsiteY11" fmla="*/ 1021 h 9916"/>
              <a:gd name="connsiteX12" fmla="*/ 2347 w 10000"/>
              <a:gd name="connsiteY12" fmla="*/ 1121 h 9916"/>
              <a:gd name="connsiteX13" fmla="*/ 2299 w 10000"/>
              <a:gd name="connsiteY13" fmla="*/ 1219 h 9916"/>
              <a:gd name="connsiteX14" fmla="*/ 2248 w 10000"/>
              <a:gd name="connsiteY14" fmla="*/ 1309 h 9916"/>
              <a:gd name="connsiteX15" fmla="*/ 2200 w 10000"/>
              <a:gd name="connsiteY15" fmla="*/ 1403 h 9916"/>
              <a:gd name="connsiteX16" fmla="*/ 2149 w 10000"/>
              <a:gd name="connsiteY16" fmla="*/ 1495 h 9916"/>
              <a:gd name="connsiteX17" fmla="*/ 2092 w 10000"/>
              <a:gd name="connsiteY17" fmla="*/ 1589 h 9916"/>
              <a:gd name="connsiteX18" fmla="*/ 2041 w 10000"/>
              <a:gd name="connsiteY18" fmla="*/ 1681 h 9916"/>
              <a:gd name="connsiteX19" fmla="*/ 1981 w 10000"/>
              <a:gd name="connsiteY19" fmla="*/ 1769 h 9916"/>
              <a:gd name="connsiteX20" fmla="*/ 1919 w 10000"/>
              <a:gd name="connsiteY20" fmla="*/ 1851 h 9916"/>
              <a:gd name="connsiteX21" fmla="*/ 1854 w 10000"/>
              <a:gd name="connsiteY21" fmla="*/ 1937 h 9916"/>
              <a:gd name="connsiteX22" fmla="*/ 1794 w 10000"/>
              <a:gd name="connsiteY22" fmla="*/ 2021 h 9916"/>
              <a:gd name="connsiteX23" fmla="*/ 1725 w 10000"/>
              <a:gd name="connsiteY23" fmla="*/ 2111 h 9916"/>
              <a:gd name="connsiteX24" fmla="*/ 1656 w 10000"/>
              <a:gd name="connsiteY24" fmla="*/ 2190 h 9916"/>
              <a:gd name="connsiteX25" fmla="*/ 1583 w 10000"/>
              <a:gd name="connsiteY25" fmla="*/ 2266 h 9916"/>
              <a:gd name="connsiteX26" fmla="*/ 1509 w 10000"/>
              <a:gd name="connsiteY26" fmla="*/ 2349 h 9916"/>
              <a:gd name="connsiteX27" fmla="*/ 1435 w 10000"/>
              <a:gd name="connsiteY27" fmla="*/ 2426 h 9916"/>
              <a:gd name="connsiteX28" fmla="*/ 1356 w 10000"/>
              <a:gd name="connsiteY28" fmla="*/ 2501 h 9916"/>
              <a:gd name="connsiteX29" fmla="*/ 1279 w 10000"/>
              <a:gd name="connsiteY29" fmla="*/ 2580 h 9916"/>
              <a:gd name="connsiteX30" fmla="*/ 1200 w 10000"/>
              <a:gd name="connsiteY30" fmla="*/ 2652 h 9916"/>
              <a:gd name="connsiteX31" fmla="*/ 1113 w 10000"/>
              <a:gd name="connsiteY31" fmla="*/ 2724 h 9916"/>
              <a:gd name="connsiteX32" fmla="*/ 1033 w 10000"/>
              <a:gd name="connsiteY32" fmla="*/ 2792 h 9916"/>
              <a:gd name="connsiteX33" fmla="*/ 946 w 10000"/>
              <a:gd name="connsiteY33" fmla="*/ 2862 h 9916"/>
              <a:gd name="connsiteX34" fmla="*/ 862 w 10000"/>
              <a:gd name="connsiteY34" fmla="*/ 2927 h 9916"/>
              <a:gd name="connsiteX35" fmla="*/ 767 w 10000"/>
              <a:gd name="connsiteY35" fmla="*/ 2994 h 9916"/>
              <a:gd name="connsiteX36" fmla="*/ 679 w 10000"/>
              <a:gd name="connsiteY36" fmla="*/ 3055 h 9916"/>
              <a:gd name="connsiteX37" fmla="*/ 586 w 10000"/>
              <a:gd name="connsiteY37" fmla="*/ 3119 h 9916"/>
              <a:gd name="connsiteX38" fmla="*/ 492 w 10000"/>
              <a:gd name="connsiteY38" fmla="*/ 3177 h 9916"/>
              <a:gd name="connsiteX39" fmla="*/ 394 w 10000"/>
              <a:gd name="connsiteY39" fmla="*/ 3234 h 9916"/>
              <a:gd name="connsiteX40" fmla="*/ 298 w 10000"/>
              <a:gd name="connsiteY40" fmla="*/ 3293 h 9916"/>
              <a:gd name="connsiteX41" fmla="*/ 203 w 10000"/>
              <a:gd name="connsiteY41" fmla="*/ 3347 h 9916"/>
              <a:gd name="connsiteX42" fmla="*/ 101 w 10000"/>
              <a:gd name="connsiteY42" fmla="*/ 3399 h 9916"/>
              <a:gd name="connsiteX43" fmla="*/ 0 w 10000"/>
              <a:gd name="connsiteY43" fmla="*/ 3448 h 9916"/>
              <a:gd name="connsiteX44" fmla="*/ 187 w 10000"/>
              <a:gd name="connsiteY44" fmla="*/ 6991 h 9916"/>
              <a:gd name="connsiteX45" fmla="*/ 2457 w 10000"/>
              <a:gd name="connsiteY45" fmla="*/ 9738 h 9916"/>
              <a:gd name="connsiteX46" fmla="*/ 2705 w 10000"/>
              <a:gd name="connsiteY46" fmla="*/ 9636 h 9916"/>
              <a:gd name="connsiteX47" fmla="*/ 2955 w 10000"/>
              <a:gd name="connsiteY47" fmla="*/ 9533 h 9916"/>
              <a:gd name="connsiteX48" fmla="*/ 3206 w 10000"/>
              <a:gd name="connsiteY48" fmla="*/ 9423 h 9916"/>
              <a:gd name="connsiteX49" fmla="*/ 3449 w 10000"/>
              <a:gd name="connsiteY49" fmla="*/ 9311 h 9916"/>
              <a:gd name="connsiteX50" fmla="*/ 3689 w 10000"/>
              <a:gd name="connsiteY50" fmla="*/ 9199 h 9916"/>
              <a:gd name="connsiteX51" fmla="*/ 3930 w 10000"/>
              <a:gd name="connsiteY51" fmla="*/ 9073 h 9916"/>
              <a:gd name="connsiteX52" fmla="*/ 4165 w 10000"/>
              <a:gd name="connsiteY52" fmla="*/ 8950 h 9916"/>
              <a:gd name="connsiteX53" fmla="*/ 4397 w 10000"/>
              <a:gd name="connsiteY53" fmla="*/ 8819 h 9916"/>
              <a:gd name="connsiteX54" fmla="*/ 4628 w 10000"/>
              <a:gd name="connsiteY54" fmla="*/ 8684 h 9916"/>
              <a:gd name="connsiteX55" fmla="*/ 4845 w 10000"/>
              <a:gd name="connsiteY55" fmla="*/ 8549 h 9916"/>
              <a:gd name="connsiteX56" fmla="*/ 5065 w 10000"/>
              <a:gd name="connsiteY56" fmla="*/ 8402 h 9916"/>
              <a:gd name="connsiteX57" fmla="*/ 5285 w 10000"/>
              <a:gd name="connsiteY57" fmla="*/ 8258 h 9916"/>
              <a:gd name="connsiteX58" fmla="*/ 5494 w 10000"/>
              <a:gd name="connsiteY58" fmla="*/ 8108 h 9916"/>
              <a:gd name="connsiteX59" fmla="*/ 5708 w 10000"/>
              <a:gd name="connsiteY59" fmla="*/ 7953 h 9916"/>
              <a:gd name="connsiteX60" fmla="*/ 5911 w 10000"/>
              <a:gd name="connsiteY60" fmla="*/ 7791 h 9916"/>
              <a:gd name="connsiteX61" fmla="*/ 6115 w 10000"/>
              <a:gd name="connsiteY61" fmla="*/ 7631 h 9916"/>
              <a:gd name="connsiteX62" fmla="*/ 6310 w 10000"/>
              <a:gd name="connsiteY62" fmla="*/ 7468 h 9916"/>
              <a:gd name="connsiteX63" fmla="*/ 6508 w 10000"/>
              <a:gd name="connsiteY63" fmla="*/ 7295 h 9916"/>
              <a:gd name="connsiteX64" fmla="*/ 6698 w 10000"/>
              <a:gd name="connsiteY64" fmla="*/ 7118 h 9916"/>
              <a:gd name="connsiteX65" fmla="*/ 6882 w 10000"/>
              <a:gd name="connsiteY65" fmla="*/ 6947 h 9916"/>
              <a:gd name="connsiteX66" fmla="*/ 7064 w 10000"/>
              <a:gd name="connsiteY66" fmla="*/ 6766 h 9916"/>
              <a:gd name="connsiteX67" fmla="*/ 7239 w 10000"/>
              <a:gd name="connsiteY67" fmla="*/ 6580 h 9916"/>
              <a:gd name="connsiteX68" fmla="*/ 7414 w 10000"/>
              <a:gd name="connsiteY68" fmla="*/ 6395 h 9916"/>
              <a:gd name="connsiteX69" fmla="*/ 7582 w 10000"/>
              <a:gd name="connsiteY69" fmla="*/ 6205 h 9916"/>
              <a:gd name="connsiteX70" fmla="*/ 7750 w 10000"/>
              <a:gd name="connsiteY70" fmla="*/ 6009 h 9916"/>
              <a:gd name="connsiteX71" fmla="*/ 7905 w 10000"/>
              <a:gd name="connsiteY71" fmla="*/ 5812 h 9916"/>
              <a:gd name="connsiteX72" fmla="*/ 8057 w 10000"/>
              <a:gd name="connsiteY72" fmla="*/ 5611 h 9916"/>
              <a:gd name="connsiteX73" fmla="*/ 8211 w 10000"/>
              <a:gd name="connsiteY73" fmla="*/ 5411 h 9916"/>
              <a:gd name="connsiteX74" fmla="*/ 8354 w 10000"/>
              <a:gd name="connsiteY74" fmla="*/ 5202 h 9916"/>
              <a:gd name="connsiteX75" fmla="*/ 8493 w 10000"/>
              <a:gd name="connsiteY75" fmla="*/ 4996 h 9916"/>
              <a:gd name="connsiteX76" fmla="*/ 8628 w 10000"/>
              <a:gd name="connsiteY76" fmla="*/ 4783 h 9916"/>
              <a:gd name="connsiteX77" fmla="*/ 8754 w 10000"/>
              <a:gd name="connsiteY77" fmla="*/ 4565 h 9916"/>
              <a:gd name="connsiteX78" fmla="*/ 8877 w 10000"/>
              <a:gd name="connsiteY78" fmla="*/ 4348 h 9916"/>
              <a:gd name="connsiteX79" fmla="*/ 9003 w 10000"/>
              <a:gd name="connsiteY79" fmla="*/ 4129 h 9916"/>
              <a:gd name="connsiteX80" fmla="*/ 9120 w 10000"/>
              <a:gd name="connsiteY80" fmla="*/ 3907 h 9916"/>
              <a:gd name="connsiteX81" fmla="*/ 9224 w 10000"/>
              <a:gd name="connsiteY81" fmla="*/ 3683 h 9916"/>
              <a:gd name="connsiteX82" fmla="*/ 9330 w 10000"/>
              <a:gd name="connsiteY82" fmla="*/ 3455 h 9916"/>
              <a:gd name="connsiteX83" fmla="*/ 9425 w 10000"/>
              <a:gd name="connsiteY83" fmla="*/ 3223 h 9916"/>
              <a:gd name="connsiteX84" fmla="*/ 9520 w 10000"/>
              <a:gd name="connsiteY84" fmla="*/ 2992 h 9916"/>
              <a:gd name="connsiteX85" fmla="*/ 9604 w 10000"/>
              <a:gd name="connsiteY85" fmla="*/ 2756 h 9916"/>
              <a:gd name="connsiteX86" fmla="*/ 9684 w 10000"/>
              <a:gd name="connsiteY86" fmla="*/ 2517 h 9916"/>
              <a:gd name="connsiteX87" fmla="*/ 9758 w 10000"/>
              <a:gd name="connsiteY87" fmla="*/ 2276 h 9916"/>
              <a:gd name="connsiteX88" fmla="*/ 9831 w 10000"/>
              <a:gd name="connsiteY88" fmla="*/ 2038 h 9916"/>
              <a:gd name="connsiteX89" fmla="*/ 9892 w 10000"/>
              <a:gd name="connsiteY89" fmla="*/ 1796 h 9916"/>
              <a:gd name="connsiteX90" fmla="*/ 9951 w 10000"/>
              <a:gd name="connsiteY90" fmla="*/ 1550 h 9916"/>
              <a:gd name="connsiteX91" fmla="*/ 10000 w 10000"/>
              <a:gd name="connsiteY91" fmla="*/ 1300 h 9916"/>
              <a:gd name="connsiteX92" fmla="*/ 6011 w 10000"/>
              <a:gd name="connsiteY92" fmla="*/ 1995 h 9916"/>
              <a:gd name="connsiteX93" fmla="*/ 2680 w 10000"/>
              <a:gd name="connsiteY93" fmla="*/ 0 h 9916"/>
              <a:gd name="connsiteX0" fmla="*/ 2680 w 10000"/>
              <a:gd name="connsiteY0" fmla="*/ 0 h 9890"/>
              <a:gd name="connsiteX1" fmla="*/ 2680 w 10000"/>
              <a:gd name="connsiteY1" fmla="*/ 0 h 9890"/>
              <a:gd name="connsiteX2" fmla="*/ 2665 w 10000"/>
              <a:gd name="connsiteY2" fmla="*/ 107 h 9890"/>
              <a:gd name="connsiteX3" fmla="*/ 2642 w 10000"/>
              <a:gd name="connsiteY3" fmla="*/ 214 h 9890"/>
              <a:gd name="connsiteX4" fmla="*/ 2621 w 10000"/>
              <a:gd name="connsiteY4" fmla="*/ 321 h 9890"/>
              <a:gd name="connsiteX5" fmla="*/ 2594 w 10000"/>
              <a:gd name="connsiteY5" fmla="*/ 422 h 9890"/>
              <a:gd name="connsiteX6" fmla="*/ 2561 w 10000"/>
              <a:gd name="connsiteY6" fmla="*/ 525 h 9890"/>
              <a:gd name="connsiteX7" fmla="*/ 2530 w 10000"/>
              <a:gd name="connsiteY7" fmla="*/ 630 h 9890"/>
              <a:gd name="connsiteX8" fmla="*/ 2502 w 10000"/>
              <a:gd name="connsiteY8" fmla="*/ 730 h 9890"/>
              <a:gd name="connsiteX9" fmla="*/ 2468 w 10000"/>
              <a:gd name="connsiteY9" fmla="*/ 833 h 9890"/>
              <a:gd name="connsiteX10" fmla="*/ 2428 w 10000"/>
              <a:gd name="connsiteY10" fmla="*/ 933 h 9890"/>
              <a:gd name="connsiteX11" fmla="*/ 2386 w 10000"/>
              <a:gd name="connsiteY11" fmla="*/ 1030 h 9890"/>
              <a:gd name="connsiteX12" fmla="*/ 2347 w 10000"/>
              <a:gd name="connsiteY12" fmla="*/ 1130 h 9890"/>
              <a:gd name="connsiteX13" fmla="*/ 2299 w 10000"/>
              <a:gd name="connsiteY13" fmla="*/ 1229 h 9890"/>
              <a:gd name="connsiteX14" fmla="*/ 2248 w 10000"/>
              <a:gd name="connsiteY14" fmla="*/ 1320 h 9890"/>
              <a:gd name="connsiteX15" fmla="*/ 2200 w 10000"/>
              <a:gd name="connsiteY15" fmla="*/ 1415 h 9890"/>
              <a:gd name="connsiteX16" fmla="*/ 2149 w 10000"/>
              <a:gd name="connsiteY16" fmla="*/ 1508 h 9890"/>
              <a:gd name="connsiteX17" fmla="*/ 2092 w 10000"/>
              <a:gd name="connsiteY17" fmla="*/ 1602 h 9890"/>
              <a:gd name="connsiteX18" fmla="*/ 2041 w 10000"/>
              <a:gd name="connsiteY18" fmla="*/ 1695 h 9890"/>
              <a:gd name="connsiteX19" fmla="*/ 1981 w 10000"/>
              <a:gd name="connsiteY19" fmla="*/ 1784 h 9890"/>
              <a:gd name="connsiteX20" fmla="*/ 1919 w 10000"/>
              <a:gd name="connsiteY20" fmla="*/ 1867 h 9890"/>
              <a:gd name="connsiteX21" fmla="*/ 1854 w 10000"/>
              <a:gd name="connsiteY21" fmla="*/ 1953 h 9890"/>
              <a:gd name="connsiteX22" fmla="*/ 1794 w 10000"/>
              <a:gd name="connsiteY22" fmla="*/ 2038 h 9890"/>
              <a:gd name="connsiteX23" fmla="*/ 1725 w 10000"/>
              <a:gd name="connsiteY23" fmla="*/ 2129 h 9890"/>
              <a:gd name="connsiteX24" fmla="*/ 1656 w 10000"/>
              <a:gd name="connsiteY24" fmla="*/ 2209 h 9890"/>
              <a:gd name="connsiteX25" fmla="*/ 1583 w 10000"/>
              <a:gd name="connsiteY25" fmla="*/ 2285 h 9890"/>
              <a:gd name="connsiteX26" fmla="*/ 1509 w 10000"/>
              <a:gd name="connsiteY26" fmla="*/ 2369 h 9890"/>
              <a:gd name="connsiteX27" fmla="*/ 1435 w 10000"/>
              <a:gd name="connsiteY27" fmla="*/ 2447 h 9890"/>
              <a:gd name="connsiteX28" fmla="*/ 1356 w 10000"/>
              <a:gd name="connsiteY28" fmla="*/ 2522 h 9890"/>
              <a:gd name="connsiteX29" fmla="*/ 1279 w 10000"/>
              <a:gd name="connsiteY29" fmla="*/ 2602 h 9890"/>
              <a:gd name="connsiteX30" fmla="*/ 1200 w 10000"/>
              <a:gd name="connsiteY30" fmla="*/ 2674 h 9890"/>
              <a:gd name="connsiteX31" fmla="*/ 1113 w 10000"/>
              <a:gd name="connsiteY31" fmla="*/ 2747 h 9890"/>
              <a:gd name="connsiteX32" fmla="*/ 1033 w 10000"/>
              <a:gd name="connsiteY32" fmla="*/ 2816 h 9890"/>
              <a:gd name="connsiteX33" fmla="*/ 946 w 10000"/>
              <a:gd name="connsiteY33" fmla="*/ 2886 h 9890"/>
              <a:gd name="connsiteX34" fmla="*/ 862 w 10000"/>
              <a:gd name="connsiteY34" fmla="*/ 2952 h 9890"/>
              <a:gd name="connsiteX35" fmla="*/ 767 w 10000"/>
              <a:gd name="connsiteY35" fmla="*/ 3019 h 9890"/>
              <a:gd name="connsiteX36" fmla="*/ 679 w 10000"/>
              <a:gd name="connsiteY36" fmla="*/ 3081 h 9890"/>
              <a:gd name="connsiteX37" fmla="*/ 586 w 10000"/>
              <a:gd name="connsiteY37" fmla="*/ 3145 h 9890"/>
              <a:gd name="connsiteX38" fmla="*/ 492 w 10000"/>
              <a:gd name="connsiteY38" fmla="*/ 3204 h 9890"/>
              <a:gd name="connsiteX39" fmla="*/ 394 w 10000"/>
              <a:gd name="connsiteY39" fmla="*/ 3261 h 9890"/>
              <a:gd name="connsiteX40" fmla="*/ 298 w 10000"/>
              <a:gd name="connsiteY40" fmla="*/ 3321 h 9890"/>
              <a:gd name="connsiteX41" fmla="*/ 203 w 10000"/>
              <a:gd name="connsiteY41" fmla="*/ 3375 h 9890"/>
              <a:gd name="connsiteX42" fmla="*/ 101 w 10000"/>
              <a:gd name="connsiteY42" fmla="*/ 3428 h 9890"/>
              <a:gd name="connsiteX43" fmla="*/ 0 w 10000"/>
              <a:gd name="connsiteY43" fmla="*/ 3477 h 9890"/>
              <a:gd name="connsiteX44" fmla="*/ 187 w 10000"/>
              <a:gd name="connsiteY44" fmla="*/ 7050 h 9890"/>
              <a:gd name="connsiteX45" fmla="*/ 2705 w 10000"/>
              <a:gd name="connsiteY45" fmla="*/ 9718 h 9890"/>
              <a:gd name="connsiteX46" fmla="*/ 2955 w 10000"/>
              <a:gd name="connsiteY46" fmla="*/ 9614 h 9890"/>
              <a:gd name="connsiteX47" fmla="*/ 3206 w 10000"/>
              <a:gd name="connsiteY47" fmla="*/ 9503 h 9890"/>
              <a:gd name="connsiteX48" fmla="*/ 3449 w 10000"/>
              <a:gd name="connsiteY48" fmla="*/ 9390 h 9890"/>
              <a:gd name="connsiteX49" fmla="*/ 3689 w 10000"/>
              <a:gd name="connsiteY49" fmla="*/ 9277 h 9890"/>
              <a:gd name="connsiteX50" fmla="*/ 3930 w 10000"/>
              <a:gd name="connsiteY50" fmla="*/ 9150 h 9890"/>
              <a:gd name="connsiteX51" fmla="*/ 4165 w 10000"/>
              <a:gd name="connsiteY51" fmla="*/ 9026 h 9890"/>
              <a:gd name="connsiteX52" fmla="*/ 4397 w 10000"/>
              <a:gd name="connsiteY52" fmla="*/ 8894 h 9890"/>
              <a:gd name="connsiteX53" fmla="*/ 4628 w 10000"/>
              <a:gd name="connsiteY53" fmla="*/ 8758 h 9890"/>
              <a:gd name="connsiteX54" fmla="*/ 4845 w 10000"/>
              <a:gd name="connsiteY54" fmla="*/ 8621 h 9890"/>
              <a:gd name="connsiteX55" fmla="*/ 5065 w 10000"/>
              <a:gd name="connsiteY55" fmla="*/ 8473 h 9890"/>
              <a:gd name="connsiteX56" fmla="*/ 5285 w 10000"/>
              <a:gd name="connsiteY56" fmla="*/ 8328 h 9890"/>
              <a:gd name="connsiteX57" fmla="*/ 5494 w 10000"/>
              <a:gd name="connsiteY57" fmla="*/ 8177 h 9890"/>
              <a:gd name="connsiteX58" fmla="*/ 5708 w 10000"/>
              <a:gd name="connsiteY58" fmla="*/ 8020 h 9890"/>
              <a:gd name="connsiteX59" fmla="*/ 5911 w 10000"/>
              <a:gd name="connsiteY59" fmla="*/ 7857 h 9890"/>
              <a:gd name="connsiteX60" fmla="*/ 6115 w 10000"/>
              <a:gd name="connsiteY60" fmla="*/ 7696 h 9890"/>
              <a:gd name="connsiteX61" fmla="*/ 6310 w 10000"/>
              <a:gd name="connsiteY61" fmla="*/ 7531 h 9890"/>
              <a:gd name="connsiteX62" fmla="*/ 6508 w 10000"/>
              <a:gd name="connsiteY62" fmla="*/ 7357 h 9890"/>
              <a:gd name="connsiteX63" fmla="*/ 6698 w 10000"/>
              <a:gd name="connsiteY63" fmla="*/ 7178 h 9890"/>
              <a:gd name="connsiteX64" fmla="*/ 6882 w 10000"/>
              <a:gd name="connsiteY64" fmla="*/ 7006 h 9890"/>
              <a:gd name="connsiteX65" fmla="*/ 7064 w 10000"/>
              <a:gd name="connsiteY65" fmla="*/ 6823 h 9890"/>
              <a:gd name="connsiteX66" fmla="*/ 7239 w 10000"/>
              <a:gd name="connsiteY66" fmla="*/ 6636 h 9890"/>
              <a:gd name="connsiteX67" fmla="*/ 7414 w 10000"/>
              <a:gd name="connsiteY67" fmla="*/ 6449 h 9890"/>
              <a:gd name="connsiteX68" fmla="*/ 7582 w 10000"/>
              <a:gd name="connsiteY68" fmla="*/ 6258 h 9890"/>
              <a:gd name="connsiteX69" fmla="*/ 7750 w 10000"/>
              <a:gd name="connsiteY69" fmla="*/ 6060 h 9890"/>
              <a:gd name="connsiteX70" fmla="*/ 7905 w 10000"/>
              <a:gd name="connsiteY70" fmla="*/ 5861 h 9890"/>
              <a:gd name="connsiteX71" fmla="*/ 8057 w 10000"/>
              <a:gd name="connsiteY71" fmla="*/ 5659 h 9890"/>
              <a:gd name="connsiteX72" fmla="*/ 8211 w 10000"/>
              <a:gd name="connsiteY72" fmla="*/ 5457 h 9890"/>
              <a:gd name="connsiteX73" fmla="*/ 8354 w 10000"/>
              <a:gd name="connsiteY73" fmla="*/ 5246 h 9890"/>
              <a:gd name="connsiteX74" fmla="*/ 8493 w 10000"/>
              <a:gd name="connsiteY74" fmla="*/ 5038 h 9890"/>
              <a:gd name="connsiteX75" fmla="*/ 8628 w 10000"/>
              <a:gd name="connsiteY75" fmla="*/ 4824 h 9890"/>
              <a:gd name="connsiteX76" fmla="*/ 8754 w 10000"/>
              <a:gd name="connsiteY76" fmla="*/ 4604 h 9890"/>
              <a:gd name="connsiteX77" fmla="*/ 8877 w 10000"/>
              <a:gd name="connsiteY77" fmla="*/ 4385 h 9890"/>
              <a:gd name="connsiteX78" fmla="*/ 9003 w 10000"/>
              <a:gd name="connsiteY78" fmla="*/ 4164 h 9890"/>
              <a:gd name="connsiteX79" fmla="*/ 9120 w 10000"/>
              <a:gd name="connsiteY79" fmla="*/ 3940 h 9890"/>
              <a:gd name="connsiteX80" fmla="*/ 9224 w 10000"/>
              <a:gd name="connsiteY80" fmla="*/ 3714 h 9890"/>
              <a:gd name="connsiteX81" fmla="*/ 9330 w 10000"/>
              <a:gd name="connsiteY81" fmla="*/ 3484 h 9890"/>
              <a:gd name="connsiteX82" fmla="*/ 9425 w 10000"/>
              <a:gd name="connsiteY82" fmla="*/ 3250 h 9890"/>
              <a:gd name="connsiteX83" fmla="*/ 9520 w 10000"/>
              <a:gd name="connsiteY83" fmla="*/ 3017 h 9890"/>
              <a:gd name="connsiteX84" fmla="*/ 9604 w 10000"/>
              <a:gd name="connsiteY84" fmla="*/ 2779 h 9890"/>
              <a:gd name="connsiteX85" fmla="*/ 9684 w 10000"/>
              <a:gd name="connsiteY85" fmla="*/ 2538 h 9890"/>
              <a:gd name="connsiteX86" fmla="*/ 9758 w 10000"/>
              <a:gd name="connsiteY86" fmla="*/ 2295 h 9890"/>
              <a:gd name="connsiteX87" fmla="*/ 9831 w 10000"/>
              <a:gd name="connsiteY87" fmla="*/ 2055 h 9890"/>
              <a:gd name="connsiteX88" fmla="*/ 9892 w 10000"/>
              <a:gd name="connsiteY88" fmla="*/ 1811 h 9890"/>
              <a:gd name="connsiteX89" fmla="*/ 9951 w 10000"/>
              <a:gd name="connsiteY89" fmla="*/ 1563 h 9890"/>
              <a:gd name="connsiteX90" fmla="*/ 10000 w 10000"/>
              <a:gd name="connsiteY90" fmla="*/ 1311 h 9890"/>
              <a:gd name="connsiteX91" fmla="*/ 6011 w 10000"/>
              <a:gd name="connsiteY91" fmla="*/ 2012 h 9890"/>
              <a:gd name="connsiteX92" fmla="*/ 2680 w 10000"/>
              <a:gd name="connsiteY92" fmla="*/ 0 h 9890"/>
              <a:gd name="connsiteX0" fmla="*/ 2680 w 10000"/>
              <a:gd name="connsiteY0" fmla="*/ 0 h 9721"/>
              <a:gd name="connsiteX1" fmla="*/ 2680 w 10000"/>
              <a:gd name="connsiteY1" fmla="*/ 0 h 9721"/>
              <a:gd name="connsiteX2" fmla="*/ 2665 w 10000"/>
              <a:gd name="connsiteY2" fmla="*/ 108 h 9721"/>
              <a:gd name="connsiteX3" fmla="*/ 2642 w 10000"/>
              <a:gd name="connsiteY3" fmla="*/ 216 h 9721"/>
              <a:gd name="connsiteX4" fmla="*/ 2621 w 10000"/>
              <a:gd name="connsiteY4" fmla="*/ 325 h 9721"/>
              <a:gd name="connsiteX5" fmla="*/ 2594 w 10000"/>
              <a:gd name="connsiteY5" fmla="*/ 427 h 9721"/>
              <a:gd name="connsiteX6" fmla="*/ 2561 w 10000"/>
              <a:gd name="connsiteY6" fmla="*/ 531 h 9721"/>
              <a:gd name="connsiteX7" fmla="*/ 2530 w 10000"/>
              <a:gd name="connsiteY7" fmla="*/ 637 h 9721"/>
              <a:gd name="connsiteX8" fmla="*/ 2502 w 10000"/>
              <a:gd name="connsiteY8" fmla="*/ 738 h 9721"/>
              <a:gd name="connsiteX9" fmla="*/ 2468 w 10000"/>
              <a:gd name="connsiteY9" fmla="*/ 842 h 9721"/>
              <a:gd name="connsiteX10" fmla="*/ 2428 w 10000"/>
              <a:gd name="connsiteY10" fmla="*/ 943 h 9721"/>
              <a:gd name="connsiteX11" fmla="*/ 2386 w 10000"/>
              <a:gd name="connsiteY11" fmla="*/ 1041 h 9721"/>
              <a:gd name="connsiteX12" fmla="*/ 2347 w 10000"/>
              <a:gd name="connsiteY12" fmla="*/ 1143 h 9721"/>
              <a:gd name="connsiteX13" fmla="*/ 2299 w 10000"/>
              <a:gd name="connsiteY13" fmla="*/ 1243 h 9721"/>
              <a:gd name="connsiteX14" fmla="*/ 2248 w 10000"/>
              <a:gd name="connsiteY14" fmla="*/ 1335 h 9721"/>
              <a:gd name="connsiteX15" fmla="*/ 2200 w 10000"/>
              <a:gd name="connsiteY15" fmla="*/ 1431 h 9721"/>
              <a:gd name="connsiteX16" fmla="*/ 2149 w 10000"/>
              <a:gd name="connsiteY16" fmla="*/ 1525 h 9721"/>
              <a:gd name="connsiteX17" fmla="*/ 2092 w 10000"/>
              <a:gd name="connsiteY17" fmla="*/ 1620 h 9721"/>
              <a:gd name="connsiteX18" fmla="*/ 2041 w 10000"/>
              <a:gd name="connsiteY18" fmla="*/ 1714 h 9721"/>
              <a:gd name="connsiteX19" fmla="*/ 1981 w 10000"/>
              <a:gd name="connsiteY19" fmla="*/ 1804 h 9721"/>
              <a:gd name="connsiteX20" fmla="*/ 1919 w 10000"/>
              <a:gd name="connsiteY20" fmla="*/ 1888 h 9721"/>
              <a:gd name="connsiteX21" fmla="*/ 1854 w 10000"/>
              <a:gd name="connsiteY21" fmla="*/ 1975 h 9721"/>
              <a:gd name="connsiteX22" fmla="*/ 1794 w 10000"/>
              <a:gd name="connsiteY22" fmla="*/ 2061 h 9721"/>
              <a:gd name="connsiteX23" fmla="*/ 1725 w 10000"/>
              <a:gd name="connsiteY23" fmla="*/ 2153 h 9721"/>
              <a:gd name="connsiteX24" fmla="*/ 1656 w 10000"/>
              <a:gd name="connsiteY24" fmla="*/ 2234 h 9721"/>
              <a:gd name="connsiteX25" fmla="*/ 1583 w 10000"/>
              <a:gd name="connsiteY25" fmla="*/ 2310 h 9721"/>
              <a:gd name="connsiteX26" fmla="*/ 1509 w 10000"/>
              <a:gd name="connsiteY26" fmla="*/ 2395 h 9721"/>
              <a:gd name="connsiteX27" fmla="*/ 1435 w 10000"/>
              <a:gd name="connsiteY27" fmla="*/ 2474 h 9721"/>
              <a:gd name="connsiteX28" fmla="*/ 1356 w 10000"/>
              <a:gd name="connsiteY28" fmla="*/ 2550 h 9721"/>
              <a:gd name="connsiteX29" fmla="*/ 1279 w 10000"/>
              <a:gd name="connsiteY29" fmla="*/ 2631 h 9721"/>
              <a:gd name="connsiteX30" fmla="*/ 1200 w 10000"/>
              <a:gd name="connsiteY30" fmla="*/ 2704 h 9721"/>
              <a:gd name="connsiteX31" fmla="*/ 1113 w 10000"/>
              <a:gd name="connsiteY31" fmla="*/ 2778 h 9721"/>
              <a:gd name="connsiteX32" fmla="*/ 1033 w 10000"/>
              <a:gd name="connsiteY32" fmla="*/ 2847 h 9721"/>
              <a:gd name="connsiteX33" fmla="*/ 946 w 10000"/>
              <a:gd name="connsiteY33" fmla="*/ 2918 h 9721"/>
              <a:gd name="connsiteX34" fmla="*/ 862 w 10000"/>
              <a:gd name="connsiteY34" fmla="*/ 2985 h 9721"/>
              <a:gd name="connsiteX35" fmla="*/ 767 w 10000"/>
              <a:gd name="connsiteY35" fmla="*/ 3053 h 9721"/>
              <a:gd name="connsiteX36" fmla="*/ 679 w 10000"/>
              <a:gd name="connsiteY36" fmla="*/ 3115 h 9721"/>
              <a:gd name="connsiteX37" fmla="*/ 586 w 10000"/>
              <a:gd name="connsiteY37" fmla="*/ 3180 h 9721"/>
              <a:gd name="connsiteX38" fmla="*/ 492 w 10000"/>
              <a:gd name="connsiteY38" fmla="*/ 3240 h 9721"/>
              <a:gd name="connsiteX39" fmla="*/ 394 w 10000"/>
              <a:gd name="connsiteY39" fmla="*/ 3297 h 9721"/>
              <a:gd name="connsiteX40" fmla="*/ 298 w 10000"/>
              <a:gd name="connsiteY40" fmla="*/ 3358 h 9721"/>
              <a:gd name="connsiteX41" fmla="*/ 203 w 10000"/>
              <a:gd name="connsiteY41" fmla="*/ 3413 h 9721"/>
              <a:gd name="connsiteX42" fmla="*/ 101 w 10000"/>
              <a:gd name="connsiteY42" fmla="*/ 3466 h 9721"/>
              <a:gd name="connsiteX43" fmla="*/ 0 w 10000"/>
              <a:gd name="connsiteY43" fmla="*/ 3516 h 9721"/>
              <a:gd name="connsiteX44" fmla="*/ 187 w 10000"/>
              <a:gd name="connsiteY44" fmla="*/ 7128 h 9721"/>
              <a:gd name="connsiteX45" fmla="*/ 2955 w 10000"/>
              <a:gd name="connsiteY45" fmla="*/ 9721 h 9721"/>
              <a:gd name="connsiteX46" fmla="*/ 3206 w 10000"/>
              <a:gd name="connsiteY46" fmla="*/ 9609 h 9721"/>
              <a:gd name="connsiteX47" fmla="*/ 3449 w 10000"/>
              <a:gd name="connsiteY47" fmla="*/ 9494 h 9721"/>
              <a:gd name="connsiteX48" fmla="*/ 3689 w 10000"/>
              <a:gd name="connsiteY48" fmla="*/ 9380 h 9721"/>
              <a:gd name="connsiteX49" fmla="*/ 3930 w 10000"/>
              <a:gd name="connsiteY49" fmla="*/ 9252 h 9721"/>
              <a:gd name="connsiteX50" fmla="*/ 4165 w 10000"/>
              <a:gd name="connsiteY50" fmla="*/ 9126 h 9721"/>
              <a:gd name="connsiteX51" fmla="*/ 4397 w 10000"/>
              <a:gd name="connsiteY51" fmla="*/ 8993 h 9721"/>
              <a:gd name="connsiteX52" fmla="*/ 4628 w 10000"/>
              <a:gd name="connsiteY52" fmla="*/ 8855 h 9721"/>
              <a:gd name="connsiteX53" fmla="*/ 4845 w 10000"/>
              <a:gd name="connsiteY53" fmla="*/ 8717 h 9721"/>
              <a:gd name="connsiteX54" fmla="*/ 5065 w 10000"/>
              <a:gd name="connsiteY54" fmla="*/ 8567 h 9721"/>
              <a:gd name="connsiteX55" fmla="*/ 5285 w 10000"/>
              <a:gd name="connsiteY55" fmla="*/ 8421 h 9721"/>
              <a:gd name="connsiteX56" fmla="*/ 5494 w 10000"/>
              <a:gd name="connsiteY56" fmla="*/ 8268 h 9721"/>
              <a:gd name="connsiteX57" fmla="*/ 5708 w 10000"/>
              <a:gd name="connsiteY57" fmla="*/ 8109 h 9721"/>
              <a:gd name="connsiteX58" fmla="*/ 5911 w 10000"/>
              <a:gd name="connsiteY58" fmla="*/ 7944 h 9721"/>
              <a:gd name="connsiteX59" fmla="*/ 6115 w 10000"/>
              <a:gd name="connsiteY59" fmla="*/ 7782 h 9721"/>
              <a:gd name="connsiteX60" fmla="*/ 6310 w 10000"/>
              <a:gd name="connsiteY60" fmla="*/ 7615 h 9721"/>
              <a:gd name="connsiteX61" fmla="*/ 6508 w 10000"/>
              <a:gd name="connsiteY61" fmla="*/ 7439 h 9721"/>
              <a:gd name="connsiteX62" fmla="*/ 6698 w 10000"/>
              <a:gd name="connsiteY62" fmla="*/ 7258 h 9721"/>
              <a:gd name="connsiteX63" fmla="*/ 6882 w 10000"/>
              <a:gd name="connsiteY63" fmla="*/ 7084 h 9721"/>
              <a:gd name="connsiteX64" fmla="*/ 7064 w 10000"/>
              <a:gd name="connsiteY64" fmla="*/ 6899 h 9721"/>
              <a:gd name="connsiteX65" fmla="*/ 7239 w 10000"/>
              <a:gd name="connsiteY65" fmla="*/ 6710 h 9721"/>
              <a:gd name="connsiteX66" fmla="*/ 7414 w 10000"/>
              <a:gd name="connsiteY66" fmla="*/ 6521 h 9721"/>
              <a:gd name="connsiteX67" fmla="*/ 7582 w 10000"/>
              <a:gd name="connsiteY67" fmla="*/ 6328 h 9721"/>
              <a:gd name="connsiteX68" fmla="*/ 7750 w 10000"/>
              <a:gd name="connsiteY68" fmla="*/ 6127 h 9721"/>
              <a:gd name="connsiteX69" fmla="*/ 7905 w 10000"/>
              <a:gd name="connsiteY69" fmla="*/ 5926 h 9721"/>
              <a:gd name="connsiteX70" fmla="*/ 8057 w 10000"/>
              <a:gd name="connsiteY70" fmla="*/ 5722 h 9721"/>
              <a:gd name="connsiteX71" fmla="*/ 8211 w 10000"/>
              <a:gd name="connsiteY71" fmla="*/ 5518 h 9721"/>
              <a:gd name="connsiteX72" fmla="*/ 8354 w 10000"/>
              <a:gd name="connsiteY72" fmla="*/ 5304 h 9721"/>
              <a:gd name="connsiteX73" fmla="*/ 8493 w 10000"/>
              <a:gd name="connsiteY73" fmla="*/ 5094 h 9721"/>
              <a:gd name="connsiteX74" fmla="*/ 8628 w 10000"/>
              <a:gd name="connsiteY74" fmla="*/ 4878 h 9721"/>
              <a:gd name="connsiteX75" fmla="*/ 8754 w 10000"/>
              <a:gd name="connsiteY75" fmla="*/ 4655 h 9721"/>
              <a:gd name="connsiteX76" fmla="*/ 8877 w 10000"/>
              <a:gd name="connsiteY76" fmla="*/ 4434 h 9721"/>
              <a:gd name="connsiteX77" fmla="*/ 9003 w 10000"/>
              <a:gd name="connsiteY77" fmla="*/ 4210 h 9721"/>
              <a:gd name="connsiteX78" fmla="*/ 9120 w 10000"/>
              <a:gd name="connsiteY78" fmla="*/ 3984 h 9721"/>
              <a:gd name="connsiteX79" fmla="*/ 9224 w 10000"/>
              <a:gd name="connsiteY79" fmla="*/ 3755 h 9721"/>
              <a:gd name="connsiteX80" fmla="*/ 9330 w 10000"/>
              <a:gd name="connsiteY80" fmla="*/ 3523 h 9721"/>
              <a:gd name="connsiteX81" fmla="*/ 9425 w 10000"/>
              <a:gd name="connsiteY81" fmla="*/ 3286 h 9721"/>
              <a:gd name="connsiteX82" fmla="*/ 9520 w 10000"/>
              <a:gd name="connsiteY82" fmla="*/ 3051 h 9721"/>
              <a:gd name="connsiteX83" fmla="*/ 9604 w 10000"/>
              <a:gd name="connsiteY83" fmla="*/ 2810 h 9721"/>
              <a:gd name="connsiteX84" fmla="*/ 9684 w 10000"/>
              <a:gd name="connsiteY84" fmla="*/ 2566 h 9721"/>
              <a:gd name="connsiteX85" fmla="*/ 9758 w 10000"/>
              <a:gd name="connsiteY85" fmla="*/ 2321 h 9721"/>
              <a:gd name="connsiteX86" fmla="*/ 9831 w 10000"/>
              <a:gd name="connsiteY86" fmla="*/ 2078 h 9721"/>
              <a:gd name="connsiteX87" fmla="*/ 9892 w 10000"/>
              <a:gd name="connsiteY87" fmla="*/ 1831 h 9721"/>
              <a:gd name="connsiteX88" fmla="*/ 9951 w 10000"/>
              <a:gd name="connsiteY88" fmla="*/ 1580 h 9721"/>
              <a:gd name="connsiteX89" fmla="*/ 10000 w 10000"/>
              <a:gd name="connsiteY89" fmla="*/ 1326 h 9721"/>
              <a:gd name="connsiteX90" fmla="*/ 6011 w 10000"/>
              <a:gd name="connsiteY90" fmla="*/ 2034 h 9721"/>
              <a:gd name="connsiteX91" fmla="*/ 2680 w 10000"/>
              <a:gd name="connsiteY91" fmla="*/ 0 h 9721"/>
              <a:gd name="connsiteX0" fmla="*/ 2680 w 10000"/>
              <a:gd name="connsiteY0" fmla="*/ 0 h 10045"/>
              <a:gd name="connsiteX1" fmla="*/ 2680 w 10000"/>
              <a:gd name="connsiteY1" fmla="*/ 0 h 10045"/>
              <a:gd name="connsiteX2" fmla="*/ 2665 w 10000"/>
              <a:gd name="connsiteY2" fmla="*/ 111 h 10045"/>
              <a:gd name="connsiteX3" fmla="*/ 2642 w 10000"/>
              <a:gd name="connsiteY3" fmla="*/ 222 h 10045"/>
              <a:gd name="connsiteX4" fmla="*/ 2621 w 10000"/>
              <a:gd name="connsiteY4" fmla="*/ 334 h 10045"/>
              <a:gd name="connsiteX5" fmla="*/ 2594 w 10000"/>
              <a:gd name="connsiteY5" fmla="*/ 439 h 10045"/>
              <a:gd name="connsiteX6" fmla="*/ 2561 w 10000"/>
              <a:gd name="connsiteY6" fmla="*/ 546 h 10045"/>
              <a:gd name="connsiteX7" fmla="*/ 2530 w 10000"/>
              <a:gd name="connsiteY7" fmla="*/ 655 h 10045"/>
              <a:gd name="connsiteX8" fmla="*/ 2502 w 10000"/>
              <a:gd name="connsiteY8" fmla="*/ 759 h 10045"/>
              <a:gd name="connsiteX9" fmla="*/ 2468 w 10000"/>
              <a:gd name="connsiteY9" fmla="*/ 866 h 10045"/>
              <a:gd name="connsiteX10" fmla="*/ 2428 w 10000"/>
              <a:gd name="connsiteY10" fmla="*/ 970 h 10045"/>
              <a:gd name="connsiteX11" fmla="*/ 2386 w 10000"/>
              <a:gd name="connsiteY11" fmla="*/ 1071 h 10045"/>
              <a:gd name="connsiteX12" fmla="*/ 2347 w 10000"/>
              <a:gd name="connsiteY12" fmla="*/ 1176 h 10045"/>
              <a:gd name="connsiteX13" fmla="*/ 2299 w 10000"/>
              <a:gd name="connsiteY13" fmla="*/ 1279 h 10045"/>
              <a:gd name="connsiteX14" fmla="*/ 2248 w 10000"/>
              <a:gd name="connsiteY14" fmla="*/ 1373 h 10045"/>
              <a:gd name="connsiteX15" fmla="*/ 2200 w 10000"/>
              <a:gd name="connsiteY15" fmla="*/ 1472 h 10045"/>
              <a:gd name="connsiteX16" fmla="*/ 2149 w 10000"/>
              <a:gd name="connsiteY16" fmla="*/ 1569 h 10045"/>
              <a:gd name="connsiteX17" fmla="*/ 2092 w 10000"/>
              <a:gd name="connsiteY17" fmla="*/ 1666 h 10045"/>
              <a:gd name="connsiteX18" fmla="*/ 2041 w 10000"/>
              <a:gd name="connsiteY18" fmla="*/ 1763 h 10045"/>
              <a:gd name="connsiteX19" fmla="*/ 1981 w 10000"/>
              <a:gd name="connsiteY19" fmla="*/ 1856 h 10045"/>
              <a:gd name="connsiteX20" fmla="*/ 1919 w 10000"/>
              <a:gd name="connsiteY20" fmla="*/ 1942 h 10045"/>
              <a:gd name="connsiteX21" fmla="*/ 1854 w 10000"/>
              <a:gd name="connsiteY21" fmla="*/ 2032 h 10045"/>
              <a:gd name="connsiteX22" fmla="*/ 1794 w 10000"/>
              <a:gd name="connsiteY22" fmla="*/ 2120 h 10045"/>
              <a:gd name="connsiteX23" fmla="*/ 1725 w 10000"/>
              <a:gd name="connsiteY23" fmla="*/ 2215 h 10045"/>
              <a:gd name="connsiteX24" fmla="*/ 1656 w 10000"/>
              <a:gd name="connsiteY24" fmla="*/ 2298 h 10045"/>
              <a:gd name="connsiteX25" fmla="*/ 1583 w 10000"/>
              <a:gd name="connsiteY25" fmla="*/ 2376 h 10045"/>
              <a:gd name="connsiteX26" fmla="*/ 1509 w 10000"/>
              <a:gd name="connsiteY26" fmla="*/ 2464 h 10045"/>
              <a:gd name="connsiteX27" fmla="*/ 1435 w 10000"/>
              <a:gd name="connsiteY27" fmla="*/ 2545 h 10045"/>
              <a:gd name="connsiteX28" fmla="*/ 1356 w 10000"/>
              <a:gd name="connsiteY28" fmla="*/ 2623 h 10045"/>
              <a:gd name="connsiteX29" fmla="*/ 1279 w 10000"/>
              <a:gd name="connsiteY29" fmla="*/ 2707 h 10045"/>
              <a:gd name="connsiteX30" fmla="*/ 1200 w 10000"/>
              <a:gd name="connsiteY30" fmla="*/ 2782 h 10045"/>
              <a:gd name="connsiteX31" fmla="*/ 1113 w 10000"/>
              <a:gd name="connsiteY31" fmla="*/ 2858 h 10045"/>
              <a:gd name="connsiteX32" fmla="*/ 1033 w 10000"/>
              <a:gd name="connsiteY32" fmla="*/ 2929 h 10045"/>
              <a:gd name="connsiteX33" fmla="*/ 946 w 10000"/>
              <a:gd name="connsiteY33" fmla="*/ 3002 h 10045"/>
              <a:gd name="connsiteX34" fmla="*/ 862 w 10000"/>
              <a:gd name="connsiteY34" fmla="*/ 3071 h 10045"/>
              <a:gd name="connsiteX35" fmla="*/ 767 w 10000"/>
              <a:gd name="connsiteY35" fmla="*/ 3141 h 10045"/>
              <a:gd name="connsiteX36" fmla="*/ 679 w 10000"/>
              <a:gd name="connsiteY36" fmla="*/ 3204 h 10045"/>
              <a:gd name="connsiteX37" fmla="*/ 586 w 10000"/>
              <a:gd name="connsiteY37" fmla="*/ 3271 h 10045"/>
              <a:gd name="connsiteX38" fmla="*/ 492 w 10000"/>
              <a:gd name="connsiteY38" fmla="*/ 3333 h 10045"/>
              <a:gd name="connsiteX39" fmla="*/ 394 w 10000"/>
              <a:gd name="connsiteY39" fmla="*/ 3392 h 10045"/>
              <a:gd name="connsiteX40" fmla="*/ 298 w 10000"/>
              <a:gd name="connsiteY40" fmla="*/ 3454 h 10045"/>
              <a:gd name="connsiteX41" fmla="*/ 203 w 10000"/>
              <a:gd name="connsiteY41" fmla="*/ 3511 h 10045"/>
              <a:gd name="connsiteX42" fmla="*/ 101 w 10000"/>
              <a:gd name="connsiteY42" fmla="*/ 3565 h 10045"/>
              <a:gd name="connsiteX43" fmla="*/ 0 w 10000"/>
              <a:gd name="connsiteY43" fmla="*/ 3617 h 10045"/>
              <a:gd name="connsiteX44" fmla="*/ 187 w 10000"/>
              <a:gd name="connsiteY44" fmla="*/ 7333 h 10045"/>
              <a:gd name="connsiteX45" fmla="*/ 3206 w 10000"/>
              <a:gd name="connsiteY45" fmla="*/ 9885 h 10045"/>
              <a:gd name="connsiteX46" fmla="*/ 3449 w 10000"/>
              <a:gd name="connsiteY46" fmla="*/ 9766 h 10045"/>
              <a:gd name="connsiteX47" fmla="*/ 3689 w 10000"/>
              <a:gd name="connsiteY47" fmla="*/ 9649 h 10045"/>
              <a:gd name="connsiteX48" fmla="*/ 3930 w 10000"/>
              <a:gd name="connsiteY48" fmla="*/ 9518 h 10045"/>
              <a:gd name="connsiteX49" fmla="*/ 4165 w 10000"/>
              <a:gd name="connsiteY49" fmla="*/ 9388 h 10045"/>
              <a:gd name="connsiteX50" fmla="*/ 4397 w 10000"/>
              <a:gd name="connsiteY50" fmla="*/ 9251 h 10045"/>
              <a:gd name="connsiteX51" fmla="*/ 4628 w 10000"/>
              <a:gd name="connsiteY51" fmla="*/ 9109 h 10045"/>
              <a:gd name="connsiteX52" fmla="*/ 4845 w 10000"/>
              <a:gd name="connsiteY52" fmla="*/ 8967 h 10045"/>
              <a:gd name="connsiteX53" fmla="*/ 5065 w 10000"/>
              <a:gd name="connsiteY53" fmla="*/ 8813 h 10045"/>
              <a:gd name="connsiteX54" fmla="*/ 5285 w 10000"/>
              <a:gd name="connsiteY54" fmla="*/ 8663 h 10045"/>
              <a:gd name="connsiteX55" fmla="*/ 5494 w 10000"/>
              <a:gd name="connsiteY55" fmla="*/ 8505 h 10045"/>
              <a:gd name="connsiteX56" fmla="*/ 5708 w 10000"/>
              <a:gd name="connsiteY56" fmla="*/ 8342 h 10045"/>
              <a:gd name="connsiteX57" fmla="*/ 5911 w 10000"/>
              <a:gd name="connsiteY57" fmla="*/ 8172 h 10045"/>
              <a:gd name="connsiteX58" fmla="*/ 6115 w 10000"/>
              <a:gd name="connsiteY58" fmla="*/ 8005 h 10045"/>
              <a:gd name="connsiteX59" fmla="*/ 6310 w 10000"/>
              <a:gd name="connsiteY59" fmla="*/ 7834 h 10045"/>
              <a:gd name="connsiteX60" fmla="*/ 6508 w 10000"/>
              <a:gd name="connsiteY60" fmla="*/ 7653 h 10045"/>
              <a:gd name="connsiteX61" fmla="*/ 6698 w 10000"/>
              <a:gd name="connsiteY61" fmla="*/ 7466 h 10045"/>
              <a:gd name="connsiteX62" fmla="*/ 6882 w 10000"/>
              <a:gd name="connsiteY62" fmla="*/ 7287 h 10045"/>
              <a:gd name="connsiteX63" fmla="*/ 7064 w 10000"/>
              <a:gd name="connsiteY63" fmla="*/ 7097 h 10045"/>
              <a:gd name="connsiteX64" fmla="*/ 7239 w 10000"/>
              <a:gd name="connsiteY64" fmla="*/ 6903 h 10045"/>
              <a:gd name="connsiteX65" fmla="*/ 7414 w 10000"/>
              <a:gd name="connsiteY65" fmla="*/ 6708 h 10045"/>
              <a:gd name="connsiteX66" fmla="*/ 7582 w 10000"/>
              <a:gd name="connsiteY66" fmla="*/ 6510 h 10045"/>
              <a:gd name="connsiteX67" fmla="*/ 7750 w 10000"/>
              <a:gd name="connsiteY67" fmla="*/ 6303 h 10045"/>
              <a:gd name="connsiteX68" fmla="*/ 7905 w 10000"/>
              <a:gd name="connsiteY68" fmla="*/ 6096 h 10045"/>
              <a:gd name="connsiteX69" fmla="*/ 8057 w 10000"/>
              <a:gd name="connsiteY69" fmla="*/ 5886 h 10045"/>
              <a:gd name="connsiteX70" fmla="*/ 8211 w 10000"/>
              <a:gd name="connsiteY70" fmla="*/ 5676 h 10045"/>
              <a:gd name="connsiteX71" fmla="*/ 8354 w 10000"/>
              <a:gd name="connsiteY71" fmla="*/ 5456 h 10045"/>
              <a:gd name="connsiteX72" fmla="*/ 8493 w 10000"/>
              <a:gd name="connsiteY72" fmla="*/ 5240 h 10045"/>
              <a:gd name="connsiteX73" fmla="*/ 8628 w 10000"/>
              <a:gd name="connsiteY73" fmla="*/ 5018 h 10045"/>
              <a:gd name="connsiteX74" fmla="*/ 8754 w 10000"/>
              <a:gd name="connsiteY74" fmla="*/ 4789 h 10045"/>
              <a:gd name="connsiteX75" fmla="*/ 8877 w 10000"/>
              <a:gd name="connsiteY75" fmla="*/ 4561 h 10045"/>
              <a:gd name="connsiteX76" fmla="*/ 9003 w 10000"/>
              <a:gd name="connsiteY76" fmla="*/ 4331 h 10045"/>
              <a:gd name="connsiteX77" fmla="*/ 9120 w 10000"/>
              <a:gd name="connsiteY77" fmla="*/ 4098 h 10045"/>
              <a:gd name="connsiteX78" fmla="*/ 9224 w 10000"/>
              <a:gd name="connsiteY78" fmla="*/ 3863 h 10045"/>
              <a:gd name="connsiteX79" fmla="*/ 9330 w 10000"/>
              <a:gd name="connsiteY79" fmla="*/ 3624 h 10045"/>
              <a:gd name="connsiteX80" fmla="*/ 9425 w 10000"/>
              <a:gd name="connsiteY80" fmla="*/ 3380 h 10045"/>
              <a:gd name="connsiteX81" fmla="*/ 9520 w 10000"/>
              <a:gd name="connsiteY81" fmla="*/ 3139 h 10045"/>
              <a:gd name="connsiteX82" fmla="*/ 9604 w 10000"/>
              <a:gd name="connsiteY82" fmla="*/ 2891 h 10045"/>
              <a:gd name="connsiteX83" fmla="*/ 9684 w 10000"/>
              <a:gd name="connsiteY83" fmla="*/ 2640 h 10045"/>
              <a:gd name="connsiteX84" fmla="*/ 9758 w 10000"/>
              <a:gd name="connsiteY84" fmla="*/ 2388 h 10045"/>
              <a:gd name="connsiteX85" fmla="*/ 9831 w 10000"/>
              <a:gd name="connsiteY85" fmla="*/ 2138 h 10045"/>
              <a:gd name="connsiteX86" fmla="*/ 9892 w 10000"/>
              <a:gd name="connsiteY86" fmla="*/ 1884 h 10045"/>
              <a:gd name="connsiteX87" fmla="*/ 9951 w 10000"/>
              <a:gd name="connsiteY87" fmla="*/ 1625 h 10045"/>
              <a:gd name="connsiteX88" fmla="*/ 10000 w 10000"/>
              <a:gd name="connsiteY88" fmla="*/ 1364 h 10045"/>
              <a:gd name="connsiteX89" fmla="*/ 6011 w 10000"/>
              <a:gd name="connsiteY89" fmla="*/ 2092 h 10045"/>
              <a:gd name="connsiteX90" fmla="*/ 2680 w 10000"/>
              <a:gd name="connsiteY90" fmla="*/ 0 h 10045"/>
              <a:gd name="connsiteX0" fmla="*/ 2680 w 10000"/>
              <a:gd name="connsiteY0" fmla="*/ 0 h 9766"/>
              <a:gd name="connsiteX1" fmla="*/ 2680 w 10000"/>
              <a:gd name="connsiteY1" fmla="*/ 0 h 9766"/>
              <a:gd name="connsiteX2" fmla="*/ 2665 w 10000"/>
              <a:gd name="connsiteY2" fmla="*/ 111 h 9766"/>
              <a:gd name="connsiteX3" fmla="*/ 2642 w 10000"/>
              <a:gd name="connsiteY3" fmla="*/ 222 h 9766"/>
              <a:gd name="connsiteX4" fmla="*/ 2621 w 10000"/>
              <a:gd name="connsiteY4" fmla="*/ 334 h 9766"/>
              <a:gd name="connsiteX5" fmla="*/ 2594 w 10000"/>
              <a:gd name="connsiteY5" fmla="*/ 439 h 9766"/>
              <a:gd name="connsiteX6" fmla="*/ 2561 w 10000"/>
              <a:gd name="connsiteY6" fmla="*/ 546 h 9766"/>
              <a:gd name="connsiteX7" fmla="*/ 2530 w 10000"/>
              <a:gd name="connsiteY7" fmla="*/ 655 h 9766"/>
              <a:gd name="connsiteX8" fmla="*/ 2502 w 10000"/>
              <a:gd name="connsiteY8" fmla="*/ 759 h 9766"/>
              <a:gd name="connsiteX9" fmla="*/ 2468 w 10000"/>
              <a:gd name="connsiteY9" fmla="*/ 866 h 9766"/>
              <a:gd name="connsiteX10" fmla="*/ 2428 w 10000"/>
              <a:gd name="connsiteY10" fmla="*/ 970 h 9766"/>
              <a:gd name="connsiteX11" fmla="*/ 2386 w 10000"/>
              <a:gd name="connsiteY11" fmla="*/ 1071 h 9766"/>
              <a:gd name="connsiteX12" fmla="*/ 2347 w 10000"/>
              <a:gd name="connsiteY12" fmla="*/ 1176 h 9766"/>
              <a:gd name="connsiteX13" fmla="*/ 2299 w 10000"/>
              <a:gd name="connsiteY13" fmla="*/ 1279 h 9766"/>
              <a:gd name="connsiteX14" fmla="*/ 2248 w 10000"/>
              <a:gd name="connsiteY14" fmla="*/ 1373 h 9766"/>
              <a:gd name="connsiteX15" fmla="*/ 2200 w 10000"/>
              <a:gd name="connsiteY15" fmla="*/ 1472 h 9766"/>
              <a:gd name="connsiteX16" fmla="*/ 2149 w 10000"/>
              <a:gd name="connsiteY16" fmla="*/ 1569 h 9766"/>
              <a:gd name="connsiteX17" fmla="*/ 2092 w 10000"/>
              <a:gd name="connsiteY17" fmla="*/ 1666 h 9766"/>
              <a:gd name="connsiteX18" fmla="*/ 2041 w 10000"/>
              <a:gd name="connsiteY18" fmla="*/ 1763 h 9766"/>
              <a:gd name="connsiteX19" fmla="*/ 1981 w 10000"/>
              <a:gd name="connsiteY19" fmla="*/ 1856 h 9766"/>
              <a:gd name="connsiteX20" fmla="*/ 1919 w 10000"/>
              <a:gd name="connsiteY20" fmla="*/ 1942 h 9766"/>
              <a:gd name="connsiteX21" fmla="*/ 1854 w 10000"/>
              <a:gd name="connsiteY21" fmla="*/ 2032 h 9766"/>
              <a:gd name="connsiteX22" fmla="*/ 1794 w 10000"/>
              <a:gd name="connsiteY22" fmla="*/ 2120 h 9766"/>
              <a:gd name="connsiteX23" fmla="*/ 1725 w 10000"/>
              <a:gd name="connsiteY23" fmla="*/ 2215 h 9766"/>
              <a:gd name="connsiteX24" fmla="*/ 1656 w 10000"/>
              <a:gd name="connsiteY24" fmla="*/ 2298 h 9766"/>
              <a:gd name="connsiteX25" fmla="*/ 1583 w 10000"/>
              <a:gd name="connsiteY25" fmla="*/ 2376 h 9766"/>
              <a:gd name="connsiteX26" fmla="*/ 1509 w 10000"/>
              <a:gd name="connsiteY26" fmla="*/ 2464 h 9766"/>
              <a:gd name="connsiteX27" fmla="*/ 1435 w 10000"/>
              <a:gd name="connsiteY27" fmla="*/ 2545 h 9766"/>
              <a:gd name="connsiteX28" fmla="*/ 1356 w 10000"/>
              <a:gd name="connsiteY28" fmla="*/ 2623 h 9766"/>
              <a:gd name="connsiteX29" fmla="*/ 1279 w 10000"/>
              <a:gd name="connsiteY29" fmla="*/ 2707 h 9766"/>
              <a:gd name="connsiteX30" fmla="*/ 1200 w 10000"/>
              <a:gd name="connsiteY30" fmla="*/ 2782 h 9766"/>
              <a:gd name="connsiteX31" fmla="*/ 1113 w 10000"/>
              <a:gd name="connsiteY31" fmla="*/ 2858 h 9766"/>
              <a:gd name="connsiteX32" fmla="*/ 1033 w 10000"/>
              <a:gd name="connsiteY32" fmla="*/ 2929 h 9766"/>
              <a:gd name="connsiteX33" fmla="*/ 946 w 10000"/>
              <a:gd name="connsiteY33" fmla="*/ 3002 h 9766"/>
              <a:gd name="connsiteX34" fmla="*/ 862 w 10000"/>
              <a:gd name="connsiteY34" fmla="*/ 3071 h 9766"/>
              <a:gd name="connsiteX35" fmla="*/ 767 w 10000"/>
              <a:gd name="connsiteY35" fmla="*/ 3141 h 9766"/>
              <a:gd name="connsiteX36" fmla="*/ 679 w 10000"/>
              <a:gd name="connsiteY36" fmla="*/ 3204 h 9766"/>
              <a:gd name="connsiteX37" fmla="*/ 586 w 10000"/>
              <a:gd name="connsiteY37" fmla="*/ 3271 h 9766"/>
              <a:gd name="connsiteX38" fmla="*/ 492 w 10000"/>
              <a:gd name="connsiteY38" fmla="*/ 3333 h 9766"/>
              <a:gd name="connsiteX39" fmla="*/ 394 w 10000"/>
              <a:gd name="connsiteY39" fmla="*/ 3392 h 9766"/>
              <a:gd name="connsiteX40" fmla="*/ 298 w 10000"/>
              <a:gd name="connsiteY40" fmla="*/ 3454 h 9766"/>
              <a:gd name="connsiteX41" fmla="*/ 203 w 10000"/>
              <a:gd name="connsiteY41" fmla="*/ 3511 h 9766"/>
              <a:gd name="connsiteX42" fmla="*/ 101 w 10000"/>
              <a:gd name="connsiteY42" fmla="*/ 3565 h 9766"/>
              <a:gd name="connsiteX43" fmla="*/ 0 w 10000"/>
              <a:gd name="connsiteY43" fmla="*/ 3617 h 9766"/>
              <a:gd name="connsiteX44" fmla="*/ 187 w 10000"/>
              <a:gd name="connsiteY44" fmla="*/ 7333 h 9766"/>
              <a:gd name="connsiteX45" fmla="*/ 3449 w 10000"/>
              <a:gd name="connsiteY45" fmla="*/ 9766 h 9766"/>
              <a:gd name="connsiteX46" fmla="*/ 3689 w 10000"/>
              <a:gd name="connsiteY46" fmla="*/ 9649 h 9766"/>
              <a:gd name="connsiteX47" fmla="*/ 3930 w 10000"/>
              <a:gd name="connsiteY47" fmla="*/ 9518 h 9766"/>
              <a:gd name="connsiteX48" fmla="*/ 4165 w 10000"/>
              <a:gd name="connsiteY48" fmla="*/ 9388 h 9766"/>
              <a:gd name="connsiteX49" fmla="*/ 4397 w 10000"/>
              <a:gd name="connsiteY49" fmla="*/ 9251 h 9766"/>
              <a:gd name="connsiteX50" fmla="*/ 4628 w 10000"/>
              <a:gd name="connsiteY50" fmla="*/ 9109 h 9766"/>
              <a:gd name="connsiteX51" fmla="*/ 4845 w 10000"/>
              <a:gd name="connsiteY51" fmla="*/ 8967 h 9766"/>
              <a:gd name="connsiteX52" fmla="*/ 5065 w 10000"/>
              <a:gd name="connsiteY52" fmla="*/ 8813 h 9766"/>
              <a:gd name="connsiteX53" fmla="*/ 5285 w 10000"/>
              <a:gd name="connsiteY53" fmla="*/ 8663 h 9766"/>
              <a:gd name="connsiteX54" fmla="*/ 5494 w 10000"/>
              <a:gd name="connsiteY54" fmla="*/ 8505 h 9766"/>
              <a:gd name="connsiteX55" fmla="*/ 5708 w 10000"/>
              <a:gd name="connsiteY55" fmla="*/ 8342 h 9766"/>
              <a:gd name="connsiteX56" fmla="*/ 5911 w 10000"/>
              <a:gd name="connsiteY56" fmla="*/ 8172 h 9766"/>
              <a:gd name="connsiteX57" fmla="*/ 6115 w 10000"/>
              <a:gd name="connsiteY57" fmla="*/ 8005 h 9766"/>
              <a:gd name="connsiteX58" fmla="*/ 6310 w 10000"/>
              <a:gd name="connsiteY58" fmla="*/ 7834 h 9766"/>
              <a:gd name="connsiteX59" fmla="*/ 6508 w 10000"/>
              <a:gd name="connsiteY59" fmla="*/ 7653 h 9766"/>
              <a:gd name="connsiteX60" fmla="*/ 6698 w 10000"/>
              <a:gd name="connsiteY60" fmla="*/ 7466 h 9766"/>
              <a:gd name="connsiteX61" fmla="*/ 6882 w 10000"/>
              <a:gd name="connsiteY61" fmla="*/ 7287 h 9766"/>
              <a:gd name="connsiteX62" fmla="*/ 7064 w 10000"/>
              <a:gd name="connsiteY62" fmla="*/ 7097 h 9766"/>
              <a:gd name="connsiteX63" fmla="*/ 7239 w 10000"/>
              <a:gd name="connsiteY63" fmla="*/ 6903 h 9766"/>
              <a:gd name="connsiteX64" fmla="*/ 7414 w 10000"/>
              <a:gd name="connsiteY64" fmla="*/ 6708 h 9766"/>
              <a:gd name="connsiteX65" fmla="*/ 7582 w 10000"/>
              <a:gd name="connsiteY65" fmla="*/ 6510 h 9766"/>
              <a:gd name="connsiteX66" fmla="*/ 7750 w 10000"/>
              <a:gd name="connsiteY66" fmla="*/ 6303 h 9766"/>
              <a:gd name="connsiteX67" fmla="*/ 7905 w 10000"/>
              <a:gd name="connsiteY67" fmla="*/ 6096 h 9766"/>
              <a:gd name="connsiteX68" fmla="*/ 8057 w 10000"/>
              <a:gd name="connsiteY68" fmla="*/ 5886 h 9766"/>
              <a:gd name="connsiteX69" fmla="*/ 8211 w 10000"/>
              <a:gd name="connsiteY69" fmla="*/ 5676 h 9766"/>
              <a:gd name="connsiteX70" fmla="*/ 8354 w 10000"/>
              <a:gd name="connsiteY70" fmla="*/ 5456 h 9766"/>
              <a:gd name="connsiteX71" fmla="*/ 8493 w 10000"/>
              <a:gd name="connsiteY71" fmla="*/ 5240 h 9766"/>
              <a:gd name="connsiteX72" fmla="*/ 8628 w 10000"/>
              <a:gd name="connsiteY72" fmla="*/ 5018 h 9766"/>
              <a:gd name="connsiteX73" fmla="*/ 8754 w 10000"/>
              <a:gd name="connsiteY73" fmla="*/ 4789 h 9766"/>
              <a:gd name="connsiteX74" fmla="*/ 8877 w 10000"/>
              <a:gd name="connsiteY74" fmla="*/ 4561 h 9766"/>
              <a:gd name="connsiteX75" fmla="*/ 9003 w 10000"/>
              <a:gd name="connsiteY75" fmla="*/ 4331 h 9766"/>
              <a:gd name="connsiteX76" fmla="*/ 9120 w 10000"/>
              <a:gd name="connsiteY76" fmla="*/ 4098 h 9766"/>
              <a:gd name="connsiteX77" fmla="*/ 9224 w 10000"/>
              <a:gd name="connsiteY77" fmla="*/ 3863 h 9766"/>
              <a:gd name="connsiteX78" fmla="*/ 9330 w 10000"/>
              <a:gd name="connsiteY78" fmla="*/ 3624 h 9766"/>
              <a:gd name="connsiteX79" fmla="*/ 9425 w 10000"/>
              <a:gd name="connsiteY79" fmla="*/ 3380 h 9766"/>
              <a:gd name="connsiteX80" fmla="*/ 9520 w 10000"/>
              <a:gd name="connsiteY80" fmla="*/ 3139 h 9766"/>
              <a:gd name="connsiteX81" fmla="*/ 9604 w 10000"/>
              <a:gd name="connsiteY81" fmla="*/ 2891 h 9766"/>
              <a:gd name="connsiteX82" fmla="*/ 9684 w 10000"/>
              <a:gd name="connsiteY82" fmla="*/ 2640 h 9766"/>
              <a:gd name="connsiteX83" fmla="*/ 9758 w 10000"/>
              <a:gd name="connsiteY83" fmla="*/ 2388 h 9766"/>
              <a:gd name="connsiteX84" fmla="*/ 9831 w 10000"/>
              <a:gd name="connsiteY84" fmla="*/ 2138 h 9766"/>
              <a:gd name="connsiteX85" fmla="*/ 9892 w 10000"/>
              <a:gd name="connsiteY85" fmla="*/ 1884 h 9766"/>
              <a:gd name="connsiteX86" fmla="*/ 9951 w 10000"/>
              <a:gd name="connsiteY86" fmla="*/ 1625 h 9766"/>
              <a:gd name="connsiteX87" fmla="*/ 10000 w 10000"/>
              <a:gd name="connsiteY87" fmla="*/ 1364 h 9766"/>
              <a:gd name="connsiteX88" fmla="*/ 6011 w 10000"/>
              <a:gd name="connsiteY88" fmla="*/ 2092 h 9766"/>
              <a:gd name="connsiteX89" fmla="*/ 2680 w 10000"/>
              <a:gd name="connsiteY89" fmla="*/ 0 h 9766"/>
              <a:gd name="connsiteX0" fmla="*/ 2680 w 10000"/>
              <a:gd name="connsiteY0" fmla="*/ 0 h 10000"/>
              <a:gd name="connsiteX1" fmla="*/ 2680 w 10000"/>
              <a:gd name="connsiteY1" fmla="*/ 0 h 10000"/>
              <a:gd name="connsiteX2" fmla="*/ 2665 w 10000"/>
              <a:gd name="connsiteY2" fmla="*/ 114 h 10000"/>
              <a:gd name="connsiteX3" fmla="*/ 2642 w 10000"/>
              <a:gd name="connsiteY3" fmla="*/ 227 h 10000"/>
              <a:gd name="connsiteX4" fmla="*/ 2621 w 10000"/>
              <a:gd name="connsiteY4" fmla="*/ 342 h 10000"/>
              <a:gd name="connsiteX5" fmla="*/ 2594 w 10000"/>
              <a:gd name="connsiteY5" fmla="*/ 450 h 10000"/>
              <a:gd name="connsiteX6" fmla="*/ 2561 w 10000"/>
              <a:gd name="connsiteY6" fmla="*/ 559 h 10000"/>
              <a:gd name="connsiteX7" fmla="*/ 2530 w 10000"/>
              <a:gd name="connsiteY7" fmla="*/ 671 h 10000"/>
              <a:gd name="connsiteX8" fmla="*/ 2502 w 10000"/>
              <a:gd name="connsiteY8" fmla="*/ 777 h 10000"/>
              <a:gd name="connsiteX9" fmla="*/ 2468 w 10000"/>
              <a:gd name="connsiteY9" fmla="*/ 887 h 10000"/>
              <a:gd name="connsiteX10" fmla="*/ 2428 w 10000"/>
              <a:gd name="connsiteY10" fmla="*/ 993 h 10000"/>
              <a:gd name="connsiteX11" fmla="*/ 2386 w 10000"/>
              <a:gd name="connsiteY11" fmla="*/ 1097 h 10000"/>
              <a:gd name="connsiteX12" fmla="*/ 2347 w 10000"/>
              <a:gd name="connsiteY12" fmla="*/ 1204 h 10000"/>
              <a:gd name="connsiteX13" fmla="*/ 2299 w 10000"/>
              <a:gd name="connsiteY13" fmla="*/ 1310 h 10000"/>
              <a:gd name="connsiteX14" fmla="*/ 2248 w 10000"/>
              <a:gd name="connsiteY14" fmla="*/ 1406 h 10000"/>
              <a:gd name="connsiteX15" fmla="*/ 2200 w 10000"/>
              <a:gd name="connsiteY15" fmla="*/ 1507 h 10000"/>
              <a:gd name="connsiteX16" fmla="*/ 2149 w 10000"/>
              <a:gd name="connsiteY16" fmla="*/ 1607 h 10000"/>
              <a:gd name="connsiteX17" fmla="*/ 2092 w 10000"/>
              <a:gd name="connsiteY17" fmla="*/ 1706 h 10000"/>
              <a:gd name="connsiteX18" fmla="*/ 2041 w 10000"/>
              <a:gd name="connsiteY18" fmla="*/ 1805 h 10000"/>
              <a:gd name="connsiteX19" fmla="*/ 1981 w 10000"/>
              <a:gd name="connsiteY19" fmla="*/ 1900 h 10000"/>
              <a:gd name="connsiteX20" fmla="*/ 1919 w 10000"/>
              <a:gd name="connsiteY20" fmla="*/ 1989 h 10000"/>
              <a:gd name="connsiteX21" fmla="*/ 1854 w 10000"/>
              <a:gd name="connsiteY21" fmla="*/ 2081 h 10000"/>
              <a:gd name="connsiteX22" fmla="*/ 1794 w 10000"/>
              <a:gd name="connsiteY22" fmla="*/ 2171 h 10000"/>
              <a:gd name="connsiteX23" fmla="*/ 1725 w 10000"/>
              <a:gd name="connsiteY23" fmla="*/ 2268 h 10000"/>
              <a:gd name="connsiteX24" fmla="*/ 1656 w 10000"/>
              <a:gd name="connsiteY24" fmla="*/ 2353 h 10000"/>
              <a:gd name="connsiteX25" fmla="*/ 1583 w 10000"/>
              <a:gd name="connsiteY25" fmla="*/ 2433 h 10000"/>
              <a:gd name="connsiteX26" fmla="*/ 1509 w 10000"/>
              <a:gd name="connsiteY26" fmla="*/ 2523 h 10000"/>
              <a:gd name="connsiteX27" fmla="*/ 1435 w 10000"/>
              <a:gd name="connsiteY27" fmla="*/ 2606 h 10000"/>
              <a:gd name="connsiteX28" fmla="*/ 1356 w 10000"/>
              <a:gd name="connsiteY28" fmla="*/ 2686 h 10000"/>
              <a:gd name="connsiteX29" fmla="*/ 1279 w 10000"/>
              <a:gd name="connsiteY29" fmla="*/ 2772 h 10000"/>
              <a:gd name="connsiteX30" fmla="*/ 1200 w 10000"/>
              <a:gd name="connsiteY30" fmla="*/ 2849 h 10000"/>
              <a:gd name="connsiteX31" fmla="*/ 1113 w 10000"/>
              <a:gd name="connsiteY31" fmla="*/ 2926 h 10000"/>
              <a:gd name="connsiteX32" fmla="*/ 1033 w 10000"/>
              <a:gd name="connsiteY32" fmla="*/ 2999 h 10000"/>
              <a:gd name="connsiteX33" fmla="*/ 946 w 10000"/>
              <a:gd name="connsiteY33" fmla="*/ 3074 h 10000"/>
              <a:gd name="connsiteX34" fmla="*/ 862 w 10000"/>
              <a:gd name="connsiteY34" fmla="*/ 3145 h 10000"/>
              <a:gd name="connsiteX35" fmla="*/ 767 w 10000"/>
              <a:gd name="connsiteY35" fmla="*/ 3216 h 10000"/>
              <a:gd name="connsiteX36" fmla="*/ 679 w 10000"/>
              <a:gd name="connsiteY36" fmla="*/ 3281 h 10000"/>
              <a:gd name="connsiteX37" fmla="*/ 586 w 10000"/>
              <a:gd name="connsiteY37" fmla="*/ 3349 h 10000"/>
              <a:gd name="connsiteX38" fmla="*/ 492 w 10000"/>
              <a:gd name="connsiteY38" fmla="*/ 3413 h 10000"/>
              <a:gd name="connsiteX39" fmla="*/ 394 w 10000"/>
              <a:gd name="connsiteY39" fmla="*/ 3473 h 10000"/>
              <a:gd name="connsiteX40" fmla="*/ 298 w 10000"/>
              <a:gd name="connsiteY40" fmla="*/ 3537 h 10000"/>
              <a:gd name="connsiteX41" fmla="*/ 203 w 10000"/>
              <a:gd name="connsiteY41" fmla="*/ 3595 h 10000"/>
              <a:gd name="connsiteX42" fmla="*/ 101 w 10000"/>
              <a:gd name="connsiteY42" fmla="*/ 3650 h 10000"/>
              <a:gd name="connsiteX43" fmla="*/ 0 w 10000"/>
              <a:gd name="connsiteY43" fmla="*/ 3704 h 10000"/>
              <a:gd name="connsiteX44" fmla="*/ 187 w 10000"/>
              <a:gd name="connsiteY44" fmla="*/ 7509 h 10000"/>
              <a:gd name="connsiteX45" fmla="*/ 3449 w 10000"/>
              <a:gd name="connsiteY45" fmla="*/ 10000 h 10000"/>
              <a:gd name="connsiteX46" fmla="*/ 3689 w 10000"/>
              <a:gd name="connsiteY46" fmla="*/ 9880 h 10000"/>
              <a:gd name="connsiteX47" fmla="*/ 3930 w 10000"/>
              <a:gd name="connsiteY47" fmla="*/ 9746 h 10000"/>
              <a:gd name="connsiteX48" fmla="*/ 4165 w 10000"/>
              <a:gd name="connsiteY48" fmla="*/ 9613 h 10000"/>
              <a:gd name="connsiteX49" fmla="*/ 4397 w 10000"/>
              <a:gd name="connsiteY49" fmla="*/ 9473 h 10000"/>
              <a:gd name="connsiteX50" fmla="*/ 4628 w 10000"/>
              <a:gd name="connsiteY50" fmla="*/ 9327 h 10000"/>
              <a:gd name="connsiteX51" fmla="*/ 4845 w 10000"/>
              <a:gd name="connsiteY51" fmla="*/ 9182 h 10000"/>
              <a:gd name="connsiteX52" fmla="*/ 5065 w 10000"/>
              <a:gd name="connsiteY52" fmla="*/ 9024 h 10000"/>
              <a:gd name="connsiteX53" fmla="*/ 5285 w 10000"/>
              <a:gd name="connsiteY53" fmla="*/ 8871 h 10000"/>
              <a:gd name="connsiteX54" fmla="*/ 5494 w 10000"/>
              <a:gd name="connsiteY54" fmla="*/ 8709 h 10000"/>
              <a:gd name="connsiteX55" fmla="*/ 5708 w 10000"/>
              <a:gd name="connsiteY55" fmla="*/ 8542 h 10000"/>
              <a:gd name="connsiteX56" fmla="*/ 5911 w 10000"/>
              <a:gd name="connsiteY56" fmla="*/ 8368 h 10000"/>
              <a:gd name="connsiteX57" fmla="*/ 6115 w 10000"/>
              <a:gd name="connsiteY57" fmla="*/ 8197 h 10000"/>
              <a:gd name="connsiteX58" fmla="*/ 6310 w 10000"/>
              <a:gd name="connsiteY58" fmla="*/ 8022 h 10000"/>
              <a:gd name="connsiteX59" fmla="*/ 6508 w 10000"/>
              <a:gd name="connsiteY59" fmla="*/ 7836 h 10000"/>
              <a:gd name="connsiteX60" fmla="*/ 6698 w 10000"/>
              <a:gd name="connsiteY60" fmla="*/ 7645 h 10000"/>
              <a:gd name="connsiteX61" fmla="*/ 6882 w 10000"/>
              <a:gd name="connsiteY61" fmla="*/ 7462 h 10000"/>
              <a:gd name="connsiteX62" fmla="*/ 7064 w 10000"/>
              <a:gd name="connsiteY62" fmla="*/ 7267 h 10000"/>
              <a:gd name="connsiteX63" fmla="*/ 7239 w 10000"/>
              <a:gd name="connsiteY63" fmla="*/ 7068 h 10000"/>
              <a:gd name="connsiteX64" fmla="*/ 7414 w 10000"/>
              <a:gd name="connsiteY64" fmla="*/ 6869 h 10000"/>
              <a:gd name="connsiteX65" fmla="*/ 7582 w 10000"/>
              <a:gd name="connsiteY65" fmla="*/ 6666 h 10000"/>
              <a:gd name="connsiteX66" fmla="*/ 7750 w 10000"/>
              <a:gd name="connsiteY66" fmla="*/ 6454 h 10000"/>
              <a:gd name="connsiteX67" fmla="*/ 7905 w 10000"/>
              <a:gd name="connsiteY67" fmla="*/ 6242 h 10000"/>
              <a:gd name="connsiteX68" fmla="*/ 8057 w 10000"/>
              <a:gd name="connsiteY68" fmla="*/ 6027 h 10000"/>
              <a:gd name="connsiteX69" fmla="*/ 8211 w 10000"/>
              <a:gd name="connsiteY69" fmla="*/ 5812 h 10000"/>
              <a:gd name="connsiteX70" fmla="*/ 8354 w 10000"/>
              <a:gd name="connsiteY70" fmla="*/ 5587 h 10000"/>
              <a:gd name="connsiteX71" fmla="*/ 8493 w 10000"/>
              <a:gd name="connsiteY71" fmla="*/ 5366 h 10000"/>
              <a:gd name="connsiteX72" fmla="*/ 8628 w 10000"/>
              <a:gd name="connsiteY72" fmla="*/ 5138 h 10000"/>
              <a:gd name="connsiteX73" fmla="*/ 8754 w 10000"/>
              <a:gd name="connsiteY73" fmla="*/ 4904 h 10000"/>
              <a:gd name="connsiteX74" fmla="*/ 8877 w 10000"/>
              <a:gd name="connsiteY74" fmla="*/ 4670 h 10000"/>
              <a:gd name="connsiteX75" fmla="*/ 9003 w 10000"/>
              <a:gd name="connsiteY75" fmla="*/ 4435 h 10000"/>
              <a:gd name="connsiteX76" fmla="*/ 9120 w 10000"/>
              <a:gd name="connsiteY76" fmla="*/ 4196 h 10000"/>
              <a:gd name="connsiteX77" fmla="*/ 9224 w 10000"/>
              <a:gd name="connsiteY77" fmla="*/ 3956 h 10000"/>
              <a:gd name="connsiteX78" fmla="*/ 9330 w 10000"/>
              <a:gd name="connsiteY78" fmla="*/ 3711 h 10000"/>
              <a:gd name="connsiteX79" fmla="*/ 9425 w 10000"/>
              <a:gd name="connsiteY79" fmla="*/ 3461 h 10000"/>
              <a:gd name="connsiteX80" fmla="*/ 9520 w 10000"/>
              <a:gd name="connsiteY80" fmla="*/ 3214 h 10000"/>
              <a:gd name="connsiteX81" fmla="*/ 9604 w 10000"/>
              <a:gd name="connsiteY81" fmla="*/ 2960 h 10000"/>
              <a:gd name="connsiteX82" fmla="*/ 9684 w 10000"/>
              <a:gd name="connsiteY82" fmla="*/ 2703 h 10000"/>
              <a:gd name="connsiteX83" fmla="*/ 9758 w 10000"/>
              <a:gd name="connsiteY83" fmla="*/ 2445 h 10000"/>
              <a:gd name="connsiteX84" fmla="*/ 9831 w 10000"/>
              <a:gd name="connsiteY84" fmla="*/ 2189 h 10000"/>
              <a:gd name="connsiteX85" fmla="*/ 9892 w 10000"/>
              <a:gd name="connsiteY85" fmla="*/ 1929 h 10000"/>
              <a:gd name="connsiteX86" fmla="*/ 9951 w 10000"/>
              <a:gd name="connsiteY86" fmla="*/ 1664 h 10000"/>
              <a:gd name="connsiteX87" fmla="*/ 10000 w 10000"/>
              <a:gd name="connsiteY87" fmla="*/ 1397 h 10000"/>
              <a:gd name="connsiteX88" fmla="*/ 6011 w 10000"/>
              <a:gd name="connsiteY88" fmla="*/ 2142 h 10000"/>
              <a:gd name="connsiteX89" fmla="*/ 2680 w 10000"/>
              <a:gd name="connsiteY89" fmla="*/ 0 h 10000"/>
              <a:gd name="connsiteX0" fmla="*/ 2680 w 10000"/>
              <a:gd name="connsiteY0" fmla="*/ 0 h 10084"/>
              <a:gd name="connsiteX1" fmla="*/ 2680 w 10000"/>
              <a:gd name="connsiteY1" fmla="*/ 0 h 10084"/>
              <a:gd name="connsiteX2" fmla="*/ 2665 w 10000"/>
              <a:gd name="connsiteY2" fmla="*/ 114 h 10084"/>
              <a:gd name="connsiteX3" fmla="*/ 2642 w 10000"/>
              <a:gd name="connsiteY3" fmla="*/ 227 h 10084"/>
              <a:gd name="connsiteX4" fmla="*/ 2621 w 10000"/>
              <a:gd name="connsiteY4" fmla="*/ 342 h 10084"/>
              <a:gd name="connsiteX5" fmla="*/ 2594 w 10000"/>
              <a:gd name="connsiteY5" fmla="*/ 450 h 10084"/>
              <a:gd name="connsiteX6" fmla="*/ 2561 w 10000"/>
              <a:gd name="connsiteY6" fmla="*/ 559 h 10084"/>
              <a:gd name="connsiteX7" fmla="*/ 2530 w 10000"/>
              <a:gd name="connsiteY7" fmla="*/ 671 h 10084"/>
              <a:gd name="connsiteX8" fmla="*/ 2502 w 10000"/>
              <a:gd name="connsiteY8" fmla="*/ 777 h 10084"/>
              <a:gd name="connsiteX9" fmla="*/ 2468 w 10000"/>
              <a:gd name="connsiteY9" fmla="*/ 887 h 10084"/>
              <a:gd name="connsiteX10" fmla="*/ 2428 w 10000"/>
              <a:gd name="connsiteY10" fmla="*/ 993 h 10084"/>
              <a:gd name="connsiteX11" fmla="*/ 2386 w 10000"/>
              <a:gd name="connsiteY11" fmla="*/ 1097 h 10084"/>
              <a:gd name="connsiteX12" fmla="*/ 2347 w 10000"/>
              <a:gd name="connsiteY12" fmla="*/ 1204 h 10084"/>
              <a:gd name="connsiteX13" fmla="*/ 2299 w 10000"/>
              <a:gd name="connsiteY13" fmla="*/ 1310 h 10084"/>
              <a:gd name="connsiteX14" fmla="*/ 2248 w 10000"/>
              <a:gd name="connsiteY14" fmla="*/ 1406 h 10084"/>
              <a:gd name="connsiteX15" fmla="*/ 2200 w 10000"/>
              <a:gd name="connsiteY15" fmla="*/ 1507 h 10084"/>
              <a:gd name="connsiteX16" fmla="*/ 2149 w 10000"/>
              <a:gd name="connsiteY16" fmla="*/ 1607 h 10084"/>
              <a:gd name="connsiteX17" fmla="*/ 2092 w 10000"/>
              <a:gd name="connsiteY17" fmla="*/ 1706 h 10084"/>
              <a:gd name="connsiteX18" fmla="*/ 2041 w 10000"/>
              <a:gd name="connsiteY18" fmla="*/ 1805 h 10084"/>
              <a:gd name="connsiteX19" fmla="*/ 1981 w 10000"/>
              <a:gd name="connsiteY19" fmla="*/ 1900 h 10084"/>
              <a:gd name="connsiteX20" fmla="*/ 1919 w 10000"/>
              <a:gd name="connsiteY20" fmla="*/ 1989 h 10084"/>
              <a:gd name="connsiteX21" fmla="*/ 1854 w 10000"/>
              <a:gd name="connsiteY21" fmla="*/ 2081 h 10084"/>
              <a:gd name="connsiteX22" fmla="*/ 1794 w 10000"/>
              <a:gd name="connsiteY22" fmla="*/ 2171 h 10084"/>
              <a:gd name="connsiteX23" fmla="*/ 1725 w 10000"/>
              <a:gd name="connsiteY23" fmla="*/ 2268 h 10084"/>
              <a:gd name="connsiteX24" fmla="*/ 1656 w 10000"/>
              <a:gd name="connsiteY24" fmla="*/ 2353 h 10084"/>
              <a:gd name="connsiteX25" fmla="*/ 1583 w 10000"/>
              <a:gd name="connsiteY25" fmla="*/ 2433 h 10084"/>
              <a:gd name="connsiteX26" fmla="*/ 1509 w 10000"/>
              <a:gd name="connsiteY26" fmla="*/ 2523 h 10084"/>
              <a:gd name="connsiteX27" fmla="*/ 1435 w 10000"/>
              <a:gd name="connsiteY27" fmla="*/ 2606 h 10084"/>
              <a:gd name="connsiteX28" fmla="*/ 1356 w 10000"/>
              <a:gd name="connsiteY28" fmla="*/ 2686 h 10084"/>
              <a:gd name="connsiteX29" fmla="*/ 1279 w 10000"/>
              <a:gd name="connsiteY29" fmla="*/ 2772 h 10084"/>
              <a:gd name="connsiteX30" fmla="*/ 1200 w 10000"/>
              <a:gd name="connsiteY30" fmla="*/ 2849 h 10084"/>
              <a:gd name="connsiteX31" fmla="*/ 1113 w 10000"/>
              <a:gd name="connsiteY31" fmla="*/ 2926 h 10084"/>
              <a:gd name="connsiteX32" fmla="*/ 1033 w 10000"/>
              <a:gd name="connsiteY32" fmla="*/ 2999 h 10084"/>
              <a:gd name="connsiteX33" fmla="*/ 946 w 10000"/>
              <a:gd name="connsiteY33" fmla="*/ 3074 h 10084"/>
              <a:gd name="connsiteX34" fmla="*/ 862 w 10000"/>
              <a:gd name="connsiteY34" fmla="*/ 3145 h 10084"/>
              <a:gd name="connsiteX35" fmla="*/ 767 w 10000"/>
              <a:gd name="connsiteY35" fmla="*/ 3216 h 10084"/>
              <a:gd name="connsiteX36" fmla="*/ 679 w 10000"/>
              <a:gd name="connsiteY36" fmla="*/ 3281 h 10084"/>
              <a:gd name="connsiteX37" fmla="*/ 586 w 10000"/>
              <a:gd name="connsiteY37" fmla="*/ 3349 h 10084"/>
              <a:gd name="connsiteX38" fmla="*/ 492 w 10000"/>
              <a:gd name="connsiteY38" fmla="*/ 3413 h 10084"/>
              <a:gd name="connsiteX39" fmla="*/ 394 w 10000"/>
              <a:gd name="connsiteY39" fmla="*/ 3473 h 10084"/>
              <a:gd name="connsiteX40" fmla="*/ 298 w 10000"/>
              <a:gd name="connsiteY40" fmla="*/ 3537 h 10084"/>
              <a:gd name="connsiteX41" fmla="*/ 203 w 10000"/>
              <a:gd name="connsiteY41" fmla="*/ 3595 h 10084"/>
              <a:gd name="connsiteX42" fmla="*/ 101 w 10000"/>
              <a:gd name="connsiteY42" fmla="*/ 3650 h 10084"/>
              <a:gd name="connsiteX43" fmla="*/ 0 w 10000"/>
              <a:gd name="connsiteY43" fmla="*/ 3704 h 10084"/>
              <a:gd name="connsiteX44" fmla="*/ 187 w 10000"/>
              <a:gd name="connsiteY44" fmla="*/ 7509 h 10084"/>
              <a:gd name="connsiteX45" fmla="*/ 3424 w 10000"/>
              <a:gd name="connsiteY45" fmla="*/ 10084 h 10084"/>
              <a:gd name="connsiteX46" fmla="*/ 3689 w 10000"/>
              <a:gd name="connsiteY46" fmla="*/ 9880 h 10084"/>
              <a:gd name="connsiteX47" fmla="*/ 3930 w 10000"/>
              <a:gd name="connsiteY47" fmla="*/ 9746 h 10084"/>
              <a:gd name="connsiteX48" fmla="*/ 4165 w 10000"/>
              <a:gd name="connsiteY48" fmla="*/ 9613 h 10084"/>
              <a:gd name="connsiteX49" fmla="*/ 4397 w 10000"/>
              <a:gd name="connsiteY49" fmla="*/ 9473 h 10084"/>
              <a:gd name="connsiteX50" fmla="*/ 4628 w 10000"/>
              <a:gd name="connsiteY50" fmla="*/ 9327 h 10084"/>
              <a:gd name="connsiteX51" fmla="*/ 4845 w 10000"/>
              <a:gd name="connsiteY51" fmla="*/ 9182 h 10084"/>
              <a:gd name="connsiteX52" fmla="*/ 5065 w 10000"/>
              <a:gd name="connsiteY52" fmla="*/ 9024 h 10084"/>
              <a:gd name="connsiteX53" fmla="*/ 5285 w 10000"/>
              <a:gd name="connsiteY53" fmla="*/ 8871 h 10084"/>
              <a:gd name="connsiteX54" fmla="*/ 5494 w 10000"/>
              <a:gd name="connsiteY54" fmla="*/ 8709 h 10084"/>
              <a:gd name="connsiteX55" fmla="*/ 5708 w 10000"/>
              <a:gd name="connsiteY55" fmla="*/ 8542 h 10084"/>
              <a:gd name="connsiteX56" fmla="*/ 5911 w 10000"/>
              <a:gd name="connsiteY56" fmla="*/ 8368 h 10084"/>
              <a:gd name="connsiteX57" fmla="*/ 6115 w 10000"/>
              <a:gd name="connsiteY57" fmla="*/ 8197 h 10084"/>
              <a:gd name="connsiteX58" fmla="*/ 6310 w 10000"/>
              <a:gd name="connsiteY58" fmla="*/ 8022 h 10084"/>
              <a:gd name="connsiteX59" fmla="*/ 6508 w 10000"/>
              <a:gd name="connsiteY59" fmla="*/ 7836 h 10084"/>
              <a:gd name="connsiteX60" fmla="*/ 6698 w 10000"/>
              <a:gd name="connsiteY60" fmla="*/ 7645 h 10084"/>
              <a:gd name="connsiteX61" fmla="*/ 6882 w 10000"/>
              <a:gd name="connsiteY61" fmla="*/ 7462 h 10084"/>
              <a:gd name="connsiteX62" fmla="*/ 7064 w 10000"/>
              <a:gd name="connsiteY62" fmla="*/ 7267 h 10084"/>
              <a:gd name="connsiteX63" fmla="*/ 7239 w 10000"/>
              <a:gd name="connsiteY63" fmla="*/ 7068 h 10084"/>
              <a:gd name="connsiteX64" fmla="*/ 7414 w 10000"/>
              <a:gd name="connsiteY64" fmla="*/ 6869 h 10084"/>
              <a:gd name="connsiteX65" fmla="*/ 7582 w 10000"/>
              <a:gd name="connsiteY65" fmla="*/ 6666 h 10084"/>
              <a:gd name="connsiteX66" fmla="*/ 7750 w 10000"/>
              <a:gd name="connsiteY66" fmla="*/ 6454 h 10084"/>
              <a:gd name="connsiteX67" fmla="*/ 7905 w 10000"/>
              <a:gd name="connsiteY67" fmla="*/ 6242 h 10084"/>
              <a:gd name="connsiteX68" fmla="*/ 8057 w 10000"/>
              <a:gd name="connsiteY68" fmla="*/ 6027 h 10084"/>
              <a:gd name="connsiteX69" fmla="*/ 8211 w 10000"/>
              <a:gd name="connsiteY69" fmla="*/ 5812 h 10084"/>
              <a:gd name="connsiteX70" fmla="*/ 8354 w 10000"/>
              <a:gd name="connsiteY70" fmla="*/ 5587 h 10084"/>
              <a:gd name="connsiteX71" fmla="*/ 8493 w 10000"/>
              <a:gd name="connsiteY71" fmla="*/ 5366 h 10084"/>
              <a:gd name="connsiteX72" fmla="*/ 8628 w 10000"/>
              <a:gd name="connsiteY72" fmla="*/ 5138 h 10084"/>
              <a:gd name="connsiteX73" fmla="*/ 8754 w 10000"/>
              <a:gd name="connsiteY73" fmla="*/ 4904 h 10084"/>
              <a:gd name="connsiteX74" fmla="*/ 8877 w 10000"/>
              <a:gd name="connsiteY74" fmla="*/ 4670 h 10084"/>
              <a:gd name="connsiteX75" fmla="*/ 9003 w 10000"/>
              <a:gd name="connsiteY75" fmla="*/ 4435 h 10084"/>
              <a:gd name="connsiteX76" fmla="*/ 9120 w 10000"/>
              <a:gd name="connsiteY76" fmla="*/ 4196 h 10084"/>
              <a:gd name="connsiteX77" fmla="*/ 9224 w 10000"/>
              <a:gd name="connsiteY77" fmla="*/ 3956 h 10084"/>
              <a:gd name="connsiteX78" fmla="*/ 9330 w 10000"/>
              <a:gd name="connsiteY78" fmla="*/ 3711 h 10084"/>
              <a:gd name="connsiteX79" fmla="*/ 9425 w 10000"/>
              <a:gd name="connsiteY79" fmla="*/ 3461 h 10084"/>
              <a:gd name="connsiteX80" fmla="*/ 9520 w 10000"/>
              <a:gd name="connsiteY80" fmla="*/ 3214 h 10084"/>
              <a:gd name="connsiteX81" fmla="*/ 9604 w 10000"/>
              <a:gd name="connsiteY81" fmla="*/ 2960 h 10084"/>
              <a:gd name="connsiteX82" fmla="*/ 9684 w 10000"/>
              <a:gd name="connsiteY82" fmla="*/ 2703 h 10084"/>
              <a:gd name="connsiteX83" fmla="*/ 9758 w 10000"/>
              <a:gd name="connsiteY83" fmla="*/ 2445 h 10084"/>
              <a:gd name="connsiteX84" fmla="*/ 9831 w 10000"/>
              <a:gd name="connsiteY84" fmla="*/ 2189 h 10084"/>
              <a:gd name="connsiteX85" fmla="*/ 9892 w 10000"/>
              <a:gd name="connsiteY85" fmla="*/ 1929 h 10084"/>
              <a:gd name="connsiteX86" fmla="*/ 9951 w 10000"/>
              <a:gd name="connsiteY86" fmla="*/ 1664 h 10084"/>
              <a:gd name="connsiteX87" fmla="*/ 10000 w 10000"/>
              <a:gd name="connsiteY87" fmla="*/ 1397 h 10084"/>
              <a:gd name="connsiteX88" fmla="*/ 6011 w 10000"/>
              <a:gd name="connsiteY88" fmla="*/ 2142 h 10084"/>
              <a:gd name="connsiteX89" fmla="*/ 2680 w 10000"/>
              <a:gd name="connsiteY89" fmla="*/ 0 h 10084"/>
              <a:gd name="connsiteX0" fmla="*/ 2680 w 10000"/>
              <a:gd name="connsiteY0" fmla="*/ 0 h 10048"/>
              <a:gd name="connsiteX1" fmla="*/ 2680 w 10000"/>
              <a:gd name="connsiteY1" fmla="*/ 0 h 10048"/>
              <a:gd name="connsiteX2" fmla="*/ 2665 w 10000"/>
              <a:gd name="connsiteY2" fmla="*/ 114 h 10048"/>
              <a:gd name="connsiteX3" fmla="*/ 2642 w 10000"/>
              <a:gd name="connsiteY3" fmla="*/ 227 h 10048"/>
              <a:gd name="connsiteX4" fmla="*/ 2621 w 10000"/>
              <a:gd name="connsiteY4" fmla="*/ 342 h 10048"/>
              <a:gd name="connsiteX5" fmla="*/ 2594 w 10000"/>
              <a:gd name="connsiteY5" fmla="*/ 450 h 10048"/>
              <a:gd name="connsiteX6" fmla="*/ 2561 w 10000"/>
              <a:gd name="connsiteY6" fmla="*/ 559 h 10048"/>
              <a:gd name="connsiteX7" fmla="*/ 2530 w 10000"/>
              <a:gd name="connsiteY7" fmla="*/ 671 h 10048"/>
              <a:gd name="connsiteX8" fmla="*/ 2502 w 10000"/>
              <a:gd name="connsiteY8" fmla="*/ 777 h 10048"/>
              <a:gd name="connsiteX9" fmla="*/ 2468 w 10000"/>
              <a:gd name="connsiteY9" fmla="*/ 887 h 10048"/>
              <a:gd name="connsiteX10" fmla="*/ 2428 w 10000"/>
              <a:gd name="connsiteY10" fmla="*/ 993 h 10048"/>
              <a:gd name="connsiteX11" fmla="*/ 2386 w 10000"/>
              <a:gd name="connsiteY11" fmla="*/ 1097 h 10048"/>
              <a:gd name="connsiteX12" fmla="*/ 2347 w 10000"/>
              <a:gd name="connsiteY12" fmla="*/ 1204 h 10048"/>
              <a:gd name="connsiteX13" fmla="*/ 2299 w 10000"/>
              <a:gd name="connsiteY13" fmla="*/ 1310 h 10048"/>
              <a:gd name="connsiteX14" fmla="*/ 2248 w 10000"/>
              <a:gd name="connsiteY14" fmla="*/ 1406 h 10048"/>
              <a:gd name="connsiteX15" fmla="*/ 2200 w 10000"/>
              <a:gd name="connsiteY15" fmla="*/ 1507 h 10048"/>
              <a:gd name="connsiteX16" fmla="*/ 2149 w 10000"/>
              <a:gd name="connsiteY16" fmla="*/ 1607 h 10048"/>
              <a:gd name="connsiteX17" fmla="*/ 2092 w 10000"/>
              <a:gd name="connsiteY17" fmla="*/ 1706 h 10048"/>
              <a:gd name="connsiteX18" fmla="*/ 2041 w 10000"/>
              <a:gd name="connsiteY18" fmla="*/ 1805 h 10048"/>
              <a:gd name="connsiteX19" fmla="*/ 1981 w 10000"/>
              <a:gd name="connsiteY19" fmla="*/ 1900 h 10048"/>
              <a:gd name="connsiteX20" fmla="*/ 1919 w 10000"/>
              <a:gd name="connsiteY20" fmla="*/ 1989 h 10048"/>
              <a:gd name="connsiteX21" fmla="*/ 1854 w 10000"/>
              <a:gd name="connsiteY21" fmla="*/ 2081 h 10048"/>
              <a:gd name="connsiteX22" fmla="*/ 1794 w 10000"/>
              <a:gd name="connsiteY22" fmla="*/ 2171 h 10048"/>
              <a:gd name="connsiteX23" fmla="*/ 1725 w 10000"/>
              <a:gd name="connsiteY23" fmla="*/ 2268 h 10048"/>
              <a:gd name="connsiteX24" fmla="*/ 1656 w 10000"/>
              <a:gd name="connsiteY24" fmla="*/ 2353 h 10048"/>
              <a:gd name="connsiteX25" fmla="*/ 1583 w 10000"/>
              <a:gd name="connsiteY25" fmla="*/ 2433 h 10048"/>
              <a:gd name="connsiteX26" fmla="*/ 1509 w 10000"/>
              <a:gd name="connsiteY26" fmla="*/ 2523 h 10048"/>
              <a:gd name="connsiteX27" fmla="*/ 1435 w 10000"/>
              <a:gd name="connsiteY27" fmla="*/ 2606 h 10048"/>
              <a:gd name="connsiteX28" fmla="*/ 1356 w 10000"/>
              <a:gd name="connsiteY28" fmla="*/ 2686 h 10048"/>
              <a:gd name="connsiteX29" fmla="*/ 1279 w 10000"/>
              <a:gd name="connsiteY29" fmla="*/ 2772 h 10048"/>
              <a:gd name="connsiteX30" fmla="*/ 1200 w 10000"/>
              <a:gd name="connsiteY30" fmla="*/ 2849 h 10048"/>
              <a:gd name="connsiteX31" fmla="*/ 1113 w 10000"/>
              <a:gd name="connsiteY31" fmla="*/ 2926 h 10048"/>
              <a:gd name="connsiteX32" fmla="*/ 1033 w 10000"/>
              <a:gd name="connsiteY32" fmla="*/ 2999 h 10048"/>
              <a:gd name="connsiteX33" fmla="*/ 946 w 10000"/>
              <a:gd name="connsiteY33" fmla="*/ 3074 h 10048"/>
              <a:gd name="connsiteX34" fmla="*/ 862 w 10000"/>
              <a:gd name="connsiteY34" fmla="*/ 3145 h 10048"/>
              <a:gd name="connsiteX35" fmla="*/ 767 w 10000"/>
              <a:gd name="connsiteY35" fmla="*/ 3216 h 10048"/>
              <a:gd name="connsiteX36" fmla="*/ 679 w 10000"/>
              <a:gd name="connsiteY36" fmla="*/ 3281 h 10048"/>
              <a:gd name="connsiteX37" fmla="*/ 586 w 10000"/>
              <a:gd name="connsiteY37" fmla="*/ 3349 h 10048"/>
              <a:gd name="connsiteX38" fmla="*/ 492 w 10000"/>
              <a:gd name="connsiteY38" fmla="*/ 3413 h 10048"/>
              <a:gd name="connsiteX39" fmla="*/ 394 w 10000"/>
              <a:gd name="connsiteY39" fmla="*/ 3473 h 10048"/>
              <a:gd name="connsiteX40" fmla="*/ 298 w 10000"/>
              <a:gd name="connsiteY40" fmla="*/ 3537 h 10048"/>
              <a:gd name="connsiteX41" fmla="*/ 203 w 10000"/>
              <a:gd name="connsiteY41" fmla="*/ 3595 h 10048"/>
              <a:gd name="connsiteX42" fmla="*/ 101 w 10000"/>
              <a:gd name="connsiteY42" fmla="*/ 3650 h 10048"/>
              <a:gd name="connsiteX43" fmla="*/ 0 w 10000"/>
              <a:gd name="connsiteY43" fmla="*/ 3704 h 10048"/>
              <a:gd name="connsiteX44" fmla="*/ 187 w 10000"/>
              <a:gd name="connsiteY44" fmla="*/ 7509 h 10048"/>
              <a:gd name="connsiteX45" fmla="*/ 3386 w 10000"/>
              <a:gd name="connsiteY45" fmla="*/ 10048 h 10048"/>
              <a:gd name="connsiteX46" fmla="*/ 3689 w 10000"/>
              <a:gd name="connsiteY46" fmla="*/ 9880 h 10048"/>
              <a:gd name="connsiteX47" fmla="*/ 3930 w 10000"/>
              <a:gd name="connsiteY47" fmla="*/ 9746 h 10048"/>
              <a:gd name="connsiteX48" fmla="*/ 4165 w 10000"/>
              <a:gd name="connsiteY48" fmla="*/ 9613 h 10048"/>
              <a:gd name="connsiteX49" fmla="*/ 4397 w 10000"/>
              <a:gd name="connsiteY49" fmla="*/ 9473 h 10048"/>
              <a:gd name="connsiteX50" fmla="*/ 4628 w 10000"/>
              <a:gd name="connsiteY50" fmla="*/ 9327 h 10048"/>
              <a:gd name="connsiteX51" fmla="*/ 4845 w 10000"/>
              <a:gd name="connsiteY51" fmla="*/ 9182 h 10048"/>
              <a:gd name="connsiteX52" fmla="*/ 5065 w 10000"/>
              <a:gd name="connsiteY52" fmla="*/ 9024 h 10048"/>
              <a:gd name="connsiteX53" fmla="*/ 5285 w 10000"/>
              <a:gd name="connsiteY53" fmla="*/ 8871 h 10048"/>
              <a:gd name="connsiteX54" fmla="*/ 5494 w 10000"/>
              <a:gd name="connsiteY54" fmla="*/ 8709 h 10048"/>
              <a:gd name="connsiteX55" fmla="*/ 5708 w 10000"/>
              <a:gd name="connsiteY55" fmla="*/ 8542 h 10048"/>
              <a:gd name="connsiteX56" fmla="*/ 5911 w 10000"/>
              <a:gd name="connsiteY56" fmla="*/ 8368 h 10048"/>
              <a:gd name="connsiteX57" fmla="*/ 6115 w 10000"/>
              <a:gd name="connsiteY57" fmla="*/ 8197 h 10048"/>
              <a:gd name="connsiteX58" fmla="*/ 6310 w 10000"/>
              <a:gd name="connsiteY58" fmla="*/ 8022 h 10048"/>
              <a:gd name="connsiteX59" fmla="*/ 6508 w 10000"/>
              <a:gd name="connsiteY59" fmla="*/ 7836 h 10048"/>
              <a:gd name="connsiteX60" fmla="*/ 6698 w 10000"/>
              <a:gd name="connsiteY60" fmla="*/ 7645 h 10048"/>
              <a:gd name="connsiteX61" fmla="*/ 6882 w 10000"/>
              <a:gd name="connsiteY61" fmla="*/ 7462 h 10048"/>
              <a:gd name="connsiteX62" fmla="*/ 7064 w 10000"/>
              <a:gd name="connsiteY62" fmla="*/ 7267 h 10048"/>
              <a:gd name="connsiteX63" fmla="*/ 7239 w 10000"/>
              <a:gd name="connsiteY63" fmla="*/ 7068 h 10048"/>
              <a:gd name="connsiteX64" fmla="*/ 7414 w 10000"/>
              <a:gd name="connsiteY64" fmla="*/ 6869 h 10048"/>
              <a:gd name="connsiteX65" fmla="*/ 7582 w 10000"/>
              <a:gd name="connsiteY65" fmla="*/ 6666 h 10048"/>
              <a:gd name="connsiteX66" fmla="*/ 7750 w 10000"/>
              <a:gd name="connsiteY66" fmla="*/ 6454 h 10048"/>
              <a:gd name="connsiteX67" fmla="*/ 7905 w 10000"/>
              <a:gd name="connsiteY67" fmla="*/ 6242 h 10048"/>
              <a:gd name="connsiteX68" fmla="*/ 8057 w 10000"/>
              <a:gd name="connsiteY68" fmla="*/ 6027 h 10048"/>
              <a:gd name="connsiteX69" fmla="*/ 8211 w 10000"/>
              <a:gd name="connsiteY69" fmla="*/ 5812 h 10048"/>
              <a:gd name="connsiteX70" fmla="*/ 8354 w 10000"/>
              <a:gd name="connsiteY70" fmla="*/ 5587 h 10048"/>
              <a:gd name="connsiteX71" fmla="*/ 8493 w 10000"/>
              <a:gd name="connsiteY71" fmla="*/ 5366 h 10048"/>
              <a:gd name="connsiteX72" fmla="*/ 8628 w 10000"/>
              <a:gd name="connsiteY72" fmla="*/ 5138 h 10048"/>
              <a:gd name="connsiteX73" fmla="*/ 8754 w 10000"/>
              <a:gd name="connsiteY73" fmla="*/ 4904 h 10048"/>
              <a:gd name="connsiteX74" fmla="*/ 8877 w 10000"/>
              <a:gd name="connsiteY74" fmla="*/ 4670 h 10048"/>
              <a:gd name="connsiteX75" fmla="*/ 9003 w 10000"/>
              <a:gd name="connsiteY75" fmla="*/ 4435 h 10048"/>
              <a:gd name="connsiteX76" fmla="*/ 9120 w 10000"/>
              <a:gd name="connsiteY76" fmla="*/ 4196 h 10048"/>
              <a:gd name="connsiteX77" fmla="*/ 9224 w 10000"/>
              <a:gd name="connsiteY77" fmla="*/ 3956 h 10048"/>
              <a:gd name="connsiteX78" fmla="*/ 9330 w 10000"/>
              <a:gd name="connsiteY78" fmla="*/ 3711 h 10048"/>
              <a:gd name="connsiteX79" fmla="*/ 9425 w 10000"/>
              <a:gd name="connsiteY79" fmla="*/ 3461 h 10048"/>
              <a:gd name="connsiteX80" fmla="*/ 9520 w 10000"/>
              <a:gd name="connsiteY80" fmla="*/ 3214 h 10048"/>
              <a:gd name="connsiteX81" fmla="*/ 9604 w 10000"/>
              <a:gd name="connsiteY81" fmla="*/ 2960 h 10048"/>
              <a:gd name="connsiteX82" fmla="*/ 9684 w 10000"/>
              <a:gd name="connsiteY82" fmla="*/ 2703 h 10048"/>
              <a:gd name="connsiteX83" fmla="*/ 9758 w 10000"/>
              <a:gd name="connsiteY83" fmla="*/ 2445 h 10048"/>
              <a:gd name="connsiteX84" fmla="*/ 9831 w 10000"/>
              <a:gd name="connsiteY84" fmla="*/ 2189 h 10048"/>
              <a:gd name="connsiteX85" fmla="*/ 9892 w 10000"/>
              <a:gd name="connsiteY85" fmla="*/ 1929 h 10048"/>
              <a:gd name="connsiteX86" fmla="*/ 9951 w 10000"/>
              <a:gd name="connsiteY86" fmla="*/ 1664 h 10048"/>
              <a:gd name="connsiteX87" fmla="*/ 10000 w 10000"/>
              <a:gd name="connsiteY87" fmla="*/ 1397 h 10048"/>
              <a:gd name="connsiteX88" fmla="*/ 6011 w 10000"/>
              <a:gd name="connsiteY88" fmla="*/ 2142 h 10048"/>
              <a:gd name="connsiteX89" fmla="*/ 2680 w 10000"/>
              <a:gd name="connsiteY89" fmla="*/ 0 h 10048"/>
              <a:gd name="connsiteX0" fmla="*/ 2642 w 10000"/>
              <a:gd name="connsiteY0" fmla="*/ 0 h 11448"/>
              <a:gd name="connsiteX1" fmla="*/ 2680 w 10000"/>
              <a:gd name="connsiteY1" fmla="*/ 1400 h 11448"/>
              <a:gd name="connsiteX2" fmla="*/ 2665 w 10000"/>
              <a:gd name="connsiteY2" fmla="*/ 1514 h 11448"/>
              <a:gd name="connsiteX3" fmla="*/ 2642 w 10000"/>
              <a:gd name="connsiteY3" fmla="*/ 1627 h 11448"/>
              <a:gd name="connsiteX4" fmla="*/ 2621 w 10000"/>
              <a:gd name="connsiteY4" fmla="*/ 1742 h 11448"/>
              <a:gd name="connsiteX5" fmla="*/ 2594 w 10000"/>
              <a:gd name="connsiteY5" fmla="*/ 1850 h 11448"/>
              <a:gd name="connsiteX6" fmla="*/ 2561 w 10000"/>
              <a:gd name="connsiteY6" fmla="*/ 1959 h 11448"/>
              <a:gd name="connsiteX7" fmla="*/ 2530 w 10000"/>
              <a:gd name="connsiteY7" fmla="*/ 2071 h 11448"/>
              <a:gd name="connsiteX8" fmla="*/ 2502 w 10000"/>
              <a:gd name="connsiteY8" fmla="*/ 2177 h 11448"/>
              <a:gd name="connsiteX9" fmla="*/ 2468 w 10000"/>
              <a:gd name="connsiteY9" fmla="*/ 2287 h 11448"/>
              <a:gd name="connsiteX10" fmla="*/ 2428 w 10000"/>
              <a:gd name="connsiteY10" fmla="*/ 2393 h 11448"/>
              <a:gd name="connsiteX11" fmla="*/ 2386 w 10000"/>
              <a:gd name="connsiteY11" fmla="*/ 2497 h 11448"/>
              <a:gd name="connsiteX12" fmla="*/ 2347 w 10000"/>
              <a:gd name="connsiteY12" fmla="*/ 2604 h 11448"/>
              <a:gd name="connsiteX13" fmla="*/ 2299 w 10000"/>
              <a:gd name="connsiteY13" fmla="*/ 2710 h 11448"/>
              <a:gd name="connsiteX14" fmla="*/ 2248 w 10000"/>
              <a:gd name="connsiteY14" fmla="*/ 2806 h 11448"/>
              <a:gd name="connsiteX15" fmla="*/ 2200 w 10000"/>
              <a:gd name="connsiteY15" fmla="*/ 2907 h 11448"/>
              <a:gd name="connsiteX16" fmla="*/ 2149 w 10000"/>
              <a:gd name="connsiteY16" fmla="*/ 3007 h 11448"/>
              <a:gd name="connsiteX17" fmla="*/ 2092 w 10000"/>
              <a:gd name="connsiteY17" fmla="*/ 3106 h 11448"/>
              <a:gd name="connsiteX18" fmla="*/ 2041 w 10000"/>
              <a:gd name="connsiteY18" fmla="*/ 3205 h 11448"/>
              <a:gd name="connsiteX19" fmla="*/ 1981 w 10000"/>
              <a:gd name="connsiteY19" fmla="*/ 3300 h 11448"/>
              <a:gd name="connsiteX20" fmla="*/ 1919 w 10000"/>
              <a:gd name="connsiteY20" fmla="*/ 3389 h 11448"/>
              <a:gd name="connsiteX21" fmla="*/ 1854 w 10000"/>
              <a:gd name="connsiteY21" fmla="*/ 3481 h 11448"/>
              <a:gd name="connsiteX22" fmla="*/ 1794 w 10000"/>
              <a:gd name="connsiteY22" fmla="*/ 3571 h 11448"/>
              <a:gd name="connsiteX23" fmla="*/ 1725 w 10000"/>
              <a:gd name="connsiteY23" fmla="*/ 3668 h 11448"/>
              <a:gd name="connsiteX24" fmla="*/ 1656 w 10000"/>
              <a:gd name="connsiteY24" fmla="*/ 3753 h 11448"/>
              <a:gd name="connsiteX25" fmla="*/ 1583 w 10000"/>
              <a:gd name="connsiteY25" fmla="*/ 3833 h 11448"/>
              <a:gd name="connsiteX26" fmla="*/ 1509 w 10000"/>
              <a:gd name="connsiteY26" fmla="*/ 3923 h 11448"/>
              <a:gd name="connsiteX27" fmla="*/ 1435 w 10000"/>
              <a:gd name="connsiteY27" fmla="*/ 4006 h 11448"/>
              <a:gd name="connsiteX28" fmla="*/ 1356 w 10000"/>
              <a:gd name="connsiteY28" fmla="*/ 4086 h 11448"/>
              <a:gd name="connsiteX29" fmla="*/ 1279 w 10000"/>
              <a:gd name="connsiteY29" fmla="*/ 4172 h 11448"/>
              <a:gd name="connsiteX30" fmla="*/ 1200 w 10000"/>
              <a:gd name="connsiteY30" fmla="*/ 4249 h 11448"/>
              <a:gd name="connsiteX31" fmla="*/ 1113 w 10000"/>
              <a:gd name="connsiteY31" fmla="*/ 4326 h 11448"/>
              <a:gd name="connsiteX32" fmla="*/ 1033 w 10000"/>
              <a:gd name="connsiteY32" fmla="*/ 4399 h 11448"/>
              <a:gd name="connsiteX33" fmla="*/ 946 w 10000"/>
              <a:gd name="connsiteY33" fmla="*/ 4474 h 11448"/>
              <a:gd name="connsiteX34" fmla="*/ 862 w 10000"/>
              <a:gd name="connsiteY34" fmla="*/ 4545 h 11448"/>
              <a:gd name="connsiteX35" fmla="*/ 767 w 10000"/>
              <a:gd name="connsiteY35" fmla="*/ 4616 h 11448"/>
              <a:gd name="connsiteX36" fmla="*/ 679 w 10000"/>
              <a:gd name="connsiteY36" fmla="*/ 4681 h 11448"/>
              <a:gd name="connsiteX37" fmla="*/ 586 w 10000"/>
              <a:gd name="connsiteY37" fmla="*/ 4749 h 11448"/>
              <a:gd name="connsiteX38" fmla="*/ 492 w 10000"/>
              <a:gd name="connsiteY38" fmla="*/ 4813 h 11448"/>
              <a:gd name="connsiteX39" fmla="*/ 394 w 10000"/>
              <a:gd name="connsiteY39" fmla="*/ 4873 h 11448"/>
              <a:gd name="connsiteX40" fmla="*/ 298 w 10000"/>
              <a:gd name="connsiteY40" fmla="*/ 4937 h 11448"/>
              <a:gd name="connsiteX41" fmla="*/ 203 w 10000"/>
              <a:gd name="connsiteY41" fmla="*/ 4995 h 11448"/>
              <a:gd name="connsiteX42" fmla="*/ 101 w 10000"/>
              <a:gd name="connsiteY42" fmla="*/ 5050 h 11448"/>
              <a:gd name="connsiteX43" fmla="*/ 0 w 10000"/>
              <a:gd name="connsiteY43" fmla="*/ 5104 h 11448"/>
              <a:gd name="connsiteX44" fmla="*/ 187 w 10000"/>
              <a:gd name="connsiteY44" fmla="*/ 8909 h 11448"/>
              <a:gd name="connsiteX45" fmla="*/ 3386 w 10000"/>
              <a:gd name="connsiteY45" fmla="*/ 11448 h 11448"/>
              <a:gd name="connsiteX46" fmla="*/ 3689 w 10000"/>
              <a:gd name="connsiteY46" fmla="*/ 11280 h 11448"/>
              <a:gd name="connsiteX47" fmla="*/ 3930 w 10000"/>
              <a:gd name="connsiteY47" fmla="*/ 11146 h 11448"/>
              <a:gd name="connsiteX48" fmla="*/ 4165 w 10000"/>
              <a:gd name="connsiteY48" fmla="*/ 11013 h 11448"/>
              <a:gd name="connsiteX49" fmla="*/ 4397 w 10000"/>
              <a:gd name="connsiteY49" fmla="*/ 10873 h 11448"/>
              <a:gd name="connsiteX50" fmla="*/ 4628 w 10000"/>
              <a:gd name="connsiteY50" fmla="*/ 10727 h 11448"/>
              <a:gd name="connsiteX51" fmla="*/ 4845 w 10000"/>
              <a:gd name="connsiteY51" fmla="*/ 10582 h 11448"/>
              <a:gd name="connsiteX52" fmla="*/ 5065 w 10000"/>
              <a:gd name="connsiteY52" fmla="*/ 10424 h 11448"/>
              <a:gd name="connsiteX53" fmla="*/ 5285 w 10000"/>
              <a:gd name="connsiteY53" fmla="*/ 10271 h 11448"/>
              <a:gd name="connsiteX54" fmla="*/ 5494 w 10000"/>
              <a:gd name="connsiteY54" fmla="*/ 10109 h 11448"/>
              <a:gd name="connsiteX55" fmla="*/ 5708 w 10000"/>
              <a:gd name="connsiteY55" fmla="*/ 9942 h 11448"/>
              <a:gd name="connsiteX56" fmla="*/ 5911 w 10000"/>
              <a:gd name="connsiteY56" fmla="*/ 9768 h 11448"/>
              <a:gd name="connsiteX57" fmla="*/ 6115 w 10000"/>
              <a:gd name="connsiteY57" fmla="*/ 9597 h 11448"/>
              <a:gd name="connsiteX58" fmla="*/ 6310 w 10000"/>
              <a:gd name="connsiteY58" fmla="*/ 9422 h 11448"/>
              <a:gd name="connsiteX59" fmla="*/ 6508 w 10000"/>
              <a:gd name="connsiteY59" fmla="*/ 9236 h 11448"/>
              <a:gd name="connsiteX60" fmla="*/ 6698 w 10000"/>
              <a:gd name="connsiteY60" fmla="*/ 9045 h 11448"/>
              <a:gd name="connsiteX61" fmla="*/ 6882 w 10000"/>
              <a:gd name="connsiteY61" fmla="*/ 8862 h 11448"/>
              <a:gd name="connsiteX62" fmla="*/ 7064 w 10000"/>
              <a:gd name="connsiteY62" fmla="*/ 8667 h 11448"/>
              <a:gd name="connsiteX63" fmla="*/ 7239 w 10000"/>
              <a:gd name="connsiteY63" fmla="*/ 8468 h 11448"/>
              <a:gd name="connsiteX64" fmla="*/ 7414 w 10000"/>
              <a:gd name="connsiteY64" fmla="*/ 8269 h 11448"/>
              <a:gd name="connsiteX65" fmla="*/ 7582 w 10000"/>
              <a:gd name="connsiteY65" fmla="*/ 8066 h 11448"/>
              <a:gd name="connsiteX66" fmla="*/ 7750 w 10000"/>
              <a:gd name="connsiteY66" fmla="*/ 7854 h 11448"/>
              <a:gd name="connsiteX67" fmla="*/ 7905 w 10000"/>
              <a:gd name="connsiteY67" fmla="*/ 7642 h 11448"/>
              <a:gd name="connsiteX68" fmla="*/ 8057 w 10000"/>
              <a:gd name="connsiteY68" fmla="*/ 7427 h 11448"/>
              <a:gd name="connsiteX69" fmla="*/ 8211 w 10000"/>
              <a:gd name="connsiteY69" fmla="*/ 7212 h 11448"/>
              <a:gd name="connsiteX70" fmla="*/ 8354 w 10000"/>
              <a:gd name="connsiteY70" fmla="*/ 6987 h 11448"/>
              <a:gd name="connsiteX71" fmla="*/ 8493 w 10000"/>
              <a:gd name="connsiteY71" fmla="*/ 6766 h 11448"/>
              <a:gd name="connsiteX72" fmla="*/ 8628 w 10000"/>
              <a:gd name="connsiteY72" fmla="*/ 6538 h 11448"/>
              <a:gd name="connsiteX73" fmla="*/ 8754 w 10000"/>
              <a:gd name="connsiteY73" fmla="*/ 6304 h 11448"/>
              <a:gd name="connsiteX74" fmla="*/ 8877 w 10000"/>
              <a:gd name="connsiteY74" fmla="*/ 6070 h 11448"/>
              <a:gd name="connsiteX75" fmla="*/ 9003 w 10000"/>
              <a:gd name="connsiteY75" fmla="*/ 5835 h 11448"/>
              <a:gd name="connsiteX76" fmla="*/ 9120 w 10000"/>
              <a:gd name="connsiteY76" fmla="*/ 5596 h 11448"/>
              <a:gd name="connsiteX77" fmla="*/ 9224 w 10000"/>
              <a:gd name="connsiteY77" fmla="*/ 5356 h 11448"/>
              <a:gd name="connsiteX78" fmla="*/ 9330 w 10000"/>
              <a:gd name="connsiteY78" fmla="*/ 5111 h 11448"/>
              <a:gd name="connsiteX79" fmla="*/ 9425 w 10000"/>
              <a:gd name="connsiteY79" fmla="*/ 4861 h 11448"/>
              <a:gd name="connsiteX80" fmla="*/ 9520 w 10000"/>
              <a:gd name="connsiteY80" fmla="*/ 4614 h 11448"/>
              <a:gd name="connsiteX81" fmla="*/ 9604 w 10000"/>
              <a:gd name="connsiteY81" fmla="*/ 4360 h 11448"/>
              <a:gd name="connsiteX82" fmla="*/ 9684 w 10000"/>
              <a:gd name="connsiteY82" fmla="*/ 4103 h 11448"/>
              <a:gd name="connsiteX83" fmla="*/ 9758 w 10000"/>
              <a:gd name="connsiteY83" fmla="*/ 3845 h 11448"/>
              <a:gd name="connsiteX84" fmla="*/ 9831 w 10000"/>
              <a:gd name="connsiteY84" fmla="*/ 3589 h 11448"/>
              <a:gd name="connsiteX85" fmla="*/ 9892 w 10000"/>
              <a:gd name="connsiteY85" fmla="*/ 3329 h 11448"/>
              <a:gd name="connsiteX86" fmla="*/ 9951 w 10000"/>
              <a:gd name="connsiteY86" fmla="*/ 3064 h 11448"/>
              <a:gd name="connsiteX87" fmla="*/ 10000 w 10000"/>
              <a:gd name="connsiteY87" fmla="*/ 2797 h 11448"/>
              <a:gd name="connsiteX88" fmla="*/ 6011 w 10000"/>
              <a:gd name="connsiteY88" fmla="*/ 3542 h 11448"/>
              <a:gd name="connsiteX89" fmla="*/ 2642 w 10000"/>
              <a:gd name="connsiteY89" fmla="*/ 0 h 11448"/>
              <a:gd name="connsiteX0" fmla="*/ 2705 w 10000"/>
              <a:gd name="connsiteY0" fmla="*/ 0 h 11460"/>
              <a:gd name="connsiteX1" fmla="*/ 2680 w 10000"/>
              <a:gd name="connsiteY1" fmla="*/ 1412 h 11460"/>
              <a:gd name="connsiteX2" fmla="*/ 2665 w 10000"/>
              <a:gd name="connsiteY2" fmla="*/ 1526 h 11460"/>
              <a:gd name="connsiteX3" fmla="*/ 2642 w 10000"/>
              <a:gd name="connsiteY3" fmla="*/ 1639 h 11460"/>
              <a:gd name="connsiteX4" fmla="*/ 2621 w 10000"/>
              <a:gd name="connsiteY4" fmla="*/ 1754 h 11460"/>
              <a:gd name="connsiteX5" fmla="*/ 2594 w 10000"/>
              <a:gd name="connsiteY5" fmla="*/ 1862 h 11460"/>
              <a:gd name="connsiteX6" fmla="*/ 2561 w 10000"/>
              <a:gd name="connsiteY6" fmla="*/ 1971 h 11460"/>
              <a:gd name="connsiteX7" fmla="*/ 2530 w 10000"/>
              <a:gd name="connsiteY7" fmla="*/ 2083 h 11460"/>
              <a:gd name="connsiteX8" fmla="*/ 2502 w 10000"/>
              <a:gd name="connsiteY8" fmla="*/ 2189 h 11460"/>
              <a:gd name="connsiteX9" fmla="*/ 2468 w 10000"/>
              <a:gd name="connsiteY9" fmla="*/ 2299 h 11460"/>
              <a:gd name="connsiteX10" fmla="*/ 2428 w 10000"/>
              <a:gd name="connsiteY10" fmla="*/ 2405 h 11460"/>
              <a:gd name="connsiteX11" fmla="*/ 2386 w 10000"/>
              <a:gd name="connsiteY11" fmla="*/ 2509 h 11460"/>
              <a:gd name="connsiteX12" fmla="*/ 2347 w 10000"/>
              <a:gd name="connsiteY12" fmla="*/ 2616 h 11460"/>
              <a:gd name="connsiteX13" fmla="*/ 2299 w 10000"/>
              <a:gd name="connsiteY13" fmla="*/ 2722 h 11460"/>
              <a:gd name="connsiteX14" fmla="*/ 2248 w 10000"/>
              <a:gd name="connsiteY14" fmla="*/ 2818 h 11460"/>
              <a:gd name="connsiteX15" fmla="*/ 2200 w 10000"/>
              <a:gd name="connsiteY15" fmla="*/ 2919 h 11460"/>
              <a:gd name="connsiteX16" fmla="*/ 2149 w 10000"/>
              <a:gd name="connsiteY16" fmla="*/ 3019 h 11460"/>
              <a:gd name="connsiteX17" fmla="*/ 2092 w 10000"/>
              <a:gd name="connsiteY17" fmla="*/ 3118 h 11460"/>
              <a:gd name="connsiteX18" fmla="*/ 2041 w 10000"/>
              <a:gd name="connsiteY18" fmla="*/ 3217 h 11460"/>
              <a:gd name="connsiteX19" fmla="*/ 1981 w 10000"/>
              <a:gd name="connsiteY19" fmla="*/ 3312 h 11460"/>
              <a:gd name="connsiteX20" fmla="*/ 1919 w 10000"/>
              <a:gd name="connsiteY20" fmla="*/ 3401 h 11460"/>
              <a:gd name="connsiteX21" fmla="*/ 1854 w 10000"/>
              <a:gd name="connsiteY21" fmla="*/ 3493 h 11460"/>
              <a:gd name="connsiteX22" fmla="*/ 1794 w 10000"/>
              <a:gd name="connsiteY22" fmla="*/ 3583 h 11460"/>
              <a:gd name="connsiteX23" fmla="*/ 1725 w 10000"/>
              <a:gd name="connsiteY23" fmla="*/ 3680 h 11460"/>
              <a:gd name="connsiteX24" fmla="*/ 1656 w 10000"/>
              <a:gd name="connsiteY24" fmla="*/ 3765 h 11460"/>
              <a:gd name="connsiteX25" fmla="*/ 1583 w 10000"/>
              <a:gd name="connsiteY25" fmla="*/ 3845 h 11460"/>
              <a:gd name="connsiteX26" fmla="*/ 1509 w 10000"/>
              <a:gd name="connsiteY26" fmla="*/ 3935 h 11460"/>
              <a:gd name="connsiteX27" fmla="*/ 1435 w 10000"/>
              <a:gd name="connsiteY27" fmla="*/ 4018 h 11460"/>
              <a:gd name="connsiteX28" fmla="*/ 1356 w 10000"/>
              <a:gd name="connsiteY28" fmla="*/ 4098 h 11460"/>
              <a:gd name="connsiteX29" fmla="*/ 1279 w 10000"/>
              <a:gd name="connsiteY29" fmla="*/ 4184 h 11460"/>
              <a:gd name="connsiteX30" fmla="*/ 1200 w 10000"/>
              <a:gd name="connsiteY30" fmla="*/ 4261 h 11460"/>
              <a:gd name="connsiteX31" fmla="*/ 1113 w 10000"/>
              <a:gd name="connsiteY31" fmla="*/ 4338 h 11460"/>
              <a:gd name="connsiteX32" fmla="*/ 1033 w 10000"/>
              <a:gd name="connsiteY32" fmla="*/ 4411 h 11460"/>
              <a:gd name="connsiteX33" fmla="*/ 946 w 10000"/>
              <a:gd name="connsiteY33" fmla="*/ 4486 h 11460"/>
              <a:gd name="connsiteX34" fmla="*/ 862 w 10000"/>
              <a:gd name="connsiteY34" fmla="*/ 4557 h 11460"/>
              <a:gd name="connsiteX35" fmla="*/ 767 w 10000"/>
              <a:gd name="connsiteY35" fmla="*/ 4628 h 11460"/>
              <a:gd name="connsiteX36" fmla="*/ 679 w 10000"/>
              <a:gd name="connsiteY36" fmla="*/ 4693 h 11460"/>
              <a:gd name="connsiteX37" fmla="*/ 586 w 10000"/>
              <a:gd name="connsiteY37" fmla="*/ 4761 h 11460"/>
              <a:gd name="connsiteX38" fmla="*/ 492 w 10000"/>
              <a:gd name="connsiteY38" fmla="*/ 4825 h 11460"/>
              <a:gd name="connsiteX39" fmla="*/ 394 w 10000"/>
              <a:gd name="connsiteY39" fmla="*/ 4885 h 11460"/>
              <a:gd name="connsiteX40" fmla="*/ 298 w 10000"/>
              <a:gd name="connsiteY40" fmla="*/ 4949 h 11460"/>
              <a:gd name="connsiteX41" fmla="*/ 203 w 10000"/>
              <a:gd name="connsiteY41" fmla="*/ 5007 h 11460"/>
              <a:gd name="connsiteX42" fmla="*/ 101 w 10000"/>
              <a:gd name="connsiteY42" fmla="*/ 5062 h 11460"/>
              <a:gd name="connsiteX43" fmla="*/ 0 w 10000"/>
              <a:gd name="connsiteY43" fmla="*/ 5116 h 11460"/>
              <a:gd name="connsiteX44" fmla="*/ 187 w 10000"/>
              <a:gd name="connsiteY44" fmla="*/ 8921 h 11460"/>
              <a:gd name="connsiteX45" fmla="*/ 3386 w 10000"/>
              <a:gd name="connsiteY45" fmla="*/ 11460 h 11460"/>
              <a:gd name="connsiteX46" fmla="*/ 3689 w 10000"/>
              <a:gd name="connsiteY46" fmla="*/ 11292 h 11460"/>
              <a:gd name="connsiteX47" fmla="*/ 3930 w 10000"/>
              <a:gd name="connsiteY47" fmla="*/ 11158 h 11460"/>
              <a:gd name="connsiteX48" fmla="*/ 4165 w 10000"/>
              <a:gd name="connsiteY48" fmla="*/ 11025 h 11460"/>
              <a:gd name="connsiteX49" fmla="*/ 4397 w 10000"/>
              <a:gd name="connsiteY49" fmla="*/ 10885 h 11460"/>
              <a:gd name="connsiteX50" fmla="*/ 4628 w 10000"/>
              <a:gd name="connsiteY50" fmla="*/ 10739 h 11460"/>
              <a:gd name="connsiteX51" fmla="*/ 4845 w 10000"/>
              <a:gd name="connsiteY51" fmla="*/ 10594 h 11460"/>
              <a:gd name="connsiteX52" fmla="*/ 5065 w 10000"/>
              <a:gd name="connsiteY52" fmla="*/ 10436 h 11460"/>
              <a:gd name="connsiteX53" fmla="*/ 5285 w 10000"/>
              <a:gd name="connsiteY53" fmla="*/ 10283 h 11460"/>
              <a:gd name="connsiteX54" fmla="*/ 5494 w 10000"/>
              <a:gd name="connsiteY54" fmla="*/ 10121 h 11460"/>
              <a:gd name="connsiteX55" fmla="*/ 5708 w 10000"/>
              <a:gd name="connsiteY55" fmla="*/ 9954 h 11460"/>
              <a:gd name="connsiteX56" fmla="*/ 5911 w 10000"/>
              <a:gd name="connsiteY56" fmla="*/ 9780 h 11460"/>
              <a:gd name="connsiteX57" fmla="*/ 6115 w 10000"/>
              <a:gd name="connsiteY57" fmla="*/ 9609 h 11460"/>
              <a:gd name="connsiteX58" fmla="*/ 6310 w 10000"/>
              <a:gd name="connsiteY58" fmla="*/ 9434 h 11460"/>
              <a:gd name="connsiteX59" fmla="*/ 6508 w 10000"/>
              <a:gd name="connsiteY59" fmla="*/ 9248 h 11460"/>
              <a:gd name="connsiteX60" fmla="*/ 6698 w 10000"/>
              <a:gd name="connsiteY60" fmla="*/ 9057 h 11460"/>
              <a:gd name="connsiteX61" fmla="*/ 6882 w 10000"/>
              <a:gd name="connsiteY61" fmla="*/ 8874 h 11460"/>
              <a:gd name="connsiteX62" fmla="*/ 7064 w 10000"/>
              <a:gd name="connsiteY62" fmla="*/ 8679 h 11460"/>
              <a:gd name="connsiteX63" fmla="*/ 7239 w 10000"/>
              <a:gd name="connsiteY63" fmla="*/ 8480 h 11460"/>
              <a:gd name="connsiteX64" fmla="*/ 7414 w 10000"/>
              <a:gd name="connsiteY64" fmla="*/ 8281 h 11460"/>
              <a:gd name="connsiteX65" fmla="*/ 7582 w 10000"/>
              <a:gd name="connsiteY65" fmla="*/ 8078 h 11460"/>
              <a:gd name="connsiteX66" fmla="*/ 7750 w 10000"/>
              <a:gd name="connsiteY66" fmla="*/ 7866 h 11460"/>
              <a:gd name="connsiteX67" fmla="*/ 7905 w 10000"/>
              <a:gd name="connsiteY67" fmla="*/ 7654 h 11460"/>
              <a:gd name="connsiteX68" fmla="*/ 8057 w 10000"/>
              <a:gd name="connsiteY68" fmla="*/ 7439 h 11460"/>
              <a:gd name="connsiteX69" fmla="*/ 8211 w 10000"/>
              <a:gd name="connsiteY69" fmla="*/ 7224 h 11460"/>
              <a:gd name="connsiteX70" fmla="*/ 8354 w 10000"/>
              <a:gd name="connsiteY70" fmla="*/ 6999 h 11460"/>
              <a:gd name="connsiteX71" fmla="*/ 8493 w 10000"/>
              <a:gd name="connsiteY71" fmla="*/ 6778 h 11460"/>
              <a:gd name="connsiteX72" fmla="*/ 8628 w 10000"/>
              <a:gd name="connsiteY72" fmla="*/ 6550 h 11460"/>
              <a:gd name="connsiteX73" fmla="*/ 8754 w 10000"/>
              <a:gd name="connsiteY73" fmla="*/ 6316 h 11460"/>
              <a:gd name="connsiteX74" fmla="*/ 8877 w 10000"/>
              <a:gd name="connsiteY74" fmla="*/ 6082 h 11460"/>
              <a:gd name="connsiteX75" fmla="*/ 9003 w 10000"/>
              <a:gd name="connsiteY75" fmla="*/ 5847 h 11460"/>
              <a:gd name="connsiteX76" fmla="*/ 9120 w 10000"/>
              <a:gd name="connsiteY76" fmla="*/ 5608 h 11460"/>
              <a:gd name="connsiteX77" fmla="*/ 9224 w 10000"/>
              <a:gd name="connsiteY77" fmla="*/ 5368 h 11460"/>
              <a:gd name="connsiteX78" fmla="*/ 9330 w 10000"/>
              <a:gd name="connsiteY78" fmla="*/ 5123 h 11460"/>
              <a:gd name="connsiteX79" fmla="*/ 9425 w 10000"/>
              <a:gd name="connsiteY79" fmla="*/ 4873 h 11460"/>
              <a:gd name="connsiteX80" fmla="*/ 9520 w 10000"/>
              <a:gd name="connsiteY80" fmla="*/ 4626 h 11460"/>
              <a:gd name="connsiteX81" fmla="*/ 9604 w 10000"/>
              <a:gd name="connsiteY81" fmla="*/ 4372 h 11460"/>
              <a:gd name="connsiteX82" fmla="*/ 9684 w 10000"/>
              <a:gd name="connsiteY82" fmla="*/ 4115 h 11460"/>
              <a:gd name="connsiteX83" fmla="*/ 9758 w 10000"/>
              <a:gd name="connsiteY83" fmla="*/ 3857 h 11460"/>
              <a:gd name="connsiteX84" fmla="*/ 9831 w 10000"/>
              <a:gd name="connsiteY84" fmla="*/ 3601 h 11460"/>
              <a:gd name="connsiteX85" fmla="*/ 9892 w 10000"/>
              <a:gd name="connsiteY85" fmla="*/ 3341 h 11460"/>
              <a:gd name="connsiteX86" fmla="*/ 9951 w 10000"/>
              <a:gd name="connsiteY86" fmla="*/ 3076 h 11460"/>
              <a:gd name="connsiteX87" fmla="*/ 10000 w 10000"/>
              <a:gd name="connsiteY87" fmla="*/ 2809 h 11460"/>
              <a:gd name="connsiteX88" fmla="*/ 6011 w 10000"/>
              <a:gd name="connsiteY88" fmla="*/ 3554 h 11460"/>
              <a:gd name="connsiteX89" fmla="*/ 2705 w 10000"/>
              <a:gd name="connsiteY89" fmla="*/ 0 h 11460"/>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627 w 10000"/>
              <a:gd name="connsiteY88" fmla="*/ 408 h 11472"/>
              <a:gd name="connsiteX89" fmla="*/ 2667 w 10000"/>
              <a:gd name="connsiteY89" fmla="*/ 0 h 11472"/>
              <a:gd name="connsiteX0" fmla="*/ 2667 w 9952"/>
              <a:gd name="connsiteY0" fmla="*/ 1988 h 13460"/>
              <a:gd name="connsiteX1" fmla="*/ 2680 w 9952"/>
              <a:gd name="connsiteY1" fmla="*/ 3412 h 13460"/>
              <a:gd name="connsiteX2" fmla="*/ 2665 w 9952"/>
              <a:gd name="connsiteY2" fmla="*/ 3526 h 13460"/>
              <a:gd name="connsiteX3" fmla="*/ 2642 w 9952"/>
              <a:gd name="connsiteY3" fmla="*/ 3639 h 13460"/>
              <a:gd name="connsiteX4" fmla="*/ 2621 w 9952"/>
              <a:gd name="connsiteY4" fmla="*/ 3754 h 13460"/>
              <a:gd name="connsiteX5" fmla="*/ 2594 w 9952"/>
              <a:gd name="connsiteY5" fmla="*/ 3862 h 13460"/>
              <a:gd name="connsiteX6" fmla="*/ 2561 w 9952"/>
              <a:gd name="connsiteY6" fmla="*/ 3971 h 13460"/>
              <a:gd name="connsiteX7" fmla="*/ 2530 w 9952"/>
              <a:gd name="connsiteY7" fmla="*/ 4083 h 13460"/>
              <a:gd name="connsiteX8" fmla="*/ 2502 w 9952"/>
              <a:gd name="connsiteY8" fmla="*/ 4189 h 13460"/>
              <a:gd name="connsiteX9" fmla="*/ 2468 w 9952"/>
              <a:gd name="connsiteY9" fmla="*/ 4299 h 13460"/>
              <a:gd name="connsiteX10" fmla="*/ 2428 w 9952"/>
              <a:gd name="connsiteY10" fmla="*/ 4405 h 13460"/>
              <a:gd name="connsiteX11" fmla="*/ 2386 w 9952"/>
              <a:gd name="connsiteY11" fmla="*/ 4509 h 13460"/>
              <a:gd name="connsiteX12" fmla="*/ 2347 w 9952"/>
              <a:gd name="connsiteY12" fmla="*/ 4616 h 13460"/>
              <a:gd name="connsiteX13" fmla="*/ 2299 w 9952"/>
              <a:gd name="connsiteY13" fmla="*/ 4722 h 13460"/>
              <a:gd name="connsiteX14" fmla="*/ 2248 w 9952"/>
              <a:gd name="connsiteY14" fmla="*/ 4818 h 13460"/>
              <a:gd name="connsiteX15" fmla="*/ 2200 w 9952"/>
              <a:gd name="connsiteY15" fmla="*/ 4919 h 13460"/>
              <a:gd name="connsiteX16" fmla="*/ 2149 w 9952"/>
              <a:gd name="connsiteY16" fmla="*/ 5019 h 13460"/>
              <a:gd name="connsiteX17" fmla="*/ 2092 w 9952"/>
              <a:gd name="connsiteY17" fmla="*/ 5118 h 13460"/>
              <a:gd name="connsiteX18" fmla="*/ 2041 w 9952"/>
              <a:gd name="connsiteY18" fmla="*/ 5217 h 13460"/>
              <a:gd name="connsiteX19" fmla="*/ 1981 w 9952"/>
              <a:gd name="connsiteY19" fmla="*/ 5312 h 13460"/>
              <a:gd name="connsiteX20" fmla="*/ 1919 w 9952"/>
              <a:gd name="connsiteY20" fmla="*/ 5401 h 13460"/>
              <a:gd name="connsiteX21" fmla="*/ 1854 w 9952"/>
              <a:gd name="connsiteY21" fmla="*/ 5493 h 13460"/>
              <a:gd name="connsiteX22" fmla="*/ 1794 w 9952"/>
              <a:gd name="connsiteY22" fmla="*/ 5583 h 13460"/>
              <a:gd name="connsiteX23" fmla="*/ 1725 w 9952"/>
              <a:gd name="connsiteY23" fmla="*/ 5680 h 13460"/>
              <a:gd name="connsiteX24" fmla="*/ 1656 w 9952"/>
              <a:gd name="connsiteY24" fmla="*/ 5765 h 13460"/>
              <a:gd name="connsiteX25" fmla="*/ 1583 w 9952"/>
              <a:gd name="connsiteY25" fmla="*/ 5845 h 13460"/>
              <a:gd name="connsiteX26" fmla="*/ 1509 w 9952"/>
              <a:gd name="connsiteY26" fmla="*/ 5935 h 13460"/>
              <a:gd name="connsiteX27" fmla="*/ 1435 w 9952"/>
              <a:gd name="connsiteY27" fmla="*/ 6018 h 13460"/>
              <a:gd name="connsiteX28" fmla="*/ 1356 w 9952"/>
              <a:gd name="connsiteY28" fmla="*/ 6098 h 13460"/>
              <a:gd name="connsiteX29" fmla="*/ 1279 w 9952"/>
              <a:gd name="connsiteY29" fmla="*/ 6184 h 13460"/>
              <a:gd name="connsiteX30" fmla="*/ 1200 w 9952"/>
              <a:gd name="connsiteY30" fmla="*/ 6261 h 13460"/>
              <a:gd name="connsiteX31" fmla="*/ 1113 w 9952"/>
              <a:gd name="connsiteY31" fmla="*/ 6338 h 13460"/>
              <a:gd name="connsiteX32" fmla="*/ 1033 w 9952"/>
              <a:gd name="connsiteY32" fmla="*/ 6411 h 13460"/>
              <a:gd name="connsiteX33" fmla="*/ 946 w 9952"/>
              <a:gd name="connsiteY33" fmla="*/ 6486 h 13460"/>
              <a:gd name="connsiteX34" fmla="*/ 862 w 9952"/>
              <a:gd name="connsiteY34" fmla="*/ 6557 h 13460"/>
              <a:gd name="connsiteX35" fmla="*/ 767 w 9952"/>
              <a:gd name="connsiteY35" fmla="*/ 6628 h 13460"/>
              <a:gd name="connsiteX36" fmla="*/ 679 w 9952"/>
              <a:gd name="connsiteY36" fmla="*/ 6693 h 13460"/>
              <a:gd name="connsiteX37" fmla="*/ 586 w 9952"/>
              <a:gd name="connsiteY37" fmla="*/ 6761 h 13460"/>
              <a:gd name="connsiteX38" fmla="*/ 492 w 9952"/>
              <a:gd name="connsiteY38" fmla="*/ 6825 h 13460"/>
              <a:gd name="connsiteX39" fmla="*/ 394 w 9952"/>
              <a:gd name="connsiteY39" fmla="*/ 6885 h 13460"/>
              <a:gd name="connsiteX40" fmla="*/ 298 w 9952"/>
              <a:gd name="connsiteY40" fmla="*/ 6949 h 13460"/>
              <a:gd name="connsiteX41" fmla="*/ 203 w 9952"/>
              <a:gd name="connsiteY41" fmla="*/ 7007 h 13460"/>
              <a:gd name="connsiteX42" fmla="*/ 101 w 9952"/>
              <a:gd name="connsiteY42" fmla="*/ 7062 h 13460"/>
              <a:gd name="connsiteX43" fmla="*/ 0 w 9952"/>
              <a:gd name="connsiteY43" fmla="*/ 7116 h 13460"/>
              <a:gd name="connsiteX44" fmla="*/ 187 w 9952"/>
              <a:gd name="connsiteY44" fmla="*/ 10921 h 13460"/>
              <a:gd name="connsiteX45" fmla="*/ 3386 w 9952"/>
              <a:gd name="connsiteY45" fmla="*/ 13460 h 13460"/>
              <a:gd name="connsiteX46" fmla="*/ 3689 w 9952"/>
              <a:gd name="connsiteY46" fmla="*/ 13292 h 13460"/>
              <a:gd name="connsiteX47" fmla="*/ 3930 w 9952"/>
              <a:gd name="connsiteY47" fmla="*/ 13158 h 13460"/>
              <a:gd name="connsiteX48" fmla="*/ 4165 w 9952"/>
              <a:gd name="connsiteY48" fmla="*/ 13025 h 13460"/>
              <a:gd name="connsiteX49" fmla="*/ 4397 w 9952"/>
              <a:gd name="connsiteY49" fmla="*/ 12885 h 13460"/>
              <a:gd name="connsiteX50" fmla="*/ 4628 w 9952"/>
              <a:gd name="connsiteY50" fmla="*/ 12739 h 13460"/>
              <a:gd name="connsiteX51" fmla="*/ 4845 w 9952"/>
              <a:gd name="connsiteY51" fmla="*/ 12594 h 13460"/>
              <a:gd name="connsiteX52" fmla="*/ 5065 w 9952"/>
              <a:gd name="connsiteY52" fmla="*/ 12436 h 13460"/>
              <a:gd name="connsiteX53" fmla="*/ 5285 w 9952"/>
              <a:gd name="connsiteY53" fmla="*/ 12283 h 13460"/>
              <a:gd name="connsiteX54" fmla="*/ 5494 w 9952"/>
              <a:gd name="connsiteY54" fmla="*/ 12121 h 13460"/>
              <a:gd name="connsiteX55" fmla="*/ 5708 w 9952"/>
              <a:gd name="connsiteY55" fmla="*/ 11954 h 13460"/>
              <a:gd name="connsiteX56" fmla="*/ 5911 w 9952"/>
              <a:gd name="connsiteY56" fmla="*/ 11780 h 13460"/>
              <a:gd name="connsiteX57" fmla="*/ 6115 w 9952"/>
              <a:gd name="connsiteY57" fmla="*/ 11609 h 13460"/>
              <a:gd name="connsiteX58" fmla="*/ 6310 w 9952"/>
              <a:gd name="connsiteY58" fmla="*/ 11434 h 13460"/>
              <a:gd name="connsiteX59" fmla="*/ 6508 w 9952"/>
              <a:gd name="connsiteY59" fmla="*/ 11248 h 13460"/>
              <a:gd name="connsiteX60" fmla="*/ 6698 w 9952"/>
              <a:gd name="connsiteY60" fmla="*/ 11057 h 13460"/>
              <a:gd name="connsiteX61" fmla="*/ 6882 w 9952"/>
              <a:gd name="connsiteY61" fmla="*/ 10874 h 13460"/>
              <a:gd name="connsiteX62" fmla="*/ 7064 w 9952"/>
              <a:gd name="connsiteY62" fmla="*/ 10679 h 13460"/>
              <a:gd name="connsiteX63" fmla="*/ 7239 w 9952"/>
              <a:gd name="connsiteY63" fmla="*/ 10480 h 13460"/>
              <a:gd name="connsiteX64" fmla="*/ 7414 w 9952"/>
              <a:gd name="connsiteY64" fmla="*/ 10281 h 13460"/>
              <a:gd name="connsiteX65" fmla="*/ 7582 w 9952"/>
              <a:gd name="connsiteY65" fmla="*/ 10078 h 13460"/>
              <a:gd name="connsiteX66" fmla="*/ 7750 w 9952"/>
              <a:gd name="connsiteY66" fmla="*/ 9866 h 13460"/>
              <a:gd name="connsiteX67" fmla="*/ 7905 w 9952"/>
              <a:gd name="connsiteY67" fmla="*/ 9654 h 13460"/>
              <a:gd name="connsiteX68" fmla="*/ 8057 w 9952"/>
              <a:gd name="connsiteY68" fmla="*/ 9439 h 13460"/>
              <a:gd name="connsiteX69" fmla="*/ 8211 w 9952"/>
              <a:gd name="connsiteY69" fmla="*/ 9224 h 13460"/>
              <a:gd name="connsiteX70" fmla="*/ 8354 w 9952"/>
              <a:gd name="connsiteY70" fmla="*/ 8999 h 13460"/>
              <a:gd name="connsiteX71" fmla="*/ 8493 w 9952"/>
              <a:gd name="connsiteY71" fmla="*/ 8778 h 13460"/>
              <a:gd name="connsiteX72" fmla="*/ 8628 w 9952"/>
              <a:gd name="connsiteY72" fmla="*/ 8550 h 13460"/>
              <a:gd name="connsiteX73" fmla="*/ 8754 w 9952"/>
              <a:gd name="connsiteY73" fmla="*/ 8316 h 13460"/>
              <a:gd name="connsiteX74" fmla="*/ 8877 w 9952"/>
              <a:gd name="connsiteY74" fmla="*/ 8082 h 13460"/>
              <a:gd name="connsiteX75" fmla="*/ 9003 w 9952"/>
              <a:gd name="connsiteY75" fmla="*/ 7847 h 13460"/>
              <a:gd name="connsiteX76" fmla="*/ 9120 w 9952"/>
              <a:gd name="connsiteY76" fmla="*/ 7608 h 13460"/>
              <a:gd name="connsiteX77" fmla="*/ 9224 w 9952"/>
              <a:gd name="connsiteY77" fmla="*/ 7368 h 13460"/>
              <a:gd name="connsiteX78" fmla="*/ 9330 w 9952"/>
              <a:gd name="connsiteY78" fmla="*/ 7123 h 13460"/>
              <a:gd name="connsiteX79" fmla="*/ 9425 w 9952"/>
              <a:gd name="connsiteY79" fmla="*/ 6873 h 13460"/>
              <a:gd name="connsiteX80" fmla="*/ 9520 w 9952"/>
              <a:gd name="connsiteY80" fmla="*/ 6626 h 13460"/>
              <a:gd name="connsiteX81" fmla="*/ 9604 w 9952"/>
              <a:gd name="connsiteY81" fmla="*/ 6372 h 13460"/>
              <a:gd name="connsiteX82" fmla="*/ 9684 w 9952"/>
              <a:gd name="connsiteY82" fmla="*/ 6115 h 13460"/>
              <a:gd name="connsiteX83" fmla="*/ 9758 w 9952"/>
              <a:gd name="connsiteY83" fmla="*/ 5857 h 13460"/>
              <a:gd name="connsiteX84" fmla="*/ 9831 w 9952"/>
              <a:gd name="connsiteY84" fmla="*/ 5601 h 13460"/>
              <a:gd name="connsiteX85" fmla="*/ 9892 w 9952"/>
              <a:gd name="connsiteY85" fmla="*/ 5341 h 13460"/>
              <a:gd name="connsiteX86" fmla="*/ 9951 w 9952"/>
              <a:gd name="connsiteY86" fmla="*/ 5076 h 13460"/>
              <a:gd name="connsiteX87" fmla="*/ 9862 w 9952"/>
              <a:gd name="connsiteY87" fmla="*/ 0 h 13460"/>
              <a:gd name="connsiteX88" fmla="*/ 6627 w 9952"/>
              <a:gd name="connsiteY88" fmla="*/ 2396 h 13460"/>
              <a:gd name="connsiteX89" fmla="*/ 2667 w 9952"/>
              <a:gd name="connsiteY89" fmla="*/ 1988 h 13460"/>
              <a:gd name="connsiteX0" fmla="*/ 2680 w 10208"/>
              <a:gd name="connsiteY0" fmla="*/ 1477 h 10000"/>
              <a:gd name="connsiteX1" fmla="*/ 2693 w 10208"/>
              <a:gd name="connsiteY1" fmla="*/ 2535 h 10000"/>
              <a:gd name="connsiteX2" fmla="*/ 2678 w 10208"/>
              <a:gd name="connsiteY2" fmla="*/ 2620 h 10000"/>
              <a:gd name="connsiteX3" fmla="*/ 2655 w 10208"/>
              <a:gd name="connsiteY3" fmla="*/ 2704 h 10000"/>
              <a:gd name="connsiteX4" fmla="*/ 2634 w 10208"/>
              <a:gd name="connsiteY4" fmla="*/ 2789 h 10000"/>
              <a:gd name="connsiteX5" fmla="*/ 2607 w 10208"/>
              <a:gd name="connsiteY5" fmla="*/ 2869 h 10000"/>
              <a:gd name="connsiteX6" fmla="*/ 2573 w 10208"/>
              <a:gd name="connsiteY6" fmla="*/ 2950 h 10000"/>
              <a:gd name="connsiteX7" fmla="*/ 2542 w 10208"/>
              <a:gd name="connsiteY7" fmla="*/ 3033 h 10000"/>
              <a:gd name="connsiteX8" fmla="*/ 2514 w 10208"/>
              <a:gd name="connsiteY8" fmla="*/ 3112 h 10000"/>
              <a:gd name="connsiteX9" fmla="*/ 2480 w 10208"/>
              <a:gd name="connsiteY9" fmla="*/ 3194 h 10000"/>
              <a:gd name="connsiteX10" fmla="*/ 2440 w 10208"/>
              <a:gd name="connsiteY10" fmla="*/ 3273 h 10000"/>
              <a:gd name="connsiteX11" fmla="*/ 2398 w 10208"/>
              <a:gd name="connsiteY11" fmla="*/ 3350 h 10000"/>
              <a:gd name="connsiteX12" fmla="*/ 2358 w 10208"/>
              <a:gd name="connsiteY12" fmla="*/ 3429 h 10000"/>
              <a:gd name="connsiteX13" fmla="*/ 2310 w 10208"/>
              <a:gd name="connsiteY13" fmla="*/ 3508 h 10000"/>
              <a:gd name="connsiteX14" fmla="*/ 2259 w 10208"/>
              <a:gd name="connsiteY14" fmla="*/ 3579 h 10000"/>
              <a:gd name="connsiteX15" fmla="*/ 2211 w 10208"/>
              <a:gd name="connsiteY15" fmla="*/ 3655 h 10000"/>
              <a:gd name="connsiteX16" fmla="*/ 2159 w 10208"/>
              <a:gd name="connsiteY16" fmla="*/ 3729 h 10000"/>
              <a:gd name="connsiteX17" fmla="*/ 2102 w 10208"/>
              <a:gd name="connsiteY17" fmla="*/ 3802 h 10000"/>
              <a:gd name="connsiteX18" fmla="*/ 2051 w 10208"/>
              <a:gd name="connsiteY18" fmla="*/ 3876 h 10000"/>
              <a:gd name="connsiteX19" fmla="*/ 1991 w 10208"/>
              <a:gd name="connsiteY19" fmla="*/ 3947 h 10000"/>
              <a:gd name="connsiteX20" fmla="*/ 1928 w 10208"/>
              <a:gd name="connsiteY20" fmla="*/ 4013 h 10000"/>
              <a:gd name="connsiteX21" fmla="*/ 1863 w 10208"/>
              <a:gd name="connsiteY21" fmla="*/ 4081 h 10000"/>
              <a:gd name="connsiteX22" fmla="*/ 1803 w 10208"/>
              <a:gd name="connsiteY22" fmla="*/ 4148 h 10000"/>
              <a:gd name="connsiteX23" fmla="*/ 1733 w 10208"/>
              <a:gd name="connsiteY23" fmla="*/ 4220 h 10000"/>
              <a:gd name="connsiteX24" fmla="*/ 1664 w 10208"/>
              <a:gd name="connsiteY24" fmla="*/ 4283 h 10000"/>
              <a:gd name="connsiteX25" fmla="*/ 1591 w 10208"/>
              <a:gd name="connsiteY25" fmla="*/ 4342 h 10000"/>
              <a:gd name="connsiteX26" fmla="*/ 1516 w 10208"/>
              <a:gd name="connsiteY26" fmla="*/ 4409 h 10000"/>
              <a:gd name="connsiteX27" fmla="*/ 1442 w 10208"/>
              <a:gd name="connsiteY27" fmla="*/ 4471 h 10000"/>
              <a:gd name="connsiteX28" fmla="*/ 1363 w 10208"/>
              <a:gd name="connsiteY28" fmla="*/ 4530 h 10000"/>
              <a:gd name="connsiteX29" fmla="*/ 1285 w 10208"/>
              <a:gd name="connsiteY29" fmla="*/ 4594 h 10000"/>
              <a:gd name="connsiteX30" fmla="*/ 1206 w 10208"/>
              <a:gd name="connsiteY30" fmla="*/ 4652 h 10000"/>
              <a:gd name="connsiteX31" fmla="*/ 1118 w 10208"/>
              <a:gd name="connsiteY31" fmla="*/ 4709 h 10000"/>
              <a:gd name="connsiteX32" fmla="*/ 1038 w 10208"/>
              <a:gd name="connsiteY32" fmla="*/ 4763 h 10000"/>
              <a:gd name="connsiteX33" fmla="*/ 951 w 10208"/>
              <a:gd name="connsiteY33" fmla="*/ 4819 h 10000"/>
              <a:gd name="connsiteX34" fmla="*/ 866 w 10208"/>
              <a:gd name="connsiteY34" fmla="*/ 4871 h 10000"/>
              <a:gd name="connsiteX35" fmla="*/ 771 w 10208"/>
              <a:gd name="connsiteY35" fmla="*/ 4924 h 10000"/>
              <a:gd name="connsiteX36" fmla="*/ 682 w 10208"/>
              <a:gd name="connsiteY36" fmla="*/ 4973 h 10000"/>
              <a:gd name="connsiteX37" fmla="*/ 589 w 10208"/>
              <a:gd name="connsiteY37" fmla="*/ 5023 h 10000"/>
              <a:gd name="connsiteX38" fmla="*/ 494 w 10208"/>
              <a:gd name="connsiteY38" fmla="*/ 5071 h 10000"/>
              <a:gd name="connsiteX39" fmla="*/ 396 w 10208"/>
              <a:gd name="connsiteY39" fmla="*/ 5115 h 10000"/>
              <a:gd name="connsiteX40" fmla="*/ 299 w 10208"/>
              <a:gd name="connsiteY40" fmla="*/ 5163 h 10000"/>
              <a:gd name="connsiteX41" fmla="*/ 204 w 10208"/>
              <a:gd name="connsiteY41" fmla="*/ 5206 h 10000"/>
              <a:gd name="connsiteX42" fmla="*/ 101 w 10208"/>
              <a:gd name="connsiteY42" fmla="*/ 5247 h 10000"/>
              <a:gd name="connsiteX43" fmla="*/ 0 w 10208"/>
              <a:gd name="connsiteY43" fmla="*/ 5287 h 10000"/>
              <a:gd name="connsiteX44" fmla="*/ 188 w 10208"/>
              <a:gd name="connsiteY44" fmla="*/ 8114 h 10000"/>
              <a:gd name="connsiteX45" fmla="*/ 3402 w 10208"/>
              <a:gd name="connsiteY45" fmla="*/ 10000 h 10000"/>
              <a:gd name="connsiteX46" fmla="*/ 3707 w 10208"/>
              <a:gd name="connsiteY46" fmla="*/ 9875 h 10000"/>
              <a:gd name="connsiteX47" fmla="*/ 3949 w 10208"/>
              <a:gd name="connsiteY47" fmla="*/ 9776 h 10000"/>
              <a:gd name="connsiteX48" fmla="*/ 4185 w 10208"/>
              <a:gd name="connsiteY48" fmla="*/ 9677 h 10000"/>
              <a:gd name="connsiteX49" fmla="*/ 4418 w 10208"/>
              <a:gd name="connsiteY49" fmla="*/ 9573 h 10000"/>
              <a:gd name="connsiteX50" fmla="*/ 4650 w 10208"/>
              <a:gd name="connsiteY50" fmla="*/ 9464 h 10000"/>
              <a:gd name="connsiteX51" fmla="*/ 4868 w 10208"/>
              <a:gd name="connsiteY51" fmla="*/ 9357 h 10000"/>
              <a:gd name="connsiteX52" fmla="*/ 5089 w 10208"/>
              <a:gd name="connsiteY52" fmla="*/ 9239 h 10000"/>
              <a:gd name="connsiteX53" fmla="*/ 5310 w 10208"/>
              <a:gd name="connsiteY53" fmla="*/ 9126 h 10000"/>
              <a:gd name="connsiteX54" fmla="*/ 5520 w 10208"/>
              <a:gd name="connsiteY54" fmla="*/ 9005 h 10000"/>
              <a:gd name="connsiteX55" fmla="*/ 5736 w 10208"/>
              <a:gd name="connsiteY55" fmla="*/ 8881 h 10000"/>
              <a:gd name="connsiteX56" fmla="*/ 5940 w 10208"/>
              <a:gd name="connsiteY56" fmla="*/ 8752 h 10000"/>
              <a:gd name="connsiteX57" fmla="*/ 6144 w 10208"/>
              <a:gd name="connsiteY57" fmla="*/ 8625 h 10000"/>
              <a:gd name="connsiteX58" fmla="*/ 6340 w 10208"/>
              <a:gd name="connsiteY58" fmla="*/ 8495 h 10000"/>
              <a:gd name="connsiteX59" fmla="*/ 6539 w 10208"/>
              <a:gd name="connsiteY59" fmla="*/ 8357 h 10000"/>
              <a:gd name="connsiteX60" fmla="*/ 6730 w 10208"/>
              <a:gd name="connsiteY60" fmla="*/ 8215 h 10000"/>
              <a:gd name="connsiteX61" fmla="*/ 6915 w 10208"/>
              <a:gd name="connsiteY61" fmla="*/ 8079 h 10000"/>
              <a:gd name="connsiteX62" fmla="*/ 7098 w 10208"/>
              <a:gd name="connsiteY62" fmla="*/ 7934 h 10000"/>
              <a:gd name="connsiteX63" fmla="*/ 7274 w 10208"/>
              <a:gd name="connsiteY63" fmla="*/ 7786 h 10000"/>
              <a:gd name="connsiteX64" fmla="*/ 7450 w 10208"/>
              <a:gd name="connsiteY64" fmla="*/ 7638 h 10000"/>
              <a:gd name="connsiteX65" fmla="*/ 7619 w 10208"/>
              <a:gd name="connsiteY65" fmla="*/ 7487 h 10000"/>
              <a:gd name="connsiteX66" fmla="*/ 7787 w 10208"/>
              <a:gd name="connsiteY66" fmla="*/ 7330 h 10000"/>
              <a:gd name="connsiteX67" fmla="*/ 7943 w 10208"/>
              <a:gd name="connsiteY67" fmla="*/ 7172 h 10000"/>
              <a:gd name="connsiteX68" fmla="*/ 8096 w 10208"/>
              <a:gd name="connsiteY68" fmla="*/ 7013 h 10000"/>
              <a:gd name="connsiteX69" fmla="*/ 8251 w 10208"/>
              <a:gd name="connsiteY69" fmla="*/ 6853 h 10000"/>
              <a:gd name="connsiteX70" fmla="*/ 8394 w 10208"/>
              <a:gd name="connsiteY70" fmla="*/ 6686 h 10000"/>
              <a:gd name="connsiteX71" fmla="*/ 8534 w 10208"/>
              <a:gd name="connsiteY71" fmla="*/ 6522 h 10000"/>
              <a:gd name="connsiteX72" fmla="*/ 8670 w 10208"/>
              <a:gd name="connsiteY72" fmla="*/ 6352 h 10000"/>
              <a:gd name="connsiteX73" fmla="*/ 8796 w 10208"/>
              <a:gd name="connsiteY73" fmla="*/ 6178 h 10000"/>
              <a:gd name="connsiteX74" fmla="*/ 8920 w 10208"/>
              <a:gd name="connsiteY74" fmla="*/ 6004 h 10000"/>
              <a:gd name="connsiteX75" fmla="*/ 9046 w 10208"/>
              <a:gd name="connsiteY75" fmla="*/ 5830 h 10000"/>
              <a:gd name="connsiteX76" fmla="*/ 9164 w 10208"/>
              <a:gd name="connsiteY76" fmla="*/ 5652 h 10000"/>
              <a:gd name="connsiteX77" fmla="*/ 9268 w 10208"/>
              <a:gd name="connsiteY77" fmla="*/ 5474 h 10000"/>
              <a:gd name="connsiteX78" fmla="*/ 9375 w 10208"/>
              <a:gd name="connsiteY78" fmla="*/ 5292 h 10000"/>
              <a:gd name="connsiteX79" fmla="*/ 9470 w 10208"/>
              <a:gd name="connsiteY79" fmla="*/ 5106 h 10000"/>
              <a:gd name="connsiteX80" fmla="*/ 9566 w 10208"/>
              <a:gd name="connsiteY80" fmla="*/ 4923 h 10000"/>
              <a:gd name="connsiteX81" fmla="*/ 9650 w 10208"/>
              <a:gd name="connsiteY81" fmla="*/ 4734 h 10000"/>
              <a:gd name="connsiteX82" fmla="*/ 9731 w 10208"/>
              <a:gd name="connsiteY82" fmla="*/ 4543 h 10000"/>
              <a:gd name="connsiteX83" fmla="*/ 9805 w 10208"/>
              <a:gd name="connsiteY83" fmla="*/ 4351 h 10000"/>
              <a:gd name="connsiteX84" fmla="*/ 9878 w 10208"/>
              <a:gd name="connsiteY84" fmla="*/ 4161 h 10000"/>
              <a:gd name="connsiteX85" fmla="*/ 9940 w 10208"/>
              <a:gd name="connsiteY85" fmla="*/ 3968 h 10000"/>
              <a:gd name="connsiteX86" fmla="*/ 9999 w 10208"/>
              <a:gd name="connsiteY86" fmla="*/ 3771 h 10000"/>
              <a:gd name="connsiteX87" fmla="*/ 9910 w 10208"/>
              <a:gd name="connsiteY87" fmla="*/ 0 h 10000"/>
              <a:gd name="connsiteX88" fmla="*/ 6659 w 10208"/>
              <a:gd name="connsiteY88" fmla="*/ 1780 h 10000"/>
              <a:gd name="connsiteX89" fmla="*/ 2680 w 10208"/>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705 w 10219"/>
              <a:gd name="connsiteY0" fmla="*/ 1566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705 w 10219"/>
              <a:gd name="connsiteY89" fmla="*/ 1566 h 10000"/>
              <a:gd name="connsiteX0" fmla="*/ 2680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68 h 10000"/>
              <a:gd name="connsiteX0" fmla="*/ 2680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68 h 10000"/>
              <a:gd name="connsiteX0" fmla="*/ 2718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718 w 10219"/>
              <a:gd name="connsiteY89" fmla="*/ 1468 h 10000"/>
              <a:gd name="connsiteX0" fmla="*/ 2680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219" h="10000">
                <a:moveTo>
                  <a:pt x="2680" y="1468"/>
                </a:moveTo>
                <a:cubicBezTo>
                  <a:pt x="2781" y="1833"/>
                  <a:pt x="2731" y="2224"/>
                  <a:pt x="2693" y="2535"/>
                </a:cubicBezTo>
                <a:cubicBezTo>
                  <a:pt x="2689" y="2562"/>
                  <a:pt x="2685" y="2591"/>
                  <a:pt x="2678" y="2620"/>
                </a:cubicBezTo>
                <a:cubicBezTo>
                  <a:pt x="2672" y="2648"/>
                  <a:pt x="2661" y="2675"/>
                  <a:pt x="2655" y="2704"/>
                </a:cubicBezTo>
                <a:cubicBezTo>
                  <a:pt x="2647" y="2734"/>
                  <a:pt x="2641" y="2760"/>
                  <a:pt x="2634" y="2789"/>
                </a:cubicBezTo>
                <a:cubicBezTo>
                  <a:pt x="2622" y="2815"/>
                  <a:pt x="2615" y="2843"/>
                  <a:pt x="2607" y="2869"/>
                </a:cubicBezTo>
                <a:cubicBezTo>
                  <a:pt x="2599" y="2896"/>
                  <a:pt x="2588" y="2924"/>
                  <a:pt x="2573" y="2950"/>
                </a:cubicBezTo>
                <a:cubicBezTo>
                  <a:pt x="2566" y="2979"/>
                  <a:pt x="2556" y="3005"/>
                  <a:pt x="2542" y="3033"/>
                </a:cubicBezTo>
                <a:cubicBezTo>
                  <a:pt x="2534" y="3060"/>
                  <a:pt x="2525" y="3087"/>
                  <a:pt x="2514" y="3112"/>
                </a:cubicBezTo>
                <a:cubicBezTo>
                  <a:pt x="2495" y="3140"/>
                  <a:pt x="2488" y="3168"/>
                  <a:pt x="2480" y="3194"/>
                </a:cubicBezTo>
                <a:cubicBezTo>
                  <a:pt x="2469" y="3221"/>
                  <a:pt x="2452" y="3247"/>
                  <a:pt x="2440" y="3273"/>
                </a:cubicBezTo>
                <a:cubicBezTo>
                  <a:pt x="2422" y="3299"/>
                  <a:pt x="2410" y="3324"/>
                  <a:pt x="2398" y="3350"/>
                </a:cubicBezTo>
                <a:cubicBezTo>
                  <a:pt x="2384" y="3377"/>
                  <a:pt x="2369" y="3402"/>
                  <a:pt x="2358" y="3429"/>
                </a:cubicBezTo>
                <a:cubicBezTo>
                  <a:pt x="2338" y="3456"/>
                  <a:pt x="2326" y="3481"/>
                  <a:pt x="2310" y="3508"/>
                </a:cubicBezTo>
                <a:cubicBezTo>
                  <a:pt x="2292" y="3532"/>
                  <a:pt x="2279" y="3556"/>
                  <a:pt x="2259" y="3579"/>
                </a:cubicBezTo>
                <a:cubicBezTo>
                  <a:pt x="2245" y="3603"/>
                  <a:pt x="2225" y="3629"/>
                  <a:pt x="2211" y="3655"/>
                </a:cubicBezTo>
                <a:cubicBezTo>
                  <a:pt x="2197" y="3677"/>
                  <a:pt x="2174" y="3703"/>
                  <a:pt x="2159" y="3729"/>
                </a:cubicBezTo>
                <a:cubicBezTo>
                  <a:pt x="2142" y="3753"/>
                  <a:pt x="2127" y="3778"/>
                  <a:pt x="2102" y="3802"/>
                </a:cubicBezTo>
                <a:cubicBezTo>
                  <a:pt x="2087" y="3825"/>
                  <a:pt x="2068" y="3851"/>
                  <a:pt x="2051" y="3876"/>
                </a:cubicBezTo>
                <a:cubicBezTo>
                  <a:pt x="2025" y="3896"/>
                  <a:pt x="2008" y="3924"/>
                  <a:pt x="1991" y="3947"/>
                </a:cubicBezTo>
                <a:cubicBezTo>
                  <a:pt x="1970" y="3967"/>
                  <a:pt x="1944" y="3989"/>
                  <a:pt x="1928" y="4013"/>
                </a:cubicBezTo>
                <a:cubicBezTo>
                  <a:pt x="1905" y="4037"/>
                  <a:pt x="1886" y="4059"/>
                  <a:pt x="1863" y="4081"/>
                </a:cubicBezTo>
                <a:cubicBezTo>
                  <a:pt x="1840" y="4104"/>
                  <a:pt x="1823" y="4127"/>
                  <a:pt x="1803" y="4148"/>
                </a:cubicBezTo>
                <a:cubicBezTo>
                  <a:pt x="1772" y="4172"/>
                  <a:pt x="1754" y="4195"/>
                  <a:pt x="1733" y="4220"/>
                </a:cubicBezTo>
                <a:cubicBezTo>
                  <a:pt x="1706" y="4240"/>
                  <a:pt x="1684" y="4260"/>
                  <a:pt x="1664" y="4283"/>
                </a:cubicBezTo>
                <a:cubicBezTo>
                  <a:pt x="1641" y="4303"/>
                  <a:pt x="1616" y="4323"/>
                  <a:pt x="1591" y="4342"/>
                </a:cubicBezTo>
                <a:cubicBezTo>
                  <a:pt x="1566" y="4366"/>
                  <a:pt x="1542" y="4386"/>
                  <a:pt x="1516" y="4409"/>
                </a:cubicBezTo>
                <a:cubicBezTo>
                  <a:pt x="1492" y="4431"/>
                  <a:pt x="1465" y="4449"/>
                  <a:pt x="1442" y="4471"/>
                </a:cubicBezTo>
                <a:cubicBezTo>
                  <a:pt x="1416" y="4491"/>
                  <a:pt x="1389" y="4510"/>
                  <a:pt x="1363" y="4530"/>
                </a:cubicBezTo>
                <a:cubicBezTo>
                  <a:pt x="1337" y="4552"/>
                  <a:pt x="1311" y="4574"/>
                  <a:pt x="1285" y="4594"/>
                </a:cubicBezTo>
                <a:cubicBezTo>
                  <a:pt x="1260" y="4609"/>
                  <a:pt x="1231" y="4632"/>
                  <a:pt x="1206" y="4652"/>
                </a:cubicBezTo>
                <a:cubicBezTo>
                  <a:pt x="1176" y="4669"/>
                  <a:pt x="1151" y="4689"/>
                  <a:pt x="1118" y="4709"/>
                </a:cubicBezTo>
                <a:cubicBezTo>
                  <a:pt x="1092" y="4726"/>
                  <a:pt x="1066" y="4747"/>
                  <a:pt x="1038" y="4763"/>
                </a:cubicBezTo>
                <a:cubicBezTo>
                  <a:pt x="1011" y="4783"/>
                  <a:pt x="979" y="4799"/>
                  <a:pt x="951" y="4819"/>
                </a:cubicBezTo>
                <a:cubicBezTo>
                  <a:pt x="918" y="4835"/>
                  <a:pt x="890" y="4854"/>
                  <a:pt x="866" y="4871"/>
                </a:cubicBezTo>
                <a:cubicBezTo>
                  <a:pt x="832" y="4889"/>
                  <a:pt x="800" y="4908"/>
                  <a:pt x="771" y="4924"/>
                </a:cubicBezTo>
                <a:cubicBezTo>
                  <a:pt x="739" y="4942"/>
                  <a:pt x="712" y="4958"/>
                  <a:pt x="682" y="4973"/>
                </a:cubicBezTo>
                <a:cubicBezTo>
                  <a:pt x="650" y="4990"/>
                  <a:pt x="617" y="5007"/>
                  <a:pt x="589" y="5023"/>
                </a:cubicBezTo>
                <a:cubicBezTo>
                  <a:pt x="560" y="5040"/>
                  <a:pt x="524" y="5053"/>
                  <a:pt x="494" y="5071"/>
                </a:cubicBezTo>
                <a:cubicBezTo>
                  <a:pt x="461" y="5085"/>
                  <a:pt x="429" y="5103"/>
                  <a:pt x="396" y="5115"/>
                </a:cubicBezTo>
                <a:cubicBezTo>
                  <a:pt x="365" y="5133"/>
                  <a:pt x="336" y="5148"/>
                  <a:pt x="299" y="5163"/>
                </a:cubicBezTo>
                <a:cubicBezTo>
                  <a:pt x="271" y="5176"/>
                  <a:pt x="235" y="5192"/>
                  <a:pt x="204" y="5206"/>
                </a:cubicBezTo>
                <a:cubicBezTo>
                  <a:pt x="170" y="5221"/>
                  <a:pt x="135" y="5235"/>
                  <a:pt x="101" y="5247"/>
                </a:cubicBezTo>
                <a:cubicBezTo>
                  <a:pt x="67" y="5262"/>
                  <a:pt x="50" y="5270"/>
                  <a:pt x="0" y="5287"/>
                </a:cubicBezTo>
                <a:cubicBezTo>
                  <a:pt x="54" y="6233"/>
                  <a:pt x="128" y="7168"/>
                  <a:pt x="188" y="8114"/>
                </a:cubicBezTo>
                <a:lnTo>
                  <a:pt x="3402" y="10000"/>
                </a:lnTo>
                <a:lnTo>
                  <a:pt x="3707" y="9875"/>
                </a:lnTo>
                <a:cubicBezTo>
                  <a:pt x="3790" y="9843"/>
                  <a:pt x="3869" y="9809"/>
                  <a:pt x="3949" y="9776"/>
                </a:cubicBezTo>
                <a:lnTo>
                  <a:pt x="4185" y="9677"/>
                </a:lnTo>
                <a:lnTo>
                  <a:pt x="4418" y="9573"/>
                </a:lnTo>
                <a:lnTo>
                  <a:pt x="4650" y="9464"/>
                </a:lnTo>
                <a:lnTo>
                  <a:pt x="4868" y="9357"/>
                </a:lnTo>
                <a:cubicBezTo>
                  <a:pt x="4945" y="9318"/>
                  <a:pt x="5017" y="9279"/>
                  <a:pt x="5089" y="9239"/>
                </a:cubicBezTo>
                <a:lnTo>
                  <a:pt x="5310" y="9126"/>
                </a:lnTo>
                <a:cubicBezTo>
                  <a:pt x="5381" y="9084"/>
                  <a:pt x="5453" y="9045"/>
                  <a:pt x="5520" y="9005"/>
                </a:cubicBezTo>
                <a:lnTo>
                  <a:pt x="5736" y="8881"/>
                </a:lnTo>
                <a:lnTo>
                  <a:pt x="5940" y="8752"/>
                </a:lnTo>
                <a:cubicBezTo>
                  <a:pt x="6010" y="8712"/>
                  <a:pt x="6078" y="8666"/>
                  <a:pt x="6144" y="8625"/>
                </a:cubicBezTo>
                <a:cubicBezTo>
                  <a:pt x="6214" y="8582"/>
                  <a:pt x="6277" y="8537"/>
                  <a:pt x="6340" y="8495"/>
                </a:cubicBezTo>
                <a:lnTo>
                  <a:pt x="6539" y="8357"/>
                </a:lnTo>
                <a:cubicBezTo>
                  <a:pt x="6600" y="8308"/>
                  <a:pt x="6665" y="8263"/>
                  <a:pt x="6730" y="8215"/>
                </a:cubicBezTo>
                <a:lnTo>
                  <a:pt x="6915" y="8079"/>
                </a:lnTo>
                <a:lnTo>
                  <a:pt x="7098" y="7934"/>
                </a:lnTo>
                <a:cubicBezTo>
                  <a:pt x="7152" y="7883"/>
                  <a:pt x="7215" y="7836"/>
                  <a:pt x="7274" y="7786"/>
                </a:cubicBezTo>
                <a:cubicBezTo>
                  <a:pt x="7334" y="7736"/>
                  <a:pt x="7394" y="7688"/>
                  <a:pt x="7450" y="7638"/>
                </a:cubicBezTo>
                <a:cubicBezTo>
                  <a:pt x="7507" y="7589"/>
                  <a:pt x="7559" y="7536"/>
                  <a:pt x="7619" y="7487"/>
                </a:cubicBezTo>
                <a:cubicBezTo>
                  <a:pt x="7673" y="7432"/>
                  <a:pt x="7727" y="7380"/>
                  <a:pt x="7787" y="7330"/>
                </a:cubicBezTo>
                <a:cubicBezTo>
                  <a:pt x="7837" y="7277"/>
                  <a:pt x="7889" y="7229"/>
                  <a:pt x="7943" y="7172"/>
                </a:cubicBezTo>
                <a:cubicBezTo>
                  <a:pt x="7994" y="7119"/>
                  <a:pt x="8045" y="7068"/>
                  <a:pt x="8096" y="7013"/>
                </a:cubicBezTo>
                <a:cubicBezTo>
                  <a:pt x="8147" y="6958"/>
                  <a:pt x="8199" y="6906"/>
                  <a:pt x="8251" y="6853"/>
                </a:cubicBezTo>
                <a:cubicBezTo>
                  <a:pt x="8299" y="6797"/>
                  <a:pt x="8346" y="6741"/>
                  <a:pt x="8394" y="6686"/>
                </a:cubicBezTo>
                <a:cubicBezTo>
                  <a:pt x="8440" y="6632"/>
                  <a:pt x="8485" y="6574"/>
                  <a:pt x="8534" y="6522"/>
                </a:cubicBezTo>
                <a:cubicBezTo>
                  <a:pt x="8580" y="6465"/>
                  <a:pt x="8624" y="6409"/>
                  <a:pt x="8670" y="6352"/>
                </a:cubicBezTo>
                <a:cubicBezTo>
                  <a:pt x="8715" y="6294"/>
                  <a:pt x="8758" y="6238"/>
                  <a:pt x="8796" y="6178"/>
                </a:cubicBezTo>
                <a:cubicBezTo>
                  <a:pt x="8843" y="6119"/>
                  <a:pt x="8881" y="6062"/>
                  <a:pt x="8920" y="6004"/>
                </a:cubicBezTo>
                <a:cubicBezTo>
                  <a:pt x="8965" y="5945"/>
                  <a:pt x="9003" y="5890"/>
                  <a:pt x="9046" y="5830"/>
                </a:cubicBezTo>
                <a:cubicBezTo>
                  <a:pt x="9083" y="5771"/>
                  <a:pt x="9122" y="5713"/>
                  <a:pt x="9164" y="5652"/>
                </a:cubicBezTo>
                <a:cubicBezTo>
                  <a:pt x="9192" y="5591"/>
                  <a:pt x="9232" y="5533"/>
                  <a:pt x="9268" y="5474"/>
                </a:cubicBezTo>
                <a:cubicBezTo>
                  <a:pt x="9305" y="5415"/>
                  <a:pt x="9338" y="5351"/>
                  <a:pt x="9375" y="5292"/>
                </a:cubicBezTo>
                <a:cubicBezTo>
                  <a:pt x="9406" y="5230"/>
                  <a:pt x="9440" y="5168"/>
                  <a:pt x="9470" y="5106"/>
                </a:cubicBezTo>
                <a:cubicBezTo>
                  <a:pt x="9501" y="5044"/>
                  <a:pt x="9534" y="4984"/>
                  <a:pt x="9566" y="4923"/>
                </a:cubicBezTo>
                <a:cubicBezTo>
                  <a:pt x="9592" y="4860"/>
                  <a:pt x="9622" y="4796"/>
                  <a:pt x="9650" y="4734"/>
                </a:cubicBezTo>
                <a:cubicBezTo>
                  <a:pt x="9680" y="4670"/>
                  <a:pt x="9708" y="4605"/>
                  <a:pt x="9731" y="4543"/>
                </a:cubicBezTo>
                <a:cubicBezTo>
                  <a:pt x="9759" y="4481"/>
                  <a:pt x="9783" y="4416"/>
                  <a:pt x="9805" y="4351"/>
                </a:cubicBezTo>
                <a:cubicBezTo>
                  <a:pt x="9830" y="4289"/>
                  <a:pt x="9854" y="4225"/>
                  <a:pt x="9878" y="4161"/>
                </a:cubicBezTo>
                <a:cubicBezTo>
                  <a:pt x="9899" y="4097"/>
                  <a:pt x="9924" y="4033"/>
                  <a:pt x="9940" y="3968"/>
                </a:cubicBezTo>
                <a:cubicBezTo>
                  <a:pt x="9961" y="3903"/>
                  <a:pt x="9978" y="3837"/>
                  <a:pt x="9999" y="3771"/>
                </a:cubicBezTo>
                <a:cubicBezTo>
                  <a:pt x="10547" y="1812"/>
                  <a:pt x="9900" y="65"/>
                  <a:pt x="9910" y="0"/>
                </a:cubicBezTo>
                <a:lnTo>
                  <a:pt x="6659" y="1780"/>
                </a:lnTo>
                <a:lnTo>
                  <a:pt x="2680" y="1468"/>
                </a:lnTo>
                <a:close/>
              </a:path>
            </a:pathLst>
          </a:custGeom>
          <a:solidFill>
            <a:schemeClr val="accent3"/>
          </a:solidFill>
          <a:ln w="952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sng" strike="noStrike" kern="1200" cap="none" spc="0" normalizeH="0" baseline="0" noProof="0">
              <a:ln>
                <a:noFill/>
              </a:ln>
              <a:solidFill>
                <a:srgbClr val="000000"/>
              </a:solidFill>
              <a:effectLst/>
              <a:uLnTx/>
              <a:uFillTx/>
              <a:latin typeface="Arial"/>
              <a:ea typeface="ＭＳ Ｐゴシック"/>
              <a:cs typeface="+mn-cs"/>
            </a:endParaRPr>
          </a:p>
        </p:txBody>
      </p:sp>
      <p:sp>
        <p:nvSpPr>
          <p:cNvPr id="83" name="Rectangle 286">
            <a:extLst>
              <a:ext uri="{FF2B5EF4-FFF2-40B4-BE49-F238E27FC236}">
                <a16:creationId xmlns:a16="http://schemas.microsoft.com/office/drawing/2014/main" id="{BCBEA268-3AEC-4D6C-AFBA-47B138D0080E}"/>
              </a:ext>
            </a:extLst>
          </p:cNvPr>
          <p:cNvSpPr txBox="1">
            <a:spLocks noChangeArrowheads="1"/>
          </p:cNvSpPr>
          <p:nvPr>
            <p:custDataLst>
              <p:tags r:id="rId8"/>
            </p:custDataLst>
          </p:nvPr>
        </p:nvSpPr>
        <p:spPr bwMode="auto">
          <a:xfrm>
            <a:off x="6737534" y="4246356"/>
            <a:ext cx="1071747" cy="650814"/>
          </a:xfrm>
          <a:prstGeom prst="rect">
            <a:avLst/>
          </a:prstGeom>
          <a:solidFill>
            <a:schemeClr val="accent3"/>
          </a:solidFill>
          <a:ln>
            <a:noFill/>
          </a:ln>
          <a:effectLst/>
        </p:spPr>
        <p:txBody>
          <a:bodyPr vert="horz" wrap="square" lIns="0" tIns="0" rIns="0" bIns="73462"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Uitvoer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van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e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oed</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4" name="Rectangle 286">
            <a:extLst>
              <a:ext uri="{FF2B5EF4-FFF2-40B4-BE49-F238E27FC236}">
                <a16:creationId xmlns:a16="http://schemas.microsoft.com/office/drawing/2014/main" id="{D96A7531-5FC5-47D1-8A4D-297A8EBEE837}"/>
              </a:ext>
            </a:extLst>
          </p:cNvPr>
          <p:cNvSpPr txBox="1">
            <a:spLocks noChangeArrowheads="1"/>
          </p:cNvSpPr>
          <p:nvPr>
            <p:custDataLst>
              <p:tags r:id="rId9"/>
            </p:custDataLst>
          </p:nvPr>
        </p:nvSpPr>
        <p:spPr bwMode="auto">
          <a:xfrm>
            <a:off x="5270885" y="3555670"/>
            <a:ext cx="1271535" cy="369332"/>
          </a:xfrm>
          <a:prstGeom prst="rect">
            <a:avLst/>
          </a:prstGeom>
          <a:noFill/>
          <a:ln>
            <a:noFill/>
          </a:ln>
          <a:effec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E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oed</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grpSp>
        <p:nvGrpSpPr>
          <p:cNvPr id="20" name="Group 19">
            <a:extLst>
              <a:ext uri="{FF2B5EF4-FFF2-40B4-BE49-F238E27FC236}">
                <a16:creationId xmlns:a16="http://schemas.microsoft.com/office/drawing/2014/main" id="{1BD7A184-2D22-455A-80D2-A0CA0E01B0C3}"/>
              </a:ext>
            </a:extLst>
          </p:cNvPr>
          <p:cNvGrpSpPr/>
          <p:nvPr>
            <p:custDataLst>
              <p:tags r:id="rId10"/>
            </p:custDataLst>
          </p:nvPr>
        </p:nvGrpSpPr>
        <p:grpSpPr>
          <a:xfrm>
            <a:off x="554817" y="1590163"/>
            <a:ext cx="1832596" cy="1268528"/>
            <a:chOff x="543683" y="1317954"/>
            <a:chExt cx="1796114" cy="1243275"/>
          </a:xfrm>
          <a:solidFill>
            <a:schemeClr val="accent2">
              <a:lumMod val="20000"/>
              <a:lumOff val="80000"/>
            </a:schemeClr>
          </a:solidFill>
        </p:grpSpPr>
        <p:sp>
          <p:nvSpPr>
            <p:cNvPr id="86" name="Freeform 103">
              <a:extLst>
                <a:ext uri="{FF2B5EF4-FFF2-40B4-BE49-F238E27FC236}">
                  <a16:creationId xmlns:a16="http://schemas.microsoft.com/office/drawing/2014/main" id="{C69C05EC-A88F-4CCD-9170-AEEF5A57A03E}"/>
                </a:ext>
              </a:extLst>
            </p:cNvPr>
            <p:cNvSpPr/>
            <p:nvPr>
              <p:custDataLst>
                <p:tags r:id="rId19"/>
              </p:custDataLst>
            </p:nvPr>
          </p:nvSpPr>
          <p:spPr bwMode="auto">
            <a:xfrm>
              <a:off x="543683" y="1317954"/>
              <a:ext cx="1796114" cy="124327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160749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160749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160749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3557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3557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243557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251504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251504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51504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8798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8798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48798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00938" y="0"/>
                  </a:lnTo>
                  <a:lnTo>
                    <a:pt x="1828800" y="457200"/>
                  </a:lnTo>
                  <a:lnTo>
                    <a:pt x="1600938" y="914402"/>
                  </a:lnTo>
                  <a:lnTo>
                    <a:pt x="0" y="914400"/>
                  </a:lnTo>
                  <a:lnTo>
                    <a:pt x="0" y="457202"/>
                  </a:lnTo>
                  <a:close/>
                </a:path>
              </a:pathLst>
            </a:custGeom>
            <a:grpFill/>
            <a:ln w="9525">
              <a:solidFill>
                <a:srgbClr val="FFFFFF"/>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7" name="TextBox 4">
              <a:extLst>
                <a:ext uri="{FF2B5EF4-FFF2-40B4-BE49-F238E27FC236}">
                  <a16:creationId xmlns:a16="http://schemas.microsoft.com/office/drawing/2014/main" id="{612D8702-A6B4-4893-A069-3C9A2272DF0F}"/>
                </a:ext>
              </a:extLst>
            </p:cNvPr>
            <p:cNvSpPr txBox="1">
              <a:spLocks noChangeArrowheads="1"/>
            </p:cNvSpPr>
            <p:nvPr>
              <p:custDataLst>
                <p:tags r:id="rId20"/>
              </p:custDataLst>
            </p:nvPr>
          </p:nvSpPr>
          <p:spPr bwMode="auto">
            <a:xfrm>
              <a:off x="607183" y="1758601"/>
              <a:ext cx="1508824" cy="3619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Communicatie</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over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meer</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ur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werken</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grpSp>
      <p:grpSp>
        <p:nvGrpSpPr>
          <p:cNvPr id="88" name="Group 87">
            <a:extLst>
              <a:ext uri="{FF2B5EF4-FFF2-40B4-BE49-F238E27FC236}">
                <a16:creationId xmlns:a16="http://schemas.microsoft.com/office/drawing/2014/main" id="{B2EBE840-E84B-4FA5-99CB-4AB53C2BED42}"/>
              </a:ext>
            </a:extLst>
          </p:cNvPr>
          <p:cNvGrpSpPr/>
          <p:nvPr>
            <p:custDataLst>
              <p:tags r:id="rId11"/>
            </p:custDataLst>
          </p:nvPr>
        </p:nvGrpSpPr>
        <p:grpSpPr>
          <a:xfrm>
            <a:off x="3827196" y="1590163"/>
            <a:ext cx="2363095" cy="1268528"/>
            <a:chOff x="4434534" y="1635557"/>
            <a:chExt cx="2477736" cy="1330068"/>
          </a:xfrm>
          <a:solidFill>
            <a:schemeClr val="accent2">
              <a:lumMod val="60000"/>
              <a:lumOff val="40000"/>
            </a:schemeClr>
          </a:solidFill>
        </p:grpSpPr>
        <p:sp>
          <p:nvSpPr>
            <p:cNvPr id="89" name="Freeform 105">
              <a:extLst>
                <a:ext uri="{FF2B5EF4-FFF2-40B4-BE49-F238E27FC236}">
                  <a16:creationId xmlns:a16="http://schemas.microsoft.com/office/drawing/2014/main" id="{8BF6E785-0BE9-41AC-85A3-EF79A37187AA}"/>
                </a:ext>
              </a:extLst>
            </p:cNvPr>
            <p:cNvSpPr/>
            <p:nvPr>
              <p:custDataLst>
                <p:tags r:id="rId17"/>
              </p:custDataLst>
            </p:nvPr>
          </p:nvSpPr>
          <p:spPr bwMode="auto">
            <a:xfrm>
              <a:off x="4434534" y="1635557"/>
              <a:ext cx="2477736" cy="133006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76708 w 1828800"/>
                <a:gd name="connsiteY5" fmla="*/ 457202 h 914402"/>
                <a:gd name="connsiteX0" fmla="*/ 0 w 1828800"/>
                <a:gd name="connsiteY0" fmla="*/ 0 h 914402"/>
                <a:gd name="connsiteX1" fmla="*/ 1652091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76708 w 1828800"/>
                <a:gd name="connsiteY5" fmla="*/ 457202 h 914402"/>
                <a:gd name="connsiteX0" fmla="*/ 0 w 1828800"/>
                <a:gd name="connsiteY0" fmla="*/ 0 h 914402"/>
                <a:gd name="connsiteX1" fmla="*/ 1652091 w 1828800"/>
                <a:gd name="connsiteY1" fmla="*/ 0 h 914402"/>
                <a:gd name="connsiteX2" fmla="*/ 1828800 w 1828800"/>
                <a:gd name="connsiteY2" fmla="*/ 457200 h 914402"/>
                <a:gd name="connsiteX3" fmla="*/ 1652091 w 1828800"/>
                <a:gd name="connsiteY3" fmla="*/ 914402 h 914402"/>
                <a:gd name="connsiteX4" fmla="*/ 0 w 1828800"/>
                <a:gd name="connsiteY4" fmla="*/ 914400 h 914402"/>
                <a:gd name="connsiteX5" fmla="*/ 176708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52091" y="0"/>
                  </a:lnTo>
                  <a:lnTo>
                    <a:pt x="1828800" y="457200"/>
                  </a:lnTo>
                  <a:lnTo>
                    <a:pt x="1652091" y="914402"/>
                  </a:lnTo>
                  <a:lnTo>
                    <a:pt x="0" y="914400"/>
                  </a:lnTo>
                  <a:lnTo>
                    <a:pt x="176708" y="457202"/>
                  </a:lnTo>
                  <a:close/>
                </a:path>
              </a:pathLst>
            </a:custGeom>
            <a:grpFill/>
            <a:ln w="9525">
              <a:solidFill>
                <a:srgbClr val="FFFFFF"/>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0" name="TextBox 4">
              <a:extLst>
                <a:ext uri="{FF2B5EF4-FFF2-40B4-BE49-F238E27FC236}">
                  <a16:creationId xmlns:a16="http://schemas.microsoft.com/office/drawing/2014/main" id="{D401D524-1747-4865-A269-4C4C3831F8E1}"/>
                </a:ext>
              </a:extLst>
            </p:cNvPr>
            <p:cNvSpPr txBox="1">
              <a:spLocks noChangeArrowheads="1"/>
            </p:cNvSpPr>
            <p:nvPr>
              <p:custDataLst>
                <p:tags r:id="rId18"/>
              </p:custDataLst>
            </p:nvPr>
          </p:nvSpPr>
          <p:spPr bwMode="auto">
            <a:xfrm>
              <a:off x="4724746" y="2079612"/>
              <a:ext cx="1948111" cy="44196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731"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3C54"/>
                </a:buClr>
                <a:buSzTx/>
                <a:buFontTx/>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Aanleiding van een Goed Gesprek</a:t>
              </a:r>
            </a:p>
          </p:txBody>
        </p:sp>
      </p:grpSp>
      <p:grpSp>
        <p:nvGrpSpPr>
          <p:cNvPr id="91" name="Group 90">
            <a:extLst>
              <a:ext uri="{FF2B5EF4-FFF2-40B4-BE49-F238E27FC236}">
                <a16:creationId xmlns:a16="http://schemas.microsoft.com/office/drawing/2014/main" id="{7E6D68F1-CA86-4F7C-802A-5BA04CFE24E5}"/>
              </a:ext>
            </a:extLst>
          </p:cNvPr>
          <p:cNvGrpSpPr>
            <a:grpSpLocks/>
          </p:cNvGrpSpPr>
          <p:nvPr>
            <p:custDataLst>
              <p:tags r:id="rId12"/>
            </p:custDataLst>
          </p:nvPr>
        </p:nvGrpSpPr>
        <p:grpSpPr>
          <a:xfrm>
            <a:off x="3791985" y="2705180"/>
            <a:ext cx="3032385" cy="3293593"/>
            <a:chOff x="-10791149" y="-81067017"/>
            <a:chExt cx="107378459" cy="116628011"/>
          </a:xfrm>
          <a:solidFill>
            <a:schemeClr val="accent2"/>
          </a:solidFill>
        </p:grpSpPr>
        <p:sp>
          <p:nvSpPr>
            <p:cNvPr id="92" name="Freeform 4">
              <a:extLst>
                <a:ext uri="{FF2B5EF4-FFF2-40B4-BE49-F238E27FC236}">
                  <a16:creationId xmlns:a16="http://schemas.microsoft.com/office/drawing/2014/main" id="{B87FBB2A-F766-4B9F-A4A9-34EB8B18F1F5}"/>
                </a:ext>
              </a:extLst>
            </p:cNvPr>
            <p:cNvSpPr>
              <a:spLocks/>
            </p:cNvSpPr>
            <p:nvPr>
              <p:custDataLst>
                <p:tags r:id="rId15"/>
              </p:custDataLst>
            </p:nvPr>
          </p:nvSpPr>
          <p:spPr bwMode="auto">
            <a:xfrm>
              <a:off x="-10791149" y="-81067017"/>
              <a:ext cx="52224998" cy="83818203"/>
            </a:xfrm>
            <a:custGeom>
              <a:avLst/>
              <a:gdLst>
                <a:gd name="T0" fmla="*/ 2147483647 w 1349"/>
                <a:gd name="T1" fmla="*/ 2147483647 h 2182"/>
                <a:gd name="T2" fmla="*/ 2147483647 w 1349"/>
                <a:gd name="T3" fmla="*/ 2147483647 h 2182"/>
                <a:gd name="T4" fmla="*/ 2147483647 w 1349"/>
                <a:gd name="T5" fmla="*/ 2147483647 h 2182"/>
                <a:gd name="T6" fmla="*/ 2147483647 w 1349"/>
                <a:gd name="T7" fmla="*/ 2147483647 h 2182"/>
                <a:gd name="T8" fmla="*/ 2147483647 w 1349"/>
                <a:gd name="T9" fmla="*/ 2147483647 h 2182"/>
                <a:gd name="T10" fmla="*/ 2147483647 w 1349"/>
                <a:gd name="T11" fmla="*/ 2147483647 h 2182"/>
                <a:gd name="T12" fmla="*/ 2147483647 w 1349"/>
                <a:gd name="T13" fmla="*/ 2147483647 h 2182"/>
                <a:gd name="T14" fmla="*/ 2147483647 w 1349"/>
                <a:gd name="T15" fmla="*/ 2147483647 h 2182"/>
                <a:gd name="T16" fmla="*/ 2147483647 w 1349"/>
                <a:gd name="T17" fmla="*/ 2147483647 h 2182"/>
                <a:gd name="T18" fmla="*/ 2147483647 w 1349"/>
                <a:gd name="T19" fmla="*/ 2147483647 h 2182"/>
                <a:gd name="T20" fmla="*/ 2147483647 w 1349"/>
                <a:gd name="T21" fmla="*/ 2147483647 h 2182"/>
                <a:gd name="T22" fmla="*/ 2147483647 w 1349"/>
                <a:gd name="T23" fmla="*/ 2147483647 h 2182"/>
                <a:gd name="T24" fmla="*/ 2147483647 w 1349"/>
                <a:gd name="T25" fmla="*/ 2147483647 h 2182"/>
                <a:gd name="T26" fmla="*/ 2147483647 w 1349"/>
                <a:gd name="T27" fmla="*/ 2147483647 h 2182"/>
                <a:gd name="T28" fmla="*/ 2147483647 w 1349"/>
                <a:gd name="T29" fmla="*/ 2147483647 h 2182"/>
                <a:gd name="T30" fmla="*/ 2147483647 w 1349"/>
                <a:gd name="T31" fmla="*/ 2147483647 h 2182"/>
                <a:gd name="T32" fmla="*/ 2147483647 w 1349"/>
                <a:gd name="T33" fmla="*/ 2147483647 h 2182"/>
                <a:gd name="T34" fmla="*/ 2147483647 w 1349"/>
                <a:gd name="T35" fmla="*/ 2147483647 h 2182"/>
                <a:gd name="T36" fmla="*/ 2147483647 w 1349"/>
                <a:gd name="T37" fmla="*/ 2147483647 h 2182"/>
                <a:gd name="T38" fmla="*/ 2147483647 w 1349"/>
                <a:gd name="T39" fmla="*/ 2147483647 h 2182"/>
                <a:gd name="T40" fmla="*/ 2147483647 w 1349"/>
                <a:gd name="T41" fmla="*/ 2147483647 h 2182"/>
                <a:gd name="T42" fmla="*/ 2147483647 w 1349"/>
                <a:gd name="T43" fmla="*/ 2147483647 h 2182"/>
                <a:gd name="T44" fmla="*/ 2147483647 w 1349"/>
                <a:gd name="T45" fmla="*/ 2147483647 h 2182"/>
                <a:gd name="T46" fmla="*/ 2147483647 w 1349"/>
                <a:gd name="T47" fmla="*/ 2147483647 h 2182"/>
                <a:gd name="T48" fmla="*/ 2147483647 w 1349"/>
                <a:gd name="T49" fmla="*/ 2147483647 h 2182"/>
                <a:gd name="T50" fmla="*/ 2147483647 w 1349"/>
                <a:gd name="T51" fmla="*/ 2147483647 h 2182"/>
                <a:gd name="T52" fmla="*/ 2147483647 w 1349"/>
                <a:gd name="T53" fmla="*/ 2147483647 h 2182"/>
                <a:gd name="T54" fmla="*/ 2147483647 w 1349"/>
                <a:gd name="T55" fmla="*/ 2147483647 h 2182"/>
                <a:gd name="T56" fmla="*/ 2147483647 w 1349"/>
                <a:gd name="T57" fmla="*/ 2147483647 h 2182"/>
                <a:gd name="T58" fmla="*/ 2147483647 w 1349"/>
                <a:gd name="T59" fmla="*/ 2147483647 h 2182"/>
                <a:gd name="T60" fmla="*/ 2147483647 w 1349"/>
                <a:gd name="T61" fmla="*/ 2147483647 h 2182"/>
                <a:gd name="T62" fmla="*/ 2147483647 w 1349"/>
                <a:gd name="T63" fmla="*/ 2147483647 h 2182"/>
                <a:gd name="T64" fmla="*/ 2147483647 w 1349"/>
                <a:gd name="T65" fmla="*/ 2147483647 h 2182"/>
                <a:gd name="T66" fmla="*/ 2147483647 w 1349"/>
                <a:gd name="T67" fmla="*/ 2147483647 h 2182"/>
                <a:gd name="T68" fmla="*/ 2147483647 w 1349"/>
                <a:gd name="T69" fmla="*/ 2147483647 h 2182"/>
                <a:gd name="T70" fmla="*/ 2147483647 w 1349"/>
                <a:gd name="T71" fmla="*/ 2147483647 h 2182"/>
                <a:gd name="T72" fmla="*/ 2147483647 w 1349"/>
                <a:gd name="T73" fmla="*/ 2147483647 h 2182"/>
                <a:gd name="T74" fmla="*/ 0 w 1349"/>
                <a:gd name="T75" fmla="*/ 2147483647 h 2182"/>
                <a:gd name="T76" fmla="*/ 2147483647 w 1349"/>
                <a:gd name="T77" fmla="*/ 2147483647 h 2182"/>
                <a:gd name="T78" fmla="*/ 2147483647 w 1349"/>
                <a:gd name="T79" fmla="*/ 2147483647 h 2182"/>
                <a:gd name="T80" fmla="*/ 2147483647 w 1349"/>
                <a:gd name="T81" fmla="*/ 2147483647 h 2182"/>
                <a:gd name="T82" fmla="*/ 2147483647 w 1349"/>
                <a:gd name="T83" fmla="*/ 2147483647 h 2182"/>
                <a:gd name="T84" fmla="*/ 2147483647 w 1349"/>
                <a:gd name="T85" fmla="*/ 2147483647 h 2182"/>
                <a:gd name="T86" fmla="*/ 2147483647 w 1349"/>
                <a:gd name="T87" fmla="*/ 2147483647 h 2182"/>
                <a:gd name="T88" fmla="*/ 2147483647 w 1349"/>
                <a:gd name="T89" fmla="*/ 2147483647 h 2182"/>
                <a:gd name="T90" fmla="*/ 2147483647 w 1349"/>
                <a:gd name="T91" fmla="*/ 2147483647 h 2182"/>
                <a:gd name="T92" fmla="*/ 2147483647 w 1349"/>
                <a:gd name="T93" fmla="*/ 2147483647 h 2182"/>
                <a:gd name="T94" fmla="*/ 2147483647 w 1349"/>
                <a:gd name="T95" fmla="*/ 2147483647 h 2182"/>
                <a:gd name="T96" fmla="*/ 2147483647 w 1349"/>
                <a:gd name="T97" fmla="*/ 2147483647 h 2182"/>
                <a:gd name="T98" fmla="*/ 2147483647 w 1349"/>
                <a:gd name="T99" fmla="*/ 2147483647 h 2182"/>
                <a:gd name="T100" fmla="*/ 2147483647 w 1349"/>
                <a:gd name="T101" fmla="*/ 2147483647 h 2182"/>
                <a:gd name="T102" fmla="*/ 2147483647 w 1349"/>
                <a:gd name="T103" fmla="*/ 2147483647 h 2182"/>
                <a:gd name="T104" fmla="*/ 2147483647 w 1349"/>
                <a:gd name="T105" fmla="*/ 2147483647 h 2182"/>
                <a:gd name="T106" fmla="*/ 2147483647 w 1349"/>
                <a:gd name="T107" fmla="*/ 2147483647 h 2182"/>
                <a:gd name="T108" fmla="*/ 2147483647 w 1349"/>
                <a:gd name="T109" fmla="*/ 2147483647 h 2182"/>
                <a:gd name="T110" fmla="*/ 2147483647 w 1349"/>
                <a:gd name="T111" fmla="*/ 2147483647 h 2182"/>
                <a:gd name="T112" fmla="*/ 2147483647 w 1349"/>
                <a:gd name="T113" fmla="*/ 2147483647 h 2182"/>
                <a:gd name="T114" fmla="*/ 2147483647 w 1349"/>
                <a:gd name="T115" fmla="*/ 2147483647 h 2182"/>
                <a:gd name="T116" fmla="*/ 2147483647 w 1349"/>
                <a:gd name="T117" fmla="*/ 2147483647 h 2182"/>
                <a:gd name="T118" fmla="*/ 2147483647 w 1349"/>
                <a:gd name="T119" fmla="*/ 2147483647 h 21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49"/>
                <a:gd name="T181" fmla="*/ 0 h 2182"/>
                <a:gd name="T182" fmla="*/ 1349 w 1349"/>
                <a:gd name="T183" fmla="*/ 2182 h 2182"/>
                <a:gd name="connsiteX0" fmla="*/ 10000 w 10000"/>
                <a:gd name="connsiteY0" fmla="*/ 6141 h 10000"/>
                <a:gd name="connsiteX1" fmla="*/ 10000 w 10000"/>
                <a:gd name="connsiteY1" fmla="*/ 6141 h 10000"/>
                <a:gd name="connsiteX2" fmla="*/ 9911 w 10000"/>
                <a:gd name="connsiteY2" fmla="*/ 6127 h 10000"/>
                <a:gd name="connsiteX3" fmla="*/ 9815 w 10000"/>
                <a:gd name="connsiteY3" fmla="*/ 6109 h 10000"/>
                <a:gd name="connsiteX4" fmla="*/ 9726 w 10000"/>
                <a:gd name="connsiteY4" fmla="*/ 6091 h 10000"/>
                <a:gd name="connsiteX5" fmla="*/ 9637 w 10000"/>
                <a:gd name="connsiteY5" fmla="*/ 6068 h 10000"/>
                <a:gd name="connsiteX6" fmla="*/ 9548 w 10000"/>
                <a:gd name="connsiteY6" fmla="*/ 6049 h 10000"/>
                <a:gd name="connsiteX7" fmla="*/ 9466 w 10000"/>
                <a:gd name="connsiteY7" fmla="*/ 6027 h 10000"/>
                <a:gd name="connsiteX8" fmla="*/ 9377 w 10000"/>
                <a:gd name="connsiteY8" fmla="*/ 6004 h 10000"/>
                <a:gd name="connsiteX9" fmla="*/ 9288 w 10000"/>
                <a:gd name="connsiteY9" fmla="*/ 5981 h 10000"/>
                <a:gd name="connsiteX10" fmla="*/ 9118 w 10000"/>
                <a:gd name="connsiteY10" fmla="*/ 5930 h 10000"/>
                <a:gd name="connsiteX11" fmla="*/ 8955 w 10000"/>
                <a:gd name="connsiteY11" fmla="*/ 5875 h 10000"/>
                <a:gd name="connsiteX12" fmla="*/ 8792 w 10000"/>
                <a:gd name="connsiteY12" fmla="*/ 5816 h 10000"/>
                <a:gd name="connsiteX13" fmla="*/ 8636 w 10000"/>
                <a:gd name="connsiteY13" fmla="*/ 5752 h 10000"/>
                <a:gd name="connsiteX14" fmla="*/ 8480 w 10000"/>
                <a:gd name="connsiteY14" fmla="*/ 5687 h 10000"/>
                <a:gd name="connsiteX15" fmla="*/ 8340 w 10000"/>
                <a:gd name="connsiteY15" fmla="*/ 5619 h 10000"/>
                <a:gd name="connsiteX16" fmla="*/ 8199 w 10000"/>
                <a:gd name="connsiteY16" fmla="*/ 5545 h 10000"/>
                <a:gd name="connsiteX17" fmla="*/ 8058 w 10000"/>
                <a:gd name="connsiteY17" fmla="*/ 5467 h 10000"/>
                <a:gd name="connsiteX18" fmla="*/ 7924 w 10000"/>
                <a:gd name="connsiteY18" fmla="*/ 5385 h 10000"/>
                <a:gd name="connsiteX19" fmla="*/ 7798 w 10000"/>
                <a:gd name="connsiteY19" fmla="*/ 5302 h 10000"/>
                <a:gd name="connsiteX20" fmla="*/ 7672 w 10000"/>
                <a:gd name="connsiteY20" fmla="*/ 5215 h 10000"/>
                <a:gd name="connsiteX21" fmla="*/ 7554 w 10000"/>
                <a:gd name="connsiteY21" fmla="*/ 5128 h 10000"/>
                <a:gd name="connsiteX22" fmla="*/ 7450 w 10000"/>
                <a:gd name="connsiteY22" fmla="*/ 5032 h 10000"/>
                <a:gd name="connsiteX23" fmla="*/ 7346 w 10000"/>
                <a:gd name="connsiteY23" fmla="*/ 4936 h 10000"/>
                <a:gd name="connsiteX24" fmla="*/ 7250 w 10000"/>
                <a:gd name="connsiteY24" fmla="*/ 4840 h 10000"/>
                <a:gd name="connsiteX25" fmla="*/ 7161 w 10000"/>
                <a:gd name="connsiteY25" fmla="*/ 4739 h 10000"/>
                <a:gd name="connsiteX26" fmla="*/ 7072 w 10000"/>
                <a:gd name="connsiteY26" fmla="*/ 4638 h 10000"/>
                <a:gd name="connsiteX27" fmla="*/ 6990 w 10000"/>
                <a:gd name="connsiteY27" fmla="*/ 4528 h 10000"/>
                <a:gd name="connsiteX28" fmla="*/ 6953 w 10000"/>
                <a:gd name="connsiteY28" fmla="*/ 4478 h 10000"/>
                <a:gd name="connsiteX29" fmla="*/ 6916 w 10000"/>
                <a:gd name="connsiteY29" fmla="*/ 4423 h 10000"/>
                <a:gd name="connsiteX30" fmla="*/ 6887 w 10000"/>
                <a:gd name="connsiteY30" fmla="*/ 4368 h 10000"/>
                <a:gd name="connsiteX31" fmla="*/ 6850 w 10000"/>
                <a:gd name="connsiteY31" fmla="*/ 4313 h 10000"/>
                <a:gd name="connsiteX32" fmla="*/ 6820 w 10000"/>
                <a:gd name="connsiteY32" fmla="*/ 4258 h 10000"/>
                <a:gd name="connsiteX33" fmla="*/ 6790 w 10000"/>
                <a:gd name="connsiteY33" fmla="*/ 4203 h 10000"/>
                <a:gd name="connsiteX34" fmla="*/ 6768 w 10000"/>
                <a:gd name="connsiteY34" fmla="*/ 4143 h 10000"/>
                <a:gd name="connsiteX35" fmla="*/ 6738 w 10000"/>
                <a:gd name="connsiteY35" fmla="*/ 4088 h 10000"/>
                <a:gd name="connsiteX36" fmla="*/ 6723 w 10000"/>
                <a:gd name="connsiteY36" fmla="*/ 4028 h 10000"/>
                <a:gd name="connsiteX37" fmla="*/ 6694 w 10000"/>
                <a:gd name="connsiteY37" fmla="*/ 3973 h 10000"/>
                <a:gd name="connsiteX38" fmla="*/ 6679 w 10000"/>
                <a:gd name="connsiteY38" fmla="*/ 3914 h 10000"/>
                <a:gd name="connsiteX39" fmla="*/ 6664 w 10000"/>
                <a:gd name="connsiteY39" fmla="*/ 3854 h 10000"/>
                <a:gd name="connsiteX40" fmla="*/ 6649 w 10000"/>
                <a:gd name="connsiteY40" fmla="*/ 3795 h 10000"/>
                <a:gd name="connsiteX41" fmla="*/ 6635 w 10000"/>
                <a:gd name="connsiteY41" fmla="*/ 3740 h 10000"/>
                <a:gd name="connsiteX42" fmla="*/ 6620 w 10000"/>
                <a:gd name="connsiteY42" fmla="*/ 3680 h 10000"/>
                <a:gd name="connsiteX43" fmla="*/ 6612 w 10000"/>
                <a:gd name="connsiteY43" fmla="*/ 3621 h 10000"/>
                <a:gd name="connsiteX44" fmla="*/ 6605 w 10000"/>
                <a:gd name="connsiteY44" fmla="*/ 3561 h 10000"/>
                <a:gd name="connsiteX45" fmla="*/ 6597 w 10000"/>
                <a:gd name="connsiteY45" fmla="*/ 3497 h 10000"/>
                <a:gd name="connsiteX46" fmla="*/ 6597 w 10000"/>
                <a:gd name="connsiteY46" fmla="*/ 3437 h 10000"/>
                <a:gd name="connsiteX47" fmla="*/ 6590 w 10000"/>
                <a:gd name="connsiteY47" fmla="*/ 3373 h 10000"/>
                <a:gd name="connsiteX48" fmla="*/ 6597 w 10000"/>
                <a:gd name="connsiteY48" fmla="*/ 3313 h 10000"/>
                <a:gd name="connsiteX49" fmla="*/ 6605 w 10000"/>
                <a:gd name="connsiteY49" fmla="*/ 3245 h 10000"/>
                <a:gd name="connsiteX50" fmla="*/ 6605 w 10000"/>
                <a:gd name="connsiteY50" fmla="*/ 3181 h 10000"/>
                <a:gd name="connsiteX51" fmla="*/ 6612 w 10000"/>
                <a:gd name="connsiteY51" fmla="*/ 3116 h 10000"/>
                <a:gd name="connsiteX52" fmla="*/ 6620 w 10000"/>
                <a:gd name="connsiteY52" fmla="*/ 3052 h 10000"/>
                <a:gd name="connsiteX53" fmla="*/ 6635 w 10000"/>
                <a:gd name="connsiteY53" fmla="*/ 2993 h 10000"/>
                <a:gd name="connsiteX54" fmla="*/ 6649 w 10000"/>
                <a:gd name="connsiteY54" fmla="*/ 2929 h 10000"/>
                <a:gd name="connsiteX55" fmla="*/ 6664 w 10000"/>
                <a:gd name="connsiteY55" fmla="*/ 2869 h 10000"/>
                <a:gd name="connsiteX56" fmla="*/ 6686 w 10000"/>
                <a:gd name="connsiteY56" fmla="*/ 2805 h 10000"/>
                <a:gd name="connsiteX57" fmla="*/ 6709 w 10000"/>
                <a:gd name="connsiteY57" fmla="*/ 2745 h 10000"/>
                <a:gd name="connsiteX58" fmla="*/ 6731 w 10000"/>
                <a:gd name="connsiteY58" fmla="*/ 2686 h 10000"/>
                <a:gd name="connsiteX59" fmla="*/ 6753 w 10000"/>
                <a:gd name="connsiteY59" fmla="*/ 2621 h 10000"/>
                <a:gd name="connsiteX60" fmla="*/ 6783 w 10000"/>
                <a:gd name="connsiteY60" fmla="*/ 2566 h 10000"/>
                <a:gd name="connsiteX61" fmla="*/ 6812 w 10000"/>
                <a:gd name="connsiteY61" fmla="*/ 2507 h 10000"/>
                <a:gd name="connsiteX62" fmla="*/ 6842 w 10000"/>
                <a:gd name="connsiteY62" fmla="*/ 2447 h 10000"/>
                <a:gd name="connsiteX63" fmla="*/ 6879 w 10000"/>
                <a:gd name="connsiteY63" fmla="*/ 2388 h 10000"/>
                <a:gd name="connsiteX64" fmla="*/ 6909 w 10000"/>
                <a:gd name="connsiteY64" fmla="*/ 2333 h 10000"/>
                <a:gd name="connsiteX65" fmla="*/ 6946 w 10000"/>
                <a:gd name="connsiteY65" fmla="*/ 2273 h 10000"/>
                <a:gd name="connsiteX66" fmla="*/ 6990 w 10000"/>
                <a:gd name="connsiteY66" fmla="*/ 2218 h 10000"/>
                <a:gd name="connsiteX67" fmla="*/ 7027 w 10000"/>
                <a:gd name="connsiteY67" fmla="*/ 2163 h 10000"/>
                <a:gd name="connsiteX68" fmla="*/ 7072 w 10000"/>
                <a:gd name="connsiteY68" fmla="*/ 2108 h 10000"/>
                <a:gd name="connsiteX69" fmla="*/ 7109 w 10000"/>
                <a:gd name="connsiteY69" fmla="*/ 2053 h 10000"/>
                <a:gd name="connsiteX70" fmla="*/ 7161 w 10000"/>
                <a:gd name="connsiteY70" fmla="*/ 2003 h 10000"/>
                <a:gd name="connsiteX71" fmla="*/ 7213 w 10000"/>
                <a:gd name="connsiteY71" fmla="*/ 1948 h 10000"/>
                <a:gd name="connsiteX72" fmla="*/ 7257 w 10000"/>
                <a:gd name="connsiteY72" fmla="*/ 1893 h 10000"/>
                <a:gd name="connsiteX73" fmla="*/ 7309 w 10000"/>
                <a:gd name="connsiteY73" fmla="*/ 1842 h 10000"/>
                <a:gd name="connsiteX74" fmla="*/ 7361 w 10000"/>
                <a:gd name="connsiteY74" fmla="*/ 1792 h 10000"/>
                <a:gd name="connsiteX75" fmla="*/ 7413 w 10000"/>
                <a:gd name="connsiteY75" fmla="*/ 1742 h 10000"/>
                <a:gd name="connsiteX76" fmla="*/ 7472 w 10000"/>
                <a:gd name="connsiteY76" fmla="*/ 1691 h 10000"/>
                <a:gd name="connsiteX77" fmla="*/ 7524 w 10000"/>
                <a:gd name="connsiteY77" fmla="*/ 1645 h 10000"/>
                <a:gd name="connsiteX78" fmla="*/ 7583 w 10000"/>
                <a:gd name="connsiteY78" fmla="*/ 1599 h 10000"/>
                <a:gd name="connsiteX79" fmla="*/ 7643 w 10000"/>
                <a:gd name="connsiteY79" fmla="*/ 1549 h 10000"/>
                <a:gd name="connsiteX80" fmla="*/ 5456 w 10000"/>
                <a:gd name="connsiteY80" fmla="*/ 0 h 10000"/>
                <a:gd name="connsiteX81" fmla="*/ 1401 w 10000"/>
                <a:gd name="connsiteY81" fmla="*/ 0 h 10000"/>
                <a:gd name="connsiteX82" fmla="*/ 1305 w 10000"/>
                <a:gd name="connsiteY82" fmla="*/ 128 h 10000"/>
                <a:gd name="connsiteX83" fmla="*/ 1223 w 10000"/>
                <a:gd name="connsiteY83" fmla="*/ 220 h 10000"/>
                <a:gd name="connsiteX84" fmla="*/ 1149 w 10000"/>
                <a:gd name="connsiteY84" fmla="*/ 316 h 10000"/>
                <a:gd name="connsiteX85" fmla="*/ 1067 w 10000"/>
                <a:gd name="connsiteY85" fmla="*/ 412 h 10000"/>
                <a:gd name="connsiteX86" fmla="*/ 1001 w 10000"/>
                <a:gd name="connsiteY86" fmla="*/ 509 h 10000"/>
                <a:gd name="connsiteX87" fmla="*/ 927 w 10000"/>
                <a:gd name="connsiteY87" fmla="*/ 605 h 10000"/>
                <a:gd name="connsiteX88" fmla="*/ 860 w 10000"/>
                <a:gd name="connsiteY88" fmla="*/ 706 h 10000"/>
                <a:gd name="connsiteX89" fmla="*/ 793 w 10000"/>
                <a:gd name="connsiteY89" fmla="*/ 807 h 10000"/>
                <a:gd name="connsiteX90" fmla="*/ 734 w 10000"/>
                <a:gd name="connsiteY90" fmla="*/ 903 h 10000"/>
                <a:gd name="connsiteX91" fmla="*/ 675 w 10000"/>
                <a:gd name="connsiteY91" fmla="*/ 1004 h 10000"/>
                <a:gd name="connsiteX92" fmla="*/ 615 w 10000"/>
                <a:gd name="connsiteY92" fmla="*/ 1104 h 10000"/>
                <a:gd name="connsiteX93" fmla="*/ 556 w 10000"/>
                <a:gd name="connsiteY93" fmla="*/ 1210 h 10000"/>
                <a:gd name="connsiteX94" fmla="*/ 504 w 10000"/>
                <a:gd name="connsiteY94" fmla="*/ 1306 h 10000"/>
                <a:gd name="connsiteX95" fmla="*/ 452 w 10000"/>
                <a:gd name="connsiteY95" fmla="*/ 1412 h 10000"/>
                <a:gd name="connsiteX96" fmla="*/ 408 w 10000"/>
                <a:gd name="connsiteY96" fmla="*/ 1512 h 10000"/>
                <a:gd name="connsiteX97" fmla="*/ 363 w 10000"/>
                <a:gd name="connsiteY97" fmla="*/ 1618 h 10000"/>
                <a:gd name="connsiteX98" fmla="*/ 319 w 10000"/>
                <a:gd name="connsiteY98" fmla="*/ 1723 h 10000"/>
                <a:gd name="connsiteX99" fmla="*/ 282 w 10000"/>
                <a:gd name="connsiteY99" fmla="*/ 1829 h 10000"/>
                <a:gd name="connsiteX100" fmla="*/ 237 w 10000"/>
                <a:gd name="connsiteY100" fmla="*/ 1939 h 10000"/>
                <a:gd name="connsiteX101" fmla="*/ 208 w 10000"/>
                <a:gd name="connsiteY101" fmla="*/ 2044 h 10000"/>
                <a:gd name="connsiteX102" fmla="*/ 170 w 10000"/>
                <a:gd name="connsiteY102" fmla="*/ 2154 h 10000"/>
                <a:gd name="connsiteX103" fmla="*/ 148 w 10000"/>
                <a:gd name="connsiteY103" fmla="*/ 2264 h 10000"/>
                <a:gd name="connsiteX104" fmla="*/ 119 w 10000"/>
                <a:gd name="connsiteY104" fmla="*/ 2369 h 10000"/>
                <a:gd name="connsiteX105" fmla="*/ 96 w 10000"/>
                <a:gd name="connsiteY105" fmla="*/ 2479 h 10000"/>
                <a:gd name="connsiteX106" fmla="*/ 74 w 10000"/>
                <a:gd name="connsiteY106" fmla="*/ 2589 h 10000"/>
                <a:gd name="connsiteX107" fmla="*/ 52 w 10000"/>
                <a:gd name="connsiteY107" fmla="*/ 2704 h 10000"/>
                <a:gd name="connsiteX108" fmla="*/ 37 w 10000"/>
                <a:gd name="connsiteY108" fmla="*/ 2814 h 10000"/>
                <a:gd name="connsiteX109" fmla="*/ 22 w 10000"/>
                <a:gd name="connsiteY109" fmla="*/ 2924 h 10000"/>
                <a:gd name="connsiteX110" fmla="*/ 15 w 10000"/>
                <a:gd name="connsiteY110" fmla="*/ 3034 h 10000"/>
                <a:gd name="connsiteX111" fmla="*/ 7 w 10000"/>
                <a:gd name="connsiteY111" fmla="*/ 3148 h 10000"/>
                <a:gd name="connsiteX112" fmla="*/ 0 w 10000"/>
                <a:gd name="connsiteY112" fmla="*/ 3258 h 10000"/>
                <a:gd name="connsiteX113" fmla="*/ 0 w 10000"/>
                <a:gd name="connsiteY113" fmla="*/ 3373 h 10000"/>
                <a:gd name="connsiteX114" fmla="*/ 7 w 10000"/>
                <a:gd name="connsiteY114" fmla="*/ 3520 h 10000"/>
                <a:gd name="connsiteX115" fmla="*/ 7 w 10000"/>
                <a:gd name="connsiteY115" fmla="*/ 3666 h 10000"/>
                <a:gd name="connsiteX116" fmla="*/ 22 w 10000"/>
                <a:gd name="connsiteY116" fmla="*/ 3804 h 10000"/>
                <a:gd name="connsiteX117" fmla="*/ 37 w 10000"/>
                <a:gd name="connsiteY117" fmla="*/ 3946 h 10000"/>
                <a:gd name="connsiteX118" fmla="*/ 59 w 10000"/>
                <a:gd name="connsiteY118" fmla="*/ 4088 h 10000"/>
                <a:gd name="connsiteX119" fmla="*/ 89 w 10000"/>
                <a:gd name="connsiteY119" fmla="*/ 4230 h 10000"/>
                <a:gd name="connsiteX120" fmla="*/ 119 w 10000"/>
                <a:gd name="connsiteY120" fmla="*/ 4372 h 10000"/>
                <a:gd name="connsiteX121" fmla="*/ 148 w 10000"/>
                <a:gd name="connsiteY121" fmla="*/ 4514 h 10000"/>
                <a:gd name="connsiteX122" fmla="*/ 193 w 10000"/>
                <a:gd name="connsiteY122" fmla="*/ 4652 h 10000"/>
                <a:gd name="connsiteX123" fmla="*/ 237 w 10000"/>
                <a:gd name="connsiteY123" fmla="*/ 4789 h 10000"/>
                <a:gd name="connsiteX124" fmla="*/ 282 w 10000"/>
                <a:gd name="connsiteY124" fmla="*/ 4927 h 10000"/>
                <a:gd name="connsiteX125" fmla="*/ 334 w 10000"/>
                <a:gd name="connsiteY125" fmla="*/ 5064 h 10000"/>
                <a:gd name="connsiteX126" fmla="*/ 393 w 10000"/>
                <a:gd name="connsiteY126" fmla="*/ 5197 h 10000"/>
                <a:gd name="connsiteX127" fmla="*/ 452 w 10000"/>
                <a:gd name="connsiteY127" fmla="*/ 5330 h 10000"/>
                <a:gd name="connsiteX128" fmla="*/ 519 w 10000"/>
                <a:gd name="connsiteY128" fmla="*/ 5463 h 10000"/>
                <a:gd name="connsiteX129" fmla="*/ 586 w 10000"/>
                <a:gd name="connsiteY129" fmla="*/ 5596 h 10000"/>
                <a:gd name="connsiteX130" fmla="*/ 660 w 10000"/>
                <a:gd name="connsiteY130" fmla="*/ 5724 h 10000"/>
                <a:gd name="connsiteX131" fmla="*/ 741 w 10000"/>
                <a:gd name="connsiteY131" fmla="*/ 5852 h 10000"/>
                <a:gd name="connsiteX132" fmla="*/ 823 w 10000"/>
                <a:gd name="connsiteY132" fmla="*/ 5985 h 10000"/>
                <a:gd name="connsiteX133" fmla="*/ 904 w 10000"/>
                <a:gd name="connsiteY133" fmla="*/ 6109 h 10000"/>
                <a:gd name="connsiteX134" fmla="*/ 993 w 10000"/>
                <a:gd name="connsiteY134" fmla="*/ 6233 h 10000"/>
                <a:gd name="connsiteX135" fmla="*/ 1090 w 10000"/>
                <a:gd name="connsiteY135" fmla="*/ 6352 h 10000"/>
                <a:gd name="connsiteX136" fmla="*/ 1186 w 10000"/>
                <a:gd name="connsiteY136" fmla="*/ 6476 h 10000"/>
                <a:gd name="connsiteX137" fmla="*/ 1290 w 10000"/>
                <a:gd name="connsiteY137" fmla="*/ 6599 h 10000"/>
                <a:gd name="connsiteX138" fmla="*/ 1386 w 10000"/>
                <a:gd name="connsiteY138" fmla="*/ 6719 h 10000"/>
                <a:gd name="connsiteX139" fmla="*/ 1497 w 10000"/>
                <a:gd name="connsiteY139" fmla="*/ 6838 h 10000"/>
                <a:gd name="connsiteX140" fmla="*/ 1609 w 10000"/>
                <a:gd name="connsiteY140" fmla="*/ 6952 h 10000"/>
                <a:gd name="connsiteX141" fmla="*/ 1727 w 10000"/>
                <a:gd name="connsiteY141" fmla="*/ 7071 h 10000"/>
                <a:gd name="connsiteX142" fmla="*/ 1846 w 10000"/>
                <a:gd name="connsiteY142" fmla="*/ 7186 h 10000"/>
                <a:gd name="connsiteX143" fmla="*/ 1964 w 10000"/>
                <a:gd name="connsiteY143" fmla="*/ 7296 h 10000"/>
                <a:gd name="connsiteX144" fmla="*/ 2090 w 10000"/>
                <a:gd name="connsiteY144" fmla="*/ 7406 h 10000"/>
                <a:gd name="connsiteX145" fmla="*/ 2224 w 10000"/>
                <a:gd name="connsiteY145" fmla="*/ 7516 h 10000"/>
                <a:gd name="connsiteX146" fmla="*/ 2350 w 10000"/>
                <a:gd name="connsiteY146" fmla="*/ 7626 h 10000"/>
                <a:gd name="connsiteX147" fmla="*/ 2491 w 10000"/>
                <a:gd name="connsiteY147" fmla="*/ 7731 h 10000"/>
                <a:gd name="connsiteX148" fmla="*/ 2617 w 10000"/>
                <a:gd name="connsiteY148" fmla="*/ 7837 h 10000"/>
                <a:gd name="connsiteX149" fmla="*/ 2765 w 10000"/>
                <a:gd name="connsiteY149" fmla="*/ 7938 h 10000"/>
                <a:gd name="connsiteX150" fmla="*/ 2906 w 10000"/>
                <a:gd name="connsiteY150" fmla="*/ 8038 h 10000"/>
                <a:gd name="connsiteX151" fmla="*/ 3054 w 10000"/>
                <a:gd name="connsiteY151" fmla="*/ 8139 h 10000"/>
                <a:gd name="connsiteX152" fmla="*/ 3210 w 10000"/>
                <a:gd name="connsiteY152" fmla="*/ 8236 h 10000"/>
                <a:gd name="connsiteX153" fmla="*/ 3358 w 10000"/>
                <a:gd name="connsiteY153" fmla="*/ 8332 h 10000"/>
                <a:gd name="connsiteX154" fmla="*/ 3514 w 10000"/>
                <a:gd name="connsiteY154" fmla="*/ 8428 h 10000"/>
                <a:gd name="connsiteX155" fmla="*/ 3677 w 10000"/>
                <a:gd name="connsiteY155" fmla="*/ 8520 h 10000"/>
                <a:gd name="connsiteX156" fmla="*/ 3840 w 10000"/>
                <a:gd name="connsiteY156" fmla="*/ 8607 h 10000"/>
                <a:gd name="connsiteX157" fmla="*/ 4010 w 10000"/>
                <a:gd name="connsiteY157" fmla="*/ 8698 h 10000"/>
                <a:gd name="connsiteX158" fmla="*/ 4181 w 10000"/>
                <a:gd name="connsiteY158" fmla="*/ 8776 h 10000"/>
                <a:gd name="connsiteX159" fmla="*/ 4351 w 10000"/>
                <a:gd name="connsiteY159" fmla="*/ 8863 h 10000"/>
                <a:gd name="connsiteX160" fmla="*/ 4522 w 10000"/>
                <a:gd name="connsiteY160" fmla="*/ 8941 h 10000"/>
                <a:gd name="connsiteX161" fmla="*/ 4700 w 10000"/>
                <a:gd name="connsiteY161" fmla="*/ 9024 h 10000"/>
                <a:gd name="connsiteX162" fmla="*/ 4878 w 10000"/>
                <a:gd name="connsiteY162" fmla="*/ 9102 h 10000"/>
                <a:gd name="connsiteX163" fmla="*/ 5063 w 10000"/>
                <a:gd name="connsiteY163" fmla="*/ 9175 h 10000"/>
                <a:gd name="connsiteX164" fmla="*/ 5248 w 10000"/>
                <a:gd name="connsiteY164" fmla="*/ 9253 h 10000"/>
                <a:gd name="connsiteX165" fmla="*/ 5426 w 10000"/>
                <a:gd name="connsiteY165" fmla="*/ 9322 h 10000"/>
                <a:gd name="connsiteX166" fmla="*/ 5619 w 10000"/>
                <a:gd name="connsiteY166" fmla="*/ 9390 h 10000"/>
                <a:gd name="connsiteX167" fmla="*/ 5812 w 10000"/>
                <a:gd name="connsiteY167" fmla="*/ 9459 h 10000"/>
                <a:gd name="connsiteX168" fmla="*/ 6004 w 10000"/>
                <a:gd name="connsiteY168" fmla="*/ 9523 h 10000"/>
                <a:gd name="connsiteX169" fmla="*/ 6205 w 10000"/>
                <a:gd name="connsiteY169" fmla="*/ 9588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4 h 10000"/>
                <a:gd name="connsiteX179" fmla="*/ 10000 w 10000"/>
                <a:gd name="connsiteY179" fmla="*/ 6141 h 10000"/>
                <a:gd name="connsiteX0" fmla="*/ 10000 w 10000"/>
                <a:gd name="connsiteY0" fmla="*/ 6141 h 10000"/>
                <a:gd name="connsiteX1" fmla="*/ 10000 w 10000"/>
                <a:gd name="connsiteY1" fmla="*/ 6141 h 10000"/>
                <a:gd name="connsiteX2" fmla="*/ 9911 w 10000"/>
                <a:gd name="connsiteY2" fmla="*/ 6127 h 10000"/>
                <a:gd name="connsiteX3" fmla="*/ 9815 w 10000"/>
                <a:gd name="connsiteY3" fmla="*/ 6109 h 10000"/>
                <a:gd name="connsiteX4" fmla="*/ 9726 w 10000"/>
                <a:gd name="connsiteY4" fmla="*/ 6091 h 10000"/>
                <a:gd name="connsiteX5" fmla="*/ 9637 w 10000"/>
                <a:gd name="connsiteY5" fmla="*/ 6068 h 10000"/>
                <a:gd name="connsiteX6" fmla="*/ 9548 w 10000"/>
                <a:gd name="connsiteY6" fmla="*/ 6049 h 10000"/>
                <a:gd name="connsiteX7" fmla="*/ 9466 w 10000"/>
                <a:gd name="connsiteY7" fmla="*/ 6027 h 10000"/>
                <a:gd name="connsiteX8" fmla="*/ 9377 w 10000"/>
                <a:gd name="connsiteY8" fmla="*/ 6004 h 10000"/>
                <a:gd name="connsiteX9" fmla="*/ 9288 w 10000"/>
                <a:gd name="connsiteY9" fmla="*/ 5981 h 10000"/>
                <a:gd name="connsiteX10" fmla="*/ 9118 w 10000"/>
                <a:gd name="connsiteY10" fmla="*/ 5930 h 10000"/>
                <a:gd name="connsiteX11" fmla="*/ 8955 w 10000"/>
                <a:gd name="connsiteY11" fmla="*/ 5875 h 10000"/>
                <a:gd name="connsiteX12" fmla="*/ 8792 w 10000"/>
                <a:gd name="connsiteY12" fmla="*/ 5816 h 10000"/>
                <a:gd name="connsiteX13" fmla="*/ 8636 w 10000"/>
                <a:gd name="connsiteY13" fmla="*/ 5752 h 10000"/>
                <a:gd name="connsiteX14" fmla="*/ 8480 w 10000"/>
                <a:gd name="connsiteY14" fmla="*/ 5687 h 10000"/>
                <a:gd name="connsiteX15" fmla="*/ 8340 w 10000"/>
                <a:gd name="connsiteY15" fmla="*/ 5619 h 10000"/>
                <a:gd name="connsiteX16" fmla="*/ 8199 w 10000"/>
                <a:gd name="connsiteY16" fmla="*/ 5545 h 10000"/>
                <a:gd name="connsiteX17" fmla="*/ 8058 w 10000"/>
                <a:gd name="connsiteY17" fmla="*/ 5467 h 10000"/>
                <a:gd name="connsiteX18" fmla="*/ 7924 w 10000"/>
                <a:gd name="connsiteY18" fmla="*/ 5385 h 10000"/>
                <a:gd name="connsiteX19" fmla="*/ 7798 w 10000"/>
                <a:gd name="connsiteY19" fmla="*/ 5302 h 10000"/>
                <a:gd name="connsiteX20" fmla="*/ 7672 w 10000"/>
                <a:gd name="connsiteY20" fmla="*/ 5215 h 10000"/>
                <a:gd name="connsiteX21" fmla="*/ 7554 w 10000"/>
                <a:gd name="connsiteY21" fmla="*/ 5128 h 10000"/>
                <a:gd name="connsiteX22" fmla="*/ 7450 w 10000"/>
                <a:gd name="connsiteY22" fmla="*/ 5032 h 10000"/>
                <a:gd name="connsiteX23" fmla="*/ 7346 w 10000"/>
                <a:gd name="connsiteY23" fmla="*/ 4936 h 10000"/>
                <a:gd name="connsiteX24" fmla="*/ 7250 w 10000"/>
                <a:gd name="connsiteY24" fmla="*/ 4840 h 10000"/>
                <a:gd name="connsiteX25" fmla="*/ 7161 w 10000"/>
                <a:gd name="connsiteY25" fmla="*/ 4739 h 10000"/>
                <a:gd name="connsiteX26" fmla="*/ 7072 w 10000"/>
                <a:gd name="connsiteY26" fmla="*/ 4638 h 10000"/>
                <a:gd name="connsiteX27" fmla="*/ 6990 w 10000"/>
                <a:gd name="connsiteY27" fmla="*/ 4528 h 10000"/>
                <a:gd name="connsiteX28" fmla="*/ 6953 w 10000"/>
                <a:gd name="connsiteY28" fmla="*/ 4478 h 10000"/>
                <a:gd name="connsiteX29" fmla="*/ 6916 w 10000"/>
                <a:gd name="connsiteY29" fmla="*/ 4423 h 10000"/>
                <a:gd name="connsiteX30" fmla="*/ 6887 w 10000"/>
                <a:gd name="connsiteY30" fmla="*/ 4368 h 10000"/>
                <a:gd name="connsiteX31" fmla="*/ 6850 w 10000"/>
                <a:gd name="connsiteY31" fmla="*/ 4313 h 10000"/>
                <a:gd name="connsiteX32" fmla="*/ 6820 w 10000"/>
                <a:gd name="connsiteY32" fmla="*/ 4258 h 10000"/>
                <a:gd name="connsiteX33" fmla="*/ 6790 w 10000"/>
                <a:gd name="connsiteY33" fmla="*/ 4203 h 10000"/>
                <a:gd name="connsiteX34" fmla="*/ 6768 w 10000"/>
                <a:gd name="connsiteY34" fmla="*/ 4143 h 10000"/>
                <a:gd name="connsiteX35" fmla="*/ 6738 w 10000"/>
                <a:gd name="connsiteY35" fmla="*/ 4088 h 10000"/>
                <a:gd name="connsiteX36" fmla="*/ 6723 w 10000"/>
                <a:gd name="connsiteY36" fmla="*/ 4028 h 10000"/>
                <a:gd name="connsiteX37" fmla="*/ 6694 w 10000"/>
                <a:gd name="connsiteY37" fmla="*/ 3973 h 10000"/>
                <a:gd name="connsiteX38" fmla="*/ 6679 w 10000"/>
                <a:gd name="connsiteY38" fmla="*/ 3914 h 10000"/>
                <a:gd name="connsiteX39" fmla="*/ 6664 w 10000"/>
                <a:gd name="connsiteY39" fmla="*/ 3854 h 10000"/>
                <a:gd name="connsiteX40" fmla="*/ 6649 w 10000"/>
                <a:gd name="connsiteY40" fmla="*/ 3795 h 10000"/>
                <a:gd name="connsiteX41" fmla="*/ 6635 w 10000"/>
                <a:gd name="connsiteY41" fmla="*/ 3740 h 10000"/>
                <a:gd name="connsiteX42" fmla="*/ 6620 w 10000"/>
                <a:gd name="connsiteY42" fmla="*/ 3680 h 10000"/>
                <a:gd name="connsiteX43" fmla="*/ 6612 w 10000"/>
                <a:gd name="connsiteY43" fmla="*/ 3621 h 10000"/>
                <a:gd name="connsiteX44" fmla="*/ 6605 w 10000"/>
                <a:gd name="connsiteY44" fmla="*/ 3561 h 10000"/>
                <a:gd name="connsiteX45" fmla="*/ 6597 w 10000"/>
                <a:gd name="connsiteY45" fmla="*/ 3497 h 10000"/>
                <a:gd name="connsiteX46" fmla="*/ 6597 w 10000"/>
                <a:gd name="connsiteY46" fmla="*/ 3437 h 10000"/>
                <a:gd name="connsiteX47" fmla="*/ 6590 w 10000"/>
                <a:gd name="connsiteY47" fmla="*/ 3373 h 10000"/>
                <a:gd name="connsiteX48" fmla="*/ 6597 w 10000"/>
                <a:gd name="connsiteY48" fmla="*/ 3313 h 10000"/>
                <a:gd name="connsiteX49" fmla="*/ 6605 w 10000"/>
                <a:gd name="connsiteY49" fmla="*/ 3245 h 10000"/>
                <a:gd name="connsiteX50" fmla="*/ 6605 w 10000"/>
                <a:gd name="connsiteY50" fmla="*/ 3181 h 10000"/>
                <a:gd name="connsiteX51" fmla="*/ 6612 w 10000"/>
                <a:gd name="connsiteY51" fmla="*/ 3116 h 10000"/>
                <a:gd name="connsiteX52" fmla="*/ 6620 w 10000"/>
                <a:gd name="connsiteY52" fmla="*/ 3052 h 10000"/>
                <a:gd name="connsiteX53" fmla="*/ 6635 w 10000"/>
                <a:gd name="connsiteY53" fmla="*/ 2993 h 10000"/>
                <a:gd name="connsiteX54" fmla="*/ 6649 w 10000"/>
                <a:gd name="connsiteY54" fmla="*/ 2929 h 10000"/>
                <a:gd name="connsiteX55" fmla="*/ 6664 w 10000"/>
                <a:gd name="connsiteY55" fmla="*/ 2869 h 10000"/>
                <a:gd name="connsiteX56" fmla="*/ 6686 w 10000"/>
                <a:gd name="connsiteY56" fmla="*/ 2805 h 10000"/>
                <a:gd name="connsiteX57" fmla="*/ 6709 w 10000"/>
                <a:gd name="connsiteY57" fmla="*/ 2745 h 10000"/>
                <a:gd name="connsiteX58" fmla="*/ 6731 w 10000"/>
                <a:gd name="connsiteY58" fmla="*/ 2686 h 10000"/>
                <a:gd name="connsiteX59" fmla="*/ 6753 w 10000"/>
                <a:gd name="connsiteY59" fmla="*/ 2621 h 10000"/>
                <a:gd name="connsiteX60" fmla="*/ 6783 w 10000"/>
                <a:gd name="connsiteY60" fmla="*/ 2566 h 10000"/>
                <a:gd name="connsiteX61" fmla="*/ 6812 w 10000"/>
                <a:gd name="connsiteY61" fmla="*/ 2507 h 10000"/>
                <a:gd name="connsiteX62" fmla="*/ 6842 w 10000"/>
                <a:gd name="connsiteY62" fmla="*/ 2447 h 10000"/>
                <a:gd name="connsiteX63" fmla="*/ 6879 w 10000"/>
                <a:gd name="connsiteY63" fmla="*/ 2388 h 10000"/>
                <a:gd name="connsiteX64" fmla="*/ 6909 w 10000"/>
                <a:gd name="connsiteY64" fmla="*/ 2333 h 10000"/>
                <a:gd name="connsiteX65" fmla="*/ 6946 w 10000"/>
                <a:gd name="connsiteY65" fmla="*/ 2273 h 10000"/>
                <a:gd name="connsiteX66" fmla="*/ 6990 w 10000"/>
                <a:gd name="connsiteY66" fmla="*/ 2218 h 10000"/>
                <a:gd name="connsiteX67" fmla="*/ 7027 w 10000"/>
                <a:gd name="connsiteY67" fmla="*/ 2163 h 10000"/>
                <a:gd name="connsiteX68" fmla="*/ 7072 w 10000"/>
                <a:gd name="connsiteY68" fmla="*/ 2108 h 10000"/>
                <a:gd name="connsiteX69" fmla="*/ 7109 w 10000"/>
                <a:gd name="connsiteY69" fmla="*/ 2053 h 10000"/>
                <a:gd name="connsiteX70" fmla="*/ 7161 w 10000"/>
                <a:gd name="connsiteY70" fmla="*/ 2003 h 10000"/>
                <a:gd name="connsiteX71" fmla="*/ 7213 w 10000"/>
                <a:gd name="connsiteY71" fmla="*/ 1948 h 10000"/>
                <a:gd name="connsiteX72" fmla="*/ 7257 w 10000"/>
                <a:gd name="connsiteY72" fmla="*/ 1893 h 10000"/>
                <a:gd name="connsiteX73" fmla="*/ 7309 w 10000"/>
                <a:gd name="connsiteY73" fmla="*/ 1842 h 10000"/>
                <a:gd name="connsiteX74" fmla="*/ 7361 w 10000"/>
                <a:gd name="connsiteY74" fmla="*/ 1792 h 10000"/>
                <a:gd name="connsiteX75" fmla="*/ 7413 w 10000"/>
                <a:gd name="connsiteY75" fmla="*/ 1742 h 10000"/>
                <a:gd name="connsiteX76" fmla="*/ 7472 w 10000"/>
                <a:gd name="connsiteY76" fmla="*/ 1691 h 10000"/>
                <a:gd name="connsiteX77" fmla="*/ 7524 w 10000"/>
                <a:gd name="connsiteY77" fmla="*/ 1645 h 10000"/>
                <a:gd name="connsiteX78" fmla="*/ 7583 w 10000"/>
                <a:gd name="connsiteY78" fmla="*/ 1599 h 10000"/>
                <a:gd name="connsiteX79" fmla="*/ 7643 w 10000"/>
                <a:gd name="connsiteY79" fmla="*/ 1549 h 10000"/>
                <a:gd name="connsiteX80" fmla="*/ 5434 w 10000"/>
                <a:gd name="connsiteY80" fmla="*/ 0 h 10000"/>
                <a:gd name="connsiteX81" fmla="*/ 1401 w 10000"/>
                <a:gd name="connsiteY81" fmla="*/ 0 h 10000"/>
                <a:gd name="connsiteX82" fmla="*/ 1305 w 10000"/>
                <a:gd name="connsiteY82" fmla="*/ 128 h 10000"/>
                <a:gd name="connsiteX83" fmla="*/ 1223 w 10000"/>
                <a:gd name="connsiteY83" fmla="*/ 220 h 10000"/>
                <a:gd name="connsiteX84" fmla="*/ 1149 w 10000"/>
                <a:gd name="connsiteY84" fmla="*/ 316 h 10000"/>
                <a:gd name="connsiteX85" fmla="*/ 1067 w 10000"/>
                <a:gd name="connsiteY85" fmla="*/ 412 h 10000"/>
                <a:gd name="connsiteX86" fmla="*/ 1001 w 10000"/>
                <a:gd name="connsiteY86" fmla="*/ 509 h 10000"/>
                <a:gd name="connsiteX87" fmla="*/ 927 w 10000"/>
                <a:gd name="connsiteY87" fmla="*/ 605 h 10000"/>
                <a:gd name="connsiteX88" fmla="*/ 860 w 10000"/>
                <a:gd name="connsiteY88" fmla="*/ 706 h 10000"/>
                <a:gd name="connsiteX89" fmla="*/ 793 w 10000"/>
                <a:gd name="connsiteY89" fmla="*/ 807 h 10000"/>
                <a:gd name="connsiteX90" fmla="*/ 734 w 10000"/>
                <a:gd name="connsiteY90" fmla="*/ 903 h 10000"/>
                <a:gd name="connsiteX91" fmla="*/ 675 w 10000"/>
                <a:gd name="connsiteY91" fmla="*/ 1004 h 10000"/>
                <a:gd name="connsiteX92" fmla="*/ 615 w 10000"/>
                <a:gd name="connsiteY92" fmla="*/ 1104 h 10000"/>
                <a:gd name="connsiteX93" fmla="*/ 556 w 10000"/>
                <a:gd name="connsiteY93" fmla="*/ 1210 h 10000"/>
                <a:gd name="connsiteX94" fmla="*/ 504 w 10000"/>
                <a:gd name="connsiteY94" fmla="*/ 1306 h 10000"/>
                <a:gd name="connsiteX95" fmla="*/ 452 w 10000"/>
                <a:gd name="connsiteY95" fmla="*/ 1412 h 10000"/>
                <a:gd name="connsiteX96" fmla="*/ 408 w 10000"/>
                <a:gd name="connsiteY96" fmla="*/ 1512 h 10000"/>
                <a:gd name="connsiteX97" fmla="*/ 363 w 10000"/>
                <a:gd name="connsiteY97" fmla="*/ 1618 h 10000"/>
                <a:gd name="connsiteX98" fmla="*/ 319 w 10000"/>
                <a:gd name="connsiteY98" fmla="*/ 1723 h 10000"/>
                <a:gd name="connsiteX99" fmla="*/ 282 w 10000"/>
                <a:gd name="connsiteY99" fmla="*/ 1829 h 10000"/>
                <a:gd name="connsiteX100" fmla="*/ 237 w 10000"/>
                <a:gd name="connsiteY100" fmla="*/ 1939 h 10000"/>
                <a:gd name="connsiteX101" fmla="*/ 208 w 10000"/>
                <a:gd name="connsiteY101" fmla="*/ 2044 h 10000"/>
                <a:gd name="connsiteX102" fmla="*/ 170 w 10000"/>
                <a:gd name="connsiteY102" fmla="*/ 2154 h 10000"/>
                <a:gd name="connsiteX103" fmla="*/ 148 w 10000"/>
                <a:gd name="connsiteY103" fmla="*/ 2264 h 10000"/>
                <a:gd name="connsiteX104" fmla="*/ 119 w 10000"/>
                <a:gd name="connsiteY104" fmla="*/ 2369 h 10000"/>
                <a:gd name="connsiteX105" fmla="*/ 96 w 10000"/>
                <a:gd name="connsiteY105" fmla="*/ 2479 h 10000"/>
                <a:gd name="connsiteX106" fmla="*/ 74 w 10000"/>
                <a:gd name="connsiteY106" fmla="*/ 2589 h 10000"/>
                <a:gd name="connsiteX107" fmla="*/ 52 w 10000"/>
                <a:gd name="connsiteY107" fmla="*/ 2704 h 10000"/>
                <a:gd name="connsiteX108" fmla="*/ 37 w 10000"/>
                <a:gd name="connsiteY108" fmla="*/ 2814 h 10000"/>
                <a:gd name="connsiteX109" fmla="*/ 22 w 10000"/>
                <a:gd name="connsiteY109" fmla="*/ 2924 h 10000"/>
                <a:gd name="connsiteX110" fmla="*/ 15 w 10000"/>
                <a:gd name="connsiteY110" fmla="*/ 3034 h 10000"/>
                <a:gd name="connsiteX111" fmla="*/ 7 w 10000"/>
                <a:gd name="connsiteY111" fmla="*/ 3148 h 10000"/>
                <a:gd name="connsiteX112" fmla="*/ 0 w 10000"/>
                <a:gd name="connsiteY112" fmla="*/ 3258 h 10000"/>
                <a:gd name="connsiteX113" fmla="*/ 0 w 10000"/>
                <a:gd name="connsiteY113" fmla="*/ 3373 h 10000"/>
                <a:gd name="connsiteX114" fmla="*/ 7 w 10000"/>
                <a:gd name="connsiteY114" fmla="*/ 3520 h 10000"/>
                <a:gd name="connsiteX115" fmla="*/ 7 w 10000"/>
                <a:gd name="connsiteY115" fmla="*/ 3666 h 10000"/>
                <a:gd name="connsiteX116" fmla="*/ 22 w 10000"/>
                <a:gd name="connsiteY116" fmla="*/ 3804 h 10000"/>
                <a:gd name="connsiteX117" fmla="*/ 37 w 10000"/>
                <a:gd name="connsiteY117" fmla="*/ 3946 h 10000"/>
                <a:gd name="connsiteX118" fmla="*/ 59 w 10000"/>
                <a:gd name="connsiteY118" fmla="*/ 4088 h 10000"/>
                <a:gd name="connsiteX119" fmla="*/ 89 w 10000"/>
                <a:gd name="connsiteY119" fmla="*/ 4230 h 10000"/>
                <a:gd name="connsiteX120" fmla="*/ 119 w 10000"/>
                <a:gd name="connsiteY120" fmla="*/ 4372 h 10000"/>
                <a:gd name="connsiteX121" fmla="*/ 148 w 10000"/>
                <a:gd name="connsiteY121" fmla="*/ 4514 h 10000"/>
                <a:gd name="connsiteX122" fmla="*/ 193 w 10000"/>
                <a:gd name="connsiteY122" fmla="*/ 4652 h 10000"/>
                <a:gd name="connsiteX123" fmla="*/ 237 w 10000"/>
                <a:gd name="connsiteY123" fmla="*/ 4789 h 10000"/>
                <a:gd name="connsiteX124" fmla="*/ 282 w 10000"/>
                <a:gd name="connsiteY124" fmla="*/ 4927 h 10000"/>
                <a:gd name="connsiteX125" fmla="*/ 334 w 10000"/>
                <a:gd name="connsiteY125" fmla="*/ 5064 h 10000"/>
                <a:gd name="connsiteX126" fmla="*/ 393 w 10000"/>
                <a:gd name="connsiteY126" fmla="*/ 5197 h 10000"/>
                <a:gd name="connsiteX127" fmla="*/ 452 w 10000"/>
                <a:gd name="connsiteY127" fmla="*/ 5330 h 10000"/>
                <a:gd name="connsiteX128" fmla="*/ 519 w 10000"/>
                <a:gd name="connsiteY128" fmla="*/ 5463 h 10000"/>
                <a:gd name="connsiteX129" fmla="*/ 586 w 10000"/>
                <a:gd name="connsiteY129" fmla="*/ 5596 h 10000"/>
                <a:gd name="connsiteX130" fmla="*/ 660 w 10000"/>
                <a:gd name="connsiteY130" fmla="*/ 5724 h 10000"/>
                <a:gd name="connsiteX131" fmla="*/ 741 w 10000"/>
                <a:gd name="connsiteY131" fmla="*/ 5852 h 10000"/>
                <a:gd name="connsiteX132" fmla="*/ 823 w 10000"/>
                <a:gd name="connsiteY132" fmla="*/ 5985 h 10000"/>
                <a:gd name="connsiteX133" fmla="*/ 904 w 10000"/>
                <a:gd name="connsiteY133" fmla="*/ 6109 h 10000"/>
                <a:gd name="connsiteX134" fmla="*/ 993 w 10000"/>
                <a:gd name="connsiteY134" fmla="*/ 6233 h 10000"/>
                <a:gd name="connsiteX135" fmla="*/ 1090 w 10000"/>
                <a:gd name="connsiteY135" fmla="*/ 6352 h 10000"/>
                <a:gd name="connsiteX136" fmla="*/ 1186 w 10000"/>
                <a:gd name="connsiteY136" fmla="*/ 6476 h 10000"/>
                <a:gd name="connsiteX137" fmla="*/ 1290 w 10000"/>
                <a:gd name="connsiteY137" fmla="*/ 6599 h 10000"/>
                <a:gd name="connsiteX138" fmla="*/ 1386 w 10000"/>
                <a:gd name="connsiteY138" fmla="*/ 6719 h 10000"/>
                <a:gd name="connsiteX139" fmla="*/ 1497 w 10000"/>
                <a:gd name="connsiteY139" fmla="*/ 6838 h 10000"/>
                <a:gd name="connsiteX140" fmla="*/ 1609 w 10000"/>
                <a:gd name="connsiteY140" fmla="*/ 6952 h 10000"/>
                <a:gd name="connsiteX141" fmla="*/ 1727 w 10000"/>
                <a:gd name="connsiteY141" fmla="*/ 7071 h 10000"/>
                <a:gd name="connsiteX142" fmla="*/ 1846 w 10000"/>
                <a:gd name="connsiteY142" fmla="*/ 7186 h 10000"/>
                <a:gd name="connsiteX143" fmla="*/ 1964 w 10000"/>
                <a:gd name="connsiteY143" fmla="*/ 7296 h 10000"/>
                <a:gd name="connsiteX144" fmla="*/ 2090 w 10000"/>
                <a:gd name="connsiteY144" fmla="*/ 7406 h 10000"/>
                <a:gd name="connsiteX145" fmla="*/ 2224 w 10000"/>
                <a:gd name="connsiteY145" fmla="*/ 7516 h 10000"/>
                <a:gd name="connsiteX146" fmla="*/ 2350 w 10000"/>
                <a:gd name="connsiteY146" fmla="*/ 7626 h 10000"/>
                <a:gd name="connsiteX147" fmla="*/ 2491 w 10000"/>
                <a:gd name="connsiteY147" fmla="*/ 7731 h 10000"/>
                <a:gd name="connsiteX148" fmla="*/ 2617 w 10000"/>
                <a:gd name="connsiteY148" fmla="*/ 7837 h 10000"/>
                <a:gd name="connsiteX149" fmla="*/ 2765 w 10000"/>
                <a:gd name="connsiteY149" fmla="*/ 7938 h 10000"/>
                <a:gd name="connsiteX150" fmla="*/ 2906 w 10000"/>
                <a:gd name="connsiteY150" fmla="*/ 8038 h 10000"/>
                <a:gd name="connsiteX151" fmla="*/ 3054 w 10000"/>
                <a:gd name="connsiteY151" fmla="*/ 8139 h 10000"/>
                <a:gd name="connsiteX152" fmla="*/ 3210 w 10000"/>
                <a:gd name="connsiteY152" fmla="*/ 8236 h 10000"/>
                <a:gd name="connsiteX153" fmla="*/ 3358 w 10000"/>
                <a:gd name="connsiteY153" fmla="*/ 8332 h 10000"/>
                <a:gd name="connsiteX154" fmla="*/ 3514 w 10000"/>
                <a:gd name="connsiteY154" fmla="*/ 8428 h 10000"/>
                <a:gd name="connsiteX155" fmla="*/ 3677 w 10000"/>
                <a:gd name="connsiteY155" fmla="*/ 8520 h 10000"/>
                <a:gd name="connsiteX156" fmla="*/ 3840 w 10000"/>
                <a:gd name="connsiteY156" fmla="*/ 8607 h 10000"/>
                <a:gd name="connsiteX157" fmla="*/ 4010 w 10000"/>
                <a:gd name="connsiteY157" fmla="*/ 8698 h 10000"/>
                <a:gd name="connsiteX158" fmla="*/ 4181 w 10000"/>
                <a:gd name="connsiteY158" fmla="*/ 8776 h 10000"/>
                <a:gd name="connsiteX159" fmla="*/ 4351 w 10000"/>
                <a:gd name="connsiteY159" fmla="*/ 8863 h 10000"/>
                <a:gd name="connsiteX160" fmla="*/ 4522 w 10000"/>
                <a:gd name="connsiteY160" fmla="*/ 8941 h 10000"/>
                <a:gd name="connsiteX161" fmla="*/ 4700 w 10000"/>
                <a:gd name="connsiteY161" fmla="*/ 9024 h 10000"/>
                <a:gd name="connsiteX162" fmla="*/ 4878 w 10000"/>
                <a:gd name="connsiteY162" fmla="*/ 9102 h 10000"/>
                <a:gd name="connsiteX163" fmla="*/ 5063 w 10000"/>
                <a:gd name="connsiteY163" fmla="*/ 9175 h 10000"/>
                <a:gd name="connsiteX164" fmla="*/ 5248 w 10000"/>
                <a:gd name="connsiteY164" fmla="*/ 9253 h 10000"/>
                <a:gd name="connsiteX165" fmla="*/ 5426 w 10000"/>
                <a:gd name="connsiteY165" fmla="*/ 9322 h 10000"/>
                <a:gd name="connsiteX166" fmla="*/ 5619 w 10000"/>
                <a:gd name="connsiteY166" fmla="*/ 9390 h 10000"/>
                <a:gd name="connsiteX167" fmla="*/ 5812 w 10000"/>
                <a:gd name="connsiteY167" fmla="*/ 9459 h 10000"/>
                <a:gd name="connsiteX168" fmla="*/ 6004 w 10000"/>
                <a:gd name="connsiteY168" fmla="*/ 9523 h 10000"/>
                <a:gd name="connsiteX169" fmla="*/ 6205 w 10000"/>
                <a:gd name="connsiteY169" fmla="*/ 9588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4 h 10000"/>
                <a:gd name="connsiteX179" fmla="*/ 10000 w 10000"/>
                <a:gd name="connsiteY179" fmla="*/ 6141 h 10000"/>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434 w 10000"/>
                <a:gd name="connsiteY80" fmla="*/ 21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423 w 10000"/>
                <a:gd name="connsiteY80" fmla="*/ 28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390 w 10000"/>
                <a:gd name="connsiteY80" fmla="*/ 14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48 h 10007"/>
                <a:gd name="connsiteX1" fmla="*/ 10000 w 10000"/>
                <a:gd name="connsiteY1" fmla="*/ 6148 h 10007"/>
                <a:gd name="connsiteX2" fmla="*/ 9911 w 10000"/>
                <a:gd name="connsiteY2" fmla="*/ 6134 h 10007"/>
                <a:gd name="connsiteX3" fmla="*/ 9815 w 10000"/>
                <a:gd name="connsiteY3" fmla="*/ 6116 h 10007"/>
                <a:gd name="connsiteX4" fmla="*/ 9726 w 10000"/>
                <a:gd name="connsiteY4" fmla="*/ 6098 h 10007"/>
                <a:gd name="connsiteX5" fmla="*/ 9637 w 10000"/>
                <a:gd name="connsiteY5" fmla="*/ 6075 h 10007"/>
                <a:gd name="connsiteX6" fmla="*/ 9548 w 10000"/>
                <a:gd name="connsiteY6" fmla="*/ 6056 h 10007"/>
                <a:gd name="connsiteX7" fmla="*/ 9466 w 10000"/>
                <a:gd name="connsiteY7" fmla="*/ 6034 h 10007"/>
                <a:gd name="connsiteX8" fmla="*/ 9377 w 10000"/>
                <a:gd name="connsiteY8" fmla="*/ 6011 h 10007"/>
                <a:gd name="connsiteX9" fmla="*/ 9288 w 10000"/>
                <a:gd name="connsiteY9" fmla="*/ 5988 h 10007"/>
                <a:gd name="connsiteX10" fmla="*/ 9118 w 10000"/>
                <a:gd name="connsiteY10" fmla="*/ 5937 h 10007"/>
                <a:gd name="connsiteX11" fmla="*/ 8955 w 10000"/>
                <a:gd name="connsiteY11" fmla="*/ 5882 h 10007"/>
                <a:gd name="connsiteX12" fmla="*/ 8792 w 10000"/>
                <a:gd name="connsiteY12" fmla="*/ 5823 h 10007"/>
                <a:gd name="connsiteX13" fmla="*/ 8636 w 10000"/>
                <a:gd name="connsiteY13" fmla="*/ 5759 h 10007"/>
                <a:gd name="connsiteX14" fmla="*/ 8480 w 10000"/>
                <a:gd name="connsiteY14" fmla="*/ 5694 h 10007"/>
                <a:gd name="connsiteX15" fmla="*/ 8340 w 10000"/>
                <a:gd name="connsiteY15" fmla="*/ 5626 h 10007"/>
                <a:gd name="connsiteX16" fmla="*/ 8199 w 10000"/>
                <a:gd name="connsiteY16" fmla="*/ 5552 h 10007"/>
                <a:gd name="connsiteX17" fmla="*/ 8058 w 10000"/>
                <a:gd name="connsiteY17" fmla="*/ 5474 h 10007"/>
                <a:gd name="connsiteX18" fmla="*/ 7924 w 10000"/>
                <a:gd name="connsiteY18" fmla="*/ 5392 h 10007"/>
                <a:gd name="connsiteX19" fmla="*/ 7798 w 10000"/>
                <a:gd name="connsiteY19" fmla="*/ 5309 h 10007"/>
                <a:gd name="connsiteX20" fmla="*/ 7672 w 10000"/>
                <a:gd name="connsiteY20" fmla="*/ 5222 h 10007"/>
                <a:gd name="connsiteX21" fmla="*/ 7554 w 10000"/>
                <a:gd name="connsiteY21" fmla="*/ 5135 h 10007"/>
                <a:gd name="connsiteX22" fmla="*/ 7450 w 10000"/>
                <a:gd name="connsiteY22" fmla="*/ 5039 h 10007"/>
                <a:gd name="connsiteX23" fmla="*/ 7346 w 10000"/>
                <a:gd name="connsiteY23" fmla="*/ 4943 h 10007"/>
                <a:gd name="connsiteX24" fmla="*/ 7250 w 10000"/>
                <a:gd name="connsiteY24" fmla="*/ 4847 h 10007"/>
                <a:gd name="connsiteX25" fmla="*/ 7161 w 10000"/>
                <a:gd name="connsiteY25" fmla="*/ 4746 h 10007"/>
                <a:gd name="connsiteX26" fmla="*/ 7072 w 10000"/>
                <a:gd name="connsiteY26" fmla="*/ 4645 h 10007"/>
                <a:gd name="connsiteX27" fmla="*/ 6990 w 10000"/>
                <a:gd name="connsiteY27" fmla="*/ 4535 h 10007"/>
                <a:gd name="connsiteX28" fmla="*/ 6953 w 10000"/>
                <a:gd name="connsiteY28" fmla="*/ 4485 h 10007"/>
                <a:gd name="connsiteX29" fmla="*/ 6916 w 10000"/>
                <a:gd name="connsiteY29" fmla="*/ 4430 h 10007"/>
                <a:gd name="connsiteX30" fmla="*/ 6887 w 10000"/>
                <a:gd name="connsiteY30" fmla="*/ 4375 h 10007"/>
                <a:gd name="connsiteX31" fmla="*/ 6850 w 10000"/>
                <a:gd name="connsiteY31" fmla="*/ 4320 h 10007"/>
                <a:gd name="connsiteX32" fmla="*/ 6820 w 10000"/>
                <a:gd name="connsiteY32" fmla="*/ 4265 h 10007"/>
                <a:gd name="connsiteX33" fmla="*/ 6790 w 10000"/>
                <a:gd name="connsiteY33" fmla="*/ 4210 h 10007"/>
                <a:gd name="connsiteX34" fmla="*/ 6768 w 10000"/>
                <a:gd name="connsiteY34" fmla="*/ 4150 h 10007"/>
                <a:gd name="connsiteX35" fmla="*/ 6738 w 10000"/>
                <a:gd name="connsiteY35" fmla="*/ 4095 h 10007"/>
                <a:gd name="connsiteX36" fmla="*/ 6723 w 10000"/>
                <a:gd name="connsiteY36" fmla="*/ 4035 h 10007"/>
                <a:gd name="connsiteX37" fmla="*/ 6694 w 10000"/>
                <a:gd name="connsiteY37" fmla="*/ 3980 h 10007"/>
                <a:gd name="connsiteX38" fmla="*/ 6679 w 10000"/>
                <a:gd name="connsiteY38" fmla="*/ 3921 h 10007"/>
                <a:gd name="connsiteX39" fmla="*/ 6664 w 10000"/>
                <a:gd name="connsiteY39" fmla="*/ 3861 h 10007"/>
                <a:gd name="connsiteX40" fmla="*/ 6649 w 10000"/>
                <a:gd name="connsiteY40" fmla="*/ 3802 h 10007"/>
                <a:gd name="connsiteX41" fmla="*/ 6635 w 10000"/>
                <a:gd name="connsiteY41" fmla="*/ 3747 h 10007"/>
                <a:gd name="connsiteX42" fmla="*/ 6620 w 10000"/>
                <a:gd name="connsiteY42" fmla="*/ 3687 h 10007"/>
                <a:gd name="connsiteX43" fmla="*/ 6612 w 10000"/>
                <a:gd name="connsiteY43" fmla="*/ 3628 h 10007"/>
                <a:gd name="connsiteX44" fmla="*/ 6605 w 10000"/>
                <a:gd name="connsiteY44" fmla="*/ 3568 h 10007"/>
                <a:gd name="connsiteX45" fmla="*/ 6597 w 10000"/>
                <a:gd name="connsiteY45" fmla="*/ 3504 h 10007"/>
                <a:gd name="connsiteX46" fmla="*/ 6597 w 10000"/>
                <a:gd name="connsiteY46" fmla="*/ 3444 h 10007"/>
                <a:gd name="connsiteX47" fmla="*/ 6590 w 10000"/>
                <a:gd name="connsiteY47" fmla="*/ 3380 h 10007"/>
                <a:gd name="connsiteX48" fmla="*/ 6597 w 10000"/>
                <a:gd name="connsiteY48" fmla="*/ 3320 h 10007"/>
                <a:gd name="connsiteX49" fmla="*/ 6605 w 10000"/>
                <a:gd name="connsiteY49" fmla="*/ 3252 h 10007"/>
                <a:gd name="connsiteX50" fmla="*/ 6605 w 10000"/>
                <a:gd name="connsiteY50" fmla="*/ 3188 h 10007"/>
                <a:gd name="connsiteX51" fmla="*/ 6612 w 10000"/>
                <a:gd name="connsiteY51" fmla="*/ 3123 h 10007"/>
                <a:gd name="connsiteX52" fmla="*/ 6620 w 10000"/>
                <a:gd name="connsiteY52" fmla="*/ 3059 h 10007"/>
                <a:gd name="connsiteX53" fmla="*/ 6635 w 10000"/>
                <a:gd name="connsiteY53" fmla="*/ 3000 h 10007"/>
                <a:gd name="connsiteX54" fmla="*/ 6649 w 10000"/>
                <a:gd name="connsiteY54" fmla="*/ 2936 h 10007"/>
                <a:gd name="connsiteX55" fmla="*/ 6664 w 10000"/>
                <a:gd name="connsiteY55" fmla="*/ 2876 h 10007"/>
                <a:gd name="connsiteX56" fmla="*/ 6686 w 10000"/>
                <a:gd name="connsiteY56" fmla="*/ 2812 h 10007"/>
                <a:gd name="connsiteX57" fmla="*/ 6709 w 10000"/>
                <a:gd name="connsiteY57" fmla="*/ 2752 h 10007"/>
                <a:gd name="connsiteX58" fmla="*/ 6731 w 10000"/>
                <a:gd name="connsiteY58" fmla="*/ 2693 h 10007"/>
                <a:gd name="connsiteX59" fmla="*/ 6753 w 10000"/>
                <a:gd name="connsiteY59" fmla="*/ 2628 h 10007"/>
                <a:gd name="connsiteX60" fmla="*/ 6783 w 10000"/>
                <a:gd name="connsiteY60" fmla="*/ 2573 h 10007"/>
                <a:gd name="connsiteX61" fmla="*/ 6812 w 10000"/>
                <a:gd name="connsiteY61" fmla="*/ 2514 h 10007"/>
                <a:gd name="connsiteX62" fmla="*/ 6842 w 10000"/>
                <a:gd name="connsiteY62" fmla="*/ 2454 h 10007"/>
                <a:gd name="connsiteX63" fmla="*/ 6879 w 10000"/>
                <a:gd name="connsiteY63" fmla="*/ 2395 h 10007"/>
                <a:gd name="connsiteX64" fmla="*/ 6909 w 10000"/>
                <a:gd name="connsiteY64" fmla="*/ 2340 h 10007"/>
                <a:gd name="connsiteX65" fmla="*/ 6946 w 10000"/>
                <a:gd name="connsiteY65" fmla="*/ 2280 h 10007"/>
                <a:gd name="connsiteX66" fmla="*/ 6990 w 10000"/>
                <a:gd name="connsiteY66" fmla="*/ 2225 h 10007"/>
                <a:gd name="connsiteX67" fmla="*/ 7027 w 10000"/>
                <a:gd name="connsiteY67" fmla="*/ 2170 h 10007"/>
                <a:gd name="connsiteX68" fmla="*/ 7072 w 10000"/>
                <a:gd name="connsiteY68" fmla="*/ 2115 h 10007"/>
                <a:gd name="connsiteX69" fmla="*/ 7109 w 10000"/>
                <a:gd name="connsiteY69" fmla="*/ 2060 h 10007"/>
                <a:gd name="connsiteX70" fmla="*/ 7161 w 10000"/>
                <a:gd name="connsiteY70" fmla="*/ 2010 h 10007"/>
                <a:gd name="connsiteX71" fmla="*/ 7213 w 10000"/>
                <a:gd name="connsiteY71" fmla="*/ 1955 h 10007"/>
                <a:gd name="connsiteX72" fmla="*/ 7257 w 10000"/>
                <a:gd name="connsiteY72" fmla="*/ 1900 h 10007"/>
                <a:gd name="connsiteX73" fmla="*/ 7309 w 10000"/>
                <a:gd name="connsiteY73" fmla="*/ 1849 h 10007"/>
                <a:gd name="connsiteX74" fmla="*/ 7361 w 10000"/>
                <a:gd name="connsiteY74" fmla="*/ 1799 h 10007"/>
                <a:gd name="connsiteX75" fmla="*/ 7413 w 10000"/>
                <a:gd name="connsiteY75" fmla="*/ 1749 h 10007"/>
                <a:gd name="connsiteX76" fmla="*/ 7472 w 10000"/>
                <a:gd name="connsiteY76" fmla="*/ 1698 h 10007"/>
                <a:gd name="connsiteX77" fmla="*/ 7524 w 10000"/>
                <a:gd name="connsiteY77" fmla="*/ 1652 h 10007"/>
                <a:gd name="connsiteX78" fmla="*/ 7583 w 10000"/>
                <a:gd name="connsiteY78" fmla="*/ 1606 h 10007"/>
                <a:gd name="connsiteX79" fmla="*/ 7643 w 10000"/>
                <a:gd name="connsiteY79" fmla="*/ 1556 h 10007"/>
                <a:gd name="connsiteX80" fmla="*/ 5390 w 10000"/>
                <a:gd name="connsiteY80" fmla="*/ 0 h 10007"/>
                <a:gd name="connsiteX81" fmla="*/ 1401 w 10000"/>
                <a:gd name="connsiteY81" fmla="*/ 0 h 10007"/>
                <a:gd name="connsiteX82" fmla="*/ 1305 w 10000"/>
                <a:gd name="connsiteY82" fmla="*/ 135 h 10007"/>
                <a:gd name="connsiteX83" fmla="*/ 1223 w 10000"/>
                <a:gd name="connsiteY83" fmla="*/ 227 h 10007"/>
                <a:gd name="connsiteX84" fmla="*/ 1149 w 10000"/>
                <a:gd name="connsiteY84" fmla="*/ 323 h 10007"/>
                <a:gd name="connsiteX85" fmla="*/ 1067 w 10000"/>
                <a:gd name="connsiteY85" fmla="*/ 419 h 10007"/>
                <a:gd name="connsiteX86" fmla="*/ 1001 w 10000"/>
                <a:gd name="connsiteY86" fmla="*/ 516 h 10007"/>
                <a:gd name="connsiteX87" fmla="*/ 927 w 10000"/>
                <a:gd name="connsiteY87" fmla="*/ 612 h 10007"/>
                <a:gd name="connsiteX88" fmla="*/ 860 w 10000"/>
                <a:gd name="connsiteY88" fmla="*/ 713 h 10007"/>
                <a:gd name="connsiteX89" fmla="*/ 793 w 10000"/>
                <a:gd name="connsiteY89" fmla="*/ 814 h 10007"/>
                <a:gd name="connsiteX90" fmla="*/ 734 w 10000"/>
                <a:gd name="connsiteY90" fmla="*/ 910 h 10007"/>
                <a:gd name="connsiteX91" fmla="*/ 675 w 10000"/>
                <a:gd name="connsiteY91" fmla="*/ 1011 h 10007"/>
                <a:gd name="connsiteX92" fmla="*/ 615 w 10000"/>
                <a:gd name="connsiteY92" fmla="*/ 1111 h 10007"/>
                <a:gd name="connsiteX93" fmla="*/ 556 w 10000"/>
                <a:gd name="connsiteY93" fmla="*/ 1217 h 10007"/>
                <a:gd name="connsiteX94" fmla="*/ 504 w 10000"/>
                <a:gd name="connsiteY94" fmla="*/ 1313 h 10007"/>
                <a:gd name="connsiteX95" fmla="*/ 452 w 10000"/>
                <a:gd name="connsiteY95" fmla="*/ 1419 h 10007"/>
                <a:gd name="connsiteX96" fmla="*/ 408 w 10000"/>
                <a:gd name="connsiteY96" fmla="*/ 1519 h 10007"/>
                <a:gd name="connsiteX97" fmla="*/ 363 w 10000"/>
                <a:gd name="connsiteY97" fmla="*/ 1625 h 10007"/>
                <a:gd name="connsiteX98" fmla="*/ 319 w 10000"/>
                <a:gd name="connsiteY98" fmla="*/ 1730 h 10007"/>
                <a:gd name="connsiteX99" fmla="*/ 282 w 10000"/>
                <a:gd name="connsiteY99" fmla="*/ 1836 h 10007"/>
                <a:gd name="connsiteX100" fmla="*/ 237 w 10000"/>
                <a:gd name="connsiteY100" fmla="*/ 1946 h 10007"/>
                <a:gd name="connsiteX101" fmla="*/ 208 w 10000"/>
                <a:gd name="connsiteY101" fmla="*/ 2051 h 10007"/>
                <a:gd name="connsiteX102" fmla="*/ 170 w 10000"/>
                <a:gd name="connsiteY102" fmla="*/ 2161 h 10007"/>
                <a:gd name="connsiteX103" fmla="*/ 148 w 10000"/>
                <a:gd name="connsiteY103" fmla="*/ 2271 h 10007"/>
                <a:gd name="connsiteX104" fmla="*/ 119 w 10000"/>
                <a:gd name="connsiteY104" fmla="*/ 2376 h 10007"/>
                <a:gd name="connsiteX105" fmla="*/ 96 w 10000"/>
                <a:gd name="connsiteY105" fmla="*/ 2486 h 10007"/>
                <a:gd name="connsiteX106" fmla="*/ 74 w 10000"/>
                <a:gd name="connsiteY106" fmla="*/ 2596 h 10007"/>
                <a:gd name="connsiteX107" fmla="*/ 52 w 10000"/>
                <a:gd name="connsiteY107" fmla="*/ 2711 h 10007"/>
                <a:gd name="connsiteX108" fmla="*/ 37 w 10000"/>
                <a:gd name="connsiteY108" fmla="*/ 2821 h 10007"/>
                <a:gd name="connsiteX109" fmla="*/ 22 w 10000"/>
                <a:gd name="connsiteY109" fmla="*/ 2931 h 10007"/>
                <a:gd name="connsiteX110" fmla="*/ 15 w 10000"/>
                <a:gd name="connsiteY110" fmla="*/ 3041 h 10007"/>
                <a:gd name="connsiteX111" fmla="*/ 7 w 10000"/>
                <a:gd name="connsiteY111" fmla="*/ 3155 h 10007"/>
                <a:gd name="connsiteX112" fmla="*/ 0 w 10000"/>
                <a:gd name="connsiteY112" fmla="*/ 3265 h 10007"/>
                <a:gd name="connsiteX113" fmla="*/ 0 w 10000"/>
                <a:gd name="connsiteY113" fmla="*/ 3380 h 10007"/>
                <a:gd name="connsiteX114" fmla="*/ 7 w 10000"/>
                <a:gd name="connsiteY114" fmla="*/ 3527 h 10007"/>
                <a:gd name="connsiteX115" fmla="*/ 7 w 10000"/>
                <a:gd name="connsiteY115" fmla="*/ 3673 h 10007"/>
                <a:gd name="connsiteX116" fmla="*/ 22 w 10000"/>
                <a:gd name="connsiteY116" fmla="*/ 3811 h 10007"/>
                <a:gd name="connsiteX117" fmla="*/ 37 w 10000"/>
                <a:gd name="connsiteY117" fmla="*/ 3953 h 10007"/>
                <a:gd name="connsiteX118" fmla="*/ 59 w 10000"/>
                <a:gd name="connsiteY118" fmla="*/ 4095 h 10007"/>
                <a:gd name="connsiteX119" fmla="*/ 89 w 10000"/>
                <a:gd name="connsiteY119" fmla="*/ 4237 h 10007"/>
                <a:gd name="connsiteX120" fmla="*/ 119 w 10000"/>
                <a:gd name="connsiteY120" fmla="*/ 4379 h 10007"/>
                <a:gd name="connsiteX121" fmla="*/ 148 w 10000"/>
                <a:gd name="connsiteY121" fmla="*/ 4521 h 10007"/>
                <a:gd name="connsiteX122" fmla="*/ 193 w 10000"/>
                <a:gd name="connsiteY122" fmla="*/ 4659 h 10007"/>
                <a:gd name="connsiteX123" fmla="*/ 237 w 10000"/>
                <a:gd name="connsiteY123" fmla="*/ 4796 h 10007"/>
                <a:gd name="connsiteX124" fmla="*/ 282 w 10000"/>
                <a:gd name="connsiteY124" fmla="*/ 4934 h 10007"/>
                <a:gd name="connsiteX125" fmla="*/ 334 w 10000"/>
                <a:gd name="connsiteY125" fmla="*/ 5071 h 10007"/>
                <a:gd name="connsiteX126" fmla="*/ 393 w 10000"/>
                <a:gd name="connsiteY126" fmla="*/ 5204 h 10007"/>
                <a:gd name="connsiteX127" fmla="*/ 452 w 10000"/>
                <a:gd name="connsiteY127" fmla="*/ 5337 h 10007"/>
                <a:gd name="connsiteX128" fmla="*/ 519 w 10000"/>
                <a:gd name="connsiteY128" fmla="*/ 5470 h 10007"/>
                <a:gd name="connsiteX129" fmla="*/ 586 w 10000"/>
                <a:gd name="connsiteY129" fmla="*/ 5603 h 10007"/>
                <a:gd name="connsiteX130" fmla="*/ 660 w 10000"/>
                <a:gd name="connsiteY130" fmla="*/ 5731 h 10007"/>
                <a:gd name="connsiteX131" fmla="*/ 741 w 10000"/>
                <a:gd name="connsiteY131" fmla="*/ 5859 h 10007"/>
                <a:gd name="connsiteX132" fmla="*/ 823 w 10000"/>
                <a:gd name="connsiteY132" fmla="*/ 5992 h 10007"/>
                <a:gd name="connsiteX133" fmla="*/ 904 w 10000"/>
                <a:gd name="connsiteY133" fmla="*/ 6116 h 10007"/>
                <a:gd name="connsiteX134" fmla="*/ 993 w 10000"/>
                <a:gd name="connsiteY134" fmla="*/ 6240 h 10007"/>
                <a:gd name="connsiteX135" fmla="*/ 1090 w 10000"/>
                <a:gd name="connsiteY135" fmla="*/ 6359 h 10007"/>
                <a:gd name="connsiteX136" fmla="*/ 1186 w 10000"/>
                <a:gd name="connsiteY136" fmla="*/ 6483 h 10007"/>
                <a:gd name="connsiteX137" fmla="*/ 1290 w 10000"/>
                <a:gd name="connsiteY137" fmla="*/ 6606 h 10007"/>
                <a:gd name="connsiteX138" fmla="*/ 1386 w 10000"/>
                <a:gd name="connsiteY138" fmla="*/ 6726 h 10007"/>
                <a:gd name="connsiteX139" fmla="*/ 1497 w 10000"/>
                <a:gd name="connsiteY139" fmla="*/ 6845 h 10007"/>
                <a:gd name="connsiteX140" fmla="*/ 1609 w 10000"/>
                <a:gd name="connsiteY140" fmla="*/ 6959 h 10007"/>
                <a:gd name="connsiteX141" fmla="*/ 1727 w 10000"/>
                <a:gd name="connsiteY141" fmla="*/ 7078 h 10007"/>
                <a:gd name="connsiteX142" fmla="*/ 1846 w 10000"/>
                <a:gd name="connsiteY142" fmla="*/ 7193 h 10007"/>
                <a:gd name="connsiteX143" fmla="*/ 1964 w 10000"/>
                <a:gd name="connsiteY143" fmla="*/ 7303 h 10007"/>
                <a:gd name="connsiteX144" fmla="*/ 2090 w 10000"/>
                <a:gd name="connsiteY144" fmla="*/ 7413 h 10007"/>
                <a:gd name="connsiteX145" fmla="*/ 2224 w 10000"/>
                <a:gd name="connsiteY145" fmla="*/ 7523 h 10007"/>
                <a:gd name="connsiteX146" fmla="*/ 2350 w 10000"/>
                <a:gd name="connsiteY146" fmla="*/ 7633 h 10007"/>
                <a:gd name="connsiteX147" fmla="*/ 2491 w 10000"/>
                <a:gd name="connsiteY147" fmla="*/ 7738 h 10007"/>
                <a:gd name="connsiteX148" fmla="*/ 2617 w 10000"/>
                <a:gd name="connsiteY148" fmla="*/ 7844 h 10007"/>
                <a:gd name="connsiteX149" fmla="*/ 2765 w 10000"/>
                <a:gd name="connsiteY149" fmla="*/ 7945 h 10007"/>
                <a:gd name="connsiteX150" fmla="*/ 2906 w 10000"/>
                <a:gd name="connsiteY150" fmla="*/ 8045 h 10007"/>
                <a:gd name="connsiteX151" fmla="*/ 3054 w 10000"/>
                <a:gd name="connsiteY151" fmla="*/ 8146 h 10007"/>
                <a:gd name="connsiteX152" fmla="*/ 3210 w 10000"/>
                <a:gd name="connsiteY152" fmla="*/ 8243 h 10007"/>
                <a:gd name="connsiteX153" fmla="*/ 3358 w 10000"/>
                <a:gd name="connsiteY153" fmla="*/ 8339 h 10007"/>
                <a:gd name="connsiteX154" fmla="*/ 3514 w 10000"/>
                <a:gd name="connsiteY154" fmla="*/ 8435 h 10007"/>
                <a:gd name="connsiteX155" fmla="*/ 3677 w 10000"/>
                <a:gd name="connsiteY155" fmla="*/ 8527 h 10007"/>
                <a:gd name="connsiteX156" fmla="*/ 3840 w 10000"/>
                <a:gd name="connsiteY156" fmla="*/ 8614 h 10007"/>
                <a:gd name="connsiteX157" fmla="*/ 4010 w 10000"/>
                <a:gd name="connsiteY157" fmla="*/ 8705 h 10007"/>
                <a:gd name="connsiteX158" fmla="*/ 4181 w 10000"/>
                <a:gd name="connsiteY158" fmla="*/ 8783 h 10007"/>
                <a:gd name="connsiteX159" fmla="*/ 4351 w 10000"/>
                <a:gd name="connsiteY159" fmla="*/ 8870 h 10007"/>
                <a:gd name="connsiteX160" fmla="*/ 4522 w 10000"/>
                <a:gd name="connsiteY160" fmla="*/ 8948 h 10007"/>
                <a:gd name="connsiteX161" fmla="*/ 4700 w 10000"/>
                <a:gd name="connsiteY161" fmla="*/ 9031 h 10007"/>
                <a:gd name="connsiteX162" fmla="*/ 4878 w 10000"/>
                <a:gd name="connsiteY162" fmla="*/ 9109 h 10007"/>
                <a:gd name="connsiteX163" fmla="*/ 5063 w 10000"/>
                <a:gd name="connsiteY163" fmla="*/ 9182 h 10007"/>
                <a:gd name="connsiteX164" fmla="*/ 5248 w 10000"/>
                <a:gd name="connsiteY164" fmla="*/ 9260 h 10007"/>
                <a:gd name="connsiteX165" fmla="*/ 5426 w 10000"/>
                <a:gd name="connsiteY165" fmla="*/ 9329 h 10007"/>
                <a:gd name="connsiteX166" fmla="*/ 5619 w 10000"/>
                <a:gd name="connsiteY166" fmla="*/ 9397 h 10007"/>
                <a:gd name="connsiteX167" fmla="*/ 5812 w 10000"/>
                <a:gd name="connsiteY167" fmla="*/ 9466 h 10007"/>
                <a:gd name="connsiteX168" fmla="*/ 6004 w 10000"/>
                <a:gd name="connsiteY168" fmla="*/ 9530 h 10007"/>
                <a:gd name="connsiteX169" fmla="*/ 6205 w 10000"/>
                <a:gd name="connsiteY169" fmla="*/ 9595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61 h 10007"/>
                <a:gd name="connsiteX179" fmla="*/ 10000 w 10000"/>
                <a:gd name="connsiteY179" fmla="*/ 6148 h 10007"/>
                <a:gd name="connsiteX0" fmla="*/ 10000 w 10000"/>
                <a:gd name="connsiteY0" fmla="*/ 6148 h 10007"/>
                <a:gd name="connsiteX1" fmla="*/ 10000 w 10000"/>
                <a:gd name="connsiteY1" fmla="*/ 6148 h 10007"/>
                <a:gd name="connsiteX2" fmla="*/ 9911 w 10000"/>
                <a:gd name="connsiteY2" fmla="*/ 6134 h 10007"/>
                <a:gd name="connsiteX3" fmla="*/ 9815 w 10000"/>
                <a:gd name="connsiteY3" fmla="*/ 6116 h 10007"/>
                <a:gd name="connsiteX4" fmla="*/ 9726 w 10000"/>
                <a:gd name="connsiteY4" fmla="*/ 6098 h 10007"/>
                <a:gd name="connsiteX5" fmla="*/ 9637 w 10000"/>
                <a:gd name="connsiteY5" fmla="*/ 6075 h 10007"/>
                <a:gd name="connsiteX6" fmla="*/ 9548 w 10000"/>
                <a:gd name="connsiteY6" fmla="*/ 6056 h 10007"/>
                <a:gd name="connsiteX7" fmla="*/ 9466 w 10000"/>
                <a:gd name="connsiteY7" fmla="*/ 6034 h 10007"/>
                <a:gd name="connsiteX8" fmla="*/ 9377 w 10000"/>
                <a:gd name="connsiteY8" fmla="*/ 6011 h 10007"/>
                <a:gd name="connsiteX9" fmla="*/ 9288 w 10000"/>
                <a:gd name="connsiteY9" fmla="*/ 5988 h 10007"/>
                <a:gd name="connsiteX10" fmla="*/ 9118 w 10000"/>
                <a:gd name="connsiteY10" fmla="*/ 5937 h 10007"/>
                <a:gd name="connsiteX11" fmla="*/ 8955 w 10000"/>
                <a:gd name="connsiteY11" fmla="*/ 5882 h 10007"/>
                <a:gd name="connsiteX12" fmla="*/ 8792 w 10000"/>
                <a:gd name="connsiteY12" fmla="*/ 5823 h 10007"/>
                <a:gd name="connsiteX13" fmla="*/ 8636 w 10000"/>
                <a:gd name="connsiteY13" fmla="*/ 5759 h 10007"/>
                <a:gd name="connsiteX14" fmla="*/ 8480 w 10000"/>
                <a:gd name="connsiteY14" fmla="*/ 5694 h 10007"/>
                <a:gd name="connsiteX15" fmla="*/ 8340 w 10000"/>
                <a:gd name="connsiteY15" fmla="*/ 5626 h 10007"/>
                <a:gd name="connsiteX16" fmla="*/ 8199 w 10000"/>
                <a:gd name="connsiteY16" fmla="*/ 5552 h 10007"/>
                <a:gd name="connsiteX17" fmla="*/ 8058 w 10000"/>
                <a:gd name="connsiteY17" fmla="*/ 5474 h 10007"/>
                <a:gd name="connsiteX18" fmla="*/ 7924 w 10000"/>
                <a:gd name="connsiteY18" fmla="*/ 5392 h 10007"/>
                <a:gd name="connsiteX19" fmla="*/ 7798 w 10000"/>
                <a:gd name="connsiteY19" fmla="*/ 5309 h 10007"/>
                <a:gd name="connsiteX20" fmla="*/ 7672 w 10000"/>
                <a:gd name="connsiteY20" fmla="*/ 5222 h 10007"/>
                <a:gd name="connsiteX21" fmla="*/ 7554 w 10000"/>
                <a:gd name="connsiteY21" fmla="*/ 5135 h 10007"/>
                <a:gd name="connsiteX22" fmla="*/ 7450 w 10000"/>
                <a:gd name="connsiteY22" fmla="*/ 5039 h 10007"/>
                <a:gd name="connsiteX23" fmla="*/ 7346 w 10000"/>
                <a:gd name="connsiteY23" fmla="*/ 4943 h 10007"/>
                <a:gd name="connsiteX24" fmla="*/ 7250 w 10000"/>
                <a:gd name="connsiteY24" fmla="*/ 4847 h 10007"/>
                <a:gd name="connsiteX25" fmla="*/ 7161 w 10000"/>
                <a:gd name="connsiteY25" fmla="*/ 4746 h 10007"/>
                <a:gd name="connsiteX26" fmla="*/ 7072 w 10000"/>
                <a:gd name="connsiteY26" fmla="*/ 4645 h 10007"/>
                <a:gd name="connsiteX27" fmla="*/ 6990 w 10000"/>
                <a:gd name="connsiteY27" fmla="*/ 4535 h 10007"/>
                <a:gd name="connsiteX28" fmla="*/ 6953 w 10000"/>
                <a:gd name="connsiteY28" fmla="*/ 4485 h 10007"/>
                <a:gd name="connsiteX29" fmla="*/ 6916 w 10000"/>
                <a:gd name="connsiteY29" fmla="*/ 4430 h 10007"/>
                <a:gd name="connsiteX30" fmla="*/ 6887 w 10000"/>
                <a:gd name="connsiteY30" fmla="*/ 4375 h 10007"/>
                <a:gd name="connsiteX31" fmla="*/ 6850 w 10000"/>
                <a:gd name="connsiteY31" fmla="*/ 4320 h 10007"/>
                <a:gd name="connsiteX32" fmla="*/ 6820 w 10000"/>
                <a:gd name="connsiteY32" fmla="*/ 4265 h 10007"/>
                <a:gd name="connsiteX33" fmla="*/ 6790 w 10000"/>
                <a:gd name="connsiteY33" fmla="*/ 4210 h 10007"/>
                <a:gd name="connsiteX34" fmla="*/ 6768 w 10000"/>
                <a:gd name="connsiteY34" fmla="*/ 4150 h 10007"/>
                <a:gd name="connsiteX35" fmla="*/ 6738 w 10000"/>
                <a:gd name="connsiteY35" fmla="*/ 4095 h 10007"/>
                <a:gd name="connsiteX36" fmla="*/ 6723 w 10000"/>
                <a:gd name="connsiteY36" fmla="*/ 4035 h 10007"/>
                <a:gd name="connsiteX37" fmla="*/ 6694 w 10000"/>
                <a:gd name="connsiteY37" fmla="*/ 3980 h 10007"/>
                <a:gd name="connsiteX38" fmla="*/ 6679 w 10000"/>
                <a:gd name="connsiteY38" fmla="*/ 3921 h 10007"/>
                <a:gd name="connsiteX39" fmla="*/ 6664 w 10000"/>
                <a:gd name="connsiteY39" fmla="*/ 3861 h 10007"/>
                <a:gd name="connsiteX40" fmla="*/ 6649 w 10000"/>
                <a:gd name="connsiteY40" fmla="*/ 3802 h 10007"/>
                <a:gd name="connsiteX41" fmla="*/ 6635 w 10000"/>
                <a:gd name="connsiteY41" fmla="*/ 3747 h 10007"/>
                <a:gd name="connsiteX42" fmla="*/ 6620 w 10000"/>
                <a:gd name="connsiteY42" fmla="*/ 3687 h 10007"/>
                <a:gd name="connsiteX43" fmla="*/ 6612 w 10000"/>
                <a:gd name="connsiteY43" fmla="*/ 3628 h 10007"/>
                <a:gd name="connsiteX44" fmla="*/ 6605 w 10000"/>
                <a:gd name="connsiteY44" fmla="*/ 3568 h 10007"/>
                <a:gd name="connsiteX45" fmla="*/ 6597 w 10000"/>
                <a:gd name="connsiteY45" fmla="*/ 3504 h 10007"/>
                <a:gd name="connsiteX46" fmla="*/ 6597 w 10000"/>
                <a:gd name="connsiteY46" fmla="*/ 3444 h 10007"/>
                <a:gd name="connsiteX47" fmla="*/ 6590 w 10000"/>
                <a:gd name="connsiteY47" fmla="*/ 3380 h 10007"/>
                <a:gd name="connsiteX48" fmla="*/ 6597 w 10000"/>
                <a:gd name="connsiteY48" fmla="*/ 3320 h 10007"/>
                <a:gd name="connsiteX49" fmla="*/ 6605 w 10000"/>
                <a:gd name="connsiteY49" fmla="*/ 3252 h 10007"/>
                <a:gd name="connsiteX50" fmla="*/ 6605 w 10000"/>
                <a:gd name="connsiteY50" fmla="*/ 3188 h 10007"/>
                <a:gd name="connsiteX51" fmla="*/ 6612 w 10000"/>
                <a:gd name="connsiteY51" fmla="*/ 3123 h 10007"/>
                <a:gd name="connsiteX52" fmla="*/ 6620 w 10000"/>
                <a:gd name="connsiteY52" fmla="*/ 3059 h 10007"/>
                <a:gd name="connsiteX53" fmla="*/ 6635 w 10000"/>
                <a:gd name="connsiteY53" fmla="*/ 3000 h 10007"/>
                <a:gd name="connsiteX54" fmla="*/ 6649 w 10000"/>
                <a:gd name="connsiteY54" fmla="*/ 2936 h 10007"/>
                <a:gd name="connsiteX55" fmla="*/ 6664 w 10000"/>
                <a:gd name="connsiteY55" fmla="*/ 2876 h 10007"/>
                <a:gd name="connsiteX56" fmla="*/ 6686 w 10000"/>
                <a:gd name="connsiteY56" fmla="*/ 2812 h 10007"/>
                <a:gd name="connsiteX57" fmla="*/ 6709 w 10000"/>
                <a:gd name="connsiteY57" fmla="*/ 2752 h 10007"/>
                <a:gd name="connsiteX58" fmla="*/ 6731 w 10000"/>
                <a:gd name="connsiteY58" fmla="*/ 2693 h 10007"/>
                <a:gd name="connsiteX59" fmla="*/ 6753 w 10000"/>
                <a:gd name="connsiteY59" fmla="*/ 2628 h 10007"/>
                <a:gd name="connsiteX60" fmla="*/ 6783 w 10000"/>
                <a:gd name="connsiteY60" fmla="*/ 2573 h 10007"/>
                <a:gd name="connsiteX61" fmla="*/ 6812 w 10000"/>
                <a:gd name="connsiteY61" fmla="*/ 2514 h 10007"/>
                <a:gd name="connsiteX62" fmla="*/ 6842 w 10000"/>
                <a:gd name="connsiteY62" fmla="*/ 2454 h 10007"/>
                <a:gd name="connsiteX63" fmla="*/ 6879 w 10000"/>
                <a:gd name="connsiteY63" fmla="*/ 2395 h 10007"/>
                <a:gd name="connsiteX64" fmla="*/ 6909 w 10000"/>
                <a:gd name="connsiteY64" fmla="*/ 2340 h 10007"/>
                <a:gd name="connsiteX65" fmla="*/ 6946 w 10000"/>
                <a:gd name="connsiteY65" fmla="*/ 2280 h 10007"/>
                <a:gd name="connsiteX66" fmla="*/ 6990 w 10000"/>
                <a:gd name="connsiteY66" fmla="*/ 2225 h 10007"/>
                <a:gd name="connsiteX67" fmla="*/ 7027 w 10000"/>
                <a:gd name="connsiteY67" fmla="*/ 2170 h 10007"/>
                <a:gd name="connsiteX68" fmla="*/ 7072 w 10000"/>
                <a:gd name="connsiteY68" fmla="*/ 2115 h 10007"/>
                <a:gd name="connsiteX69" fmla="*/ 7109 w 10000"/>
                <a:gd name="connsiteY69" fmla="*/ 2060 h 10007"/>
                <a:gd name="connsiteX70" fmla="*/ 7161 w 10000"/>
                <a:gd name="connsiteY70" fmla="*/ 2010 h 10007"/>
                <a:gd name="connsiteX71" fmla="*/ 7213 w 10000"/>
                <a:gd name="connsiteY71" fmla="*/ 1955 h 10007"/>
                <a:gd name="connsiteX72" fmla="*/ 7257 w 10000"/>
                <a:gd name="connsiteY72" fmla="*/ 1900 h 10007"/>
                <a:gd name="connsiteX73" fmla="*/ 7309 w 10000"/>
                <a:gd name="connsiteY73" fmla="*/ 1849 h 10007"/>
                <a:gd name="connsiteX74" fmla="*/ 7361 w 10000"/>
                <a:gd name="connsiteY74" fmla="*/ 1799 h 10007"/>
                <a:gd name="connsiteX75" fmla="*/ 7413 w 10000"/>
                <a:gd name="connsiteY75" fmla="*/ 1749 h 10007"/>
                <a:gd name="connsiteX76" fmla="*/ 7472 w 10000"/>
                <a:gd name="connsiteY76" fmla="*/ 1698 h 10007"/>
                <a:gd name="connsiteX77" fmla="*/ 7524 w 10000"/>
                <a:gd name="connsiteY77" fmla="*/ 1652 h 10007"/>
                <a:gd name="connsiteX78" fmla="*/ 7583 w 10000"/>
                <a:gd name="connsiteY78" fmla="*/ 1606 h 10007"/>
                <a:gd name="connsiteX79" fmla="*/ 7643 w 10000"/>
                <a:gd name="connsiteY79" fmla="*/ 1556 h 10007"/>
                <a:gd name="connsiteX80" fmla="*/ 5390 w 10000"/>
                <a:gd name="connsiteY80" fmla="*/ 0 h 10007"/>
                <a:gd name="connsiteX81" fmla="*/ 1401 w 10000"/>
                <a:gd name="connsiteY81" fmla="*/ 21 h 10007"/>
                <a:gd name="connsiteX82" fmla="*/ 1305 w 10000"/>
                <a:gd name="connsiteY82" fmla="*/ 135 h 10007"/>
                <a:gd name="connsiteX83" fmla="*/ 1223 w 10000"/>
                <a:gd name="connsiteY83" fmla="*/ 227 h 10007"/>
                <a:gd name="connsiteX84" fmla="*/ 1149 w 10000"/>
                <a:gd name="connsiteY84" fmla="*/ 323 h 10007"/>
                <a:gd name="connsiteX85" fmla="*/ 1067 w 10000"/>
                <a:gd name="connsiteY85" fmla="*/ 419 h 10007"/>
                <a:gd name="connsiteX86" fmla="*/ 1001 w 10000"/>
                <a:gd name="connsiteY86" fmla="*/ 516 h 10007"/>
                <a:gd name="connsiteX87" fmla="*/ 927 w 10000"/>
                <a:gd name="connsiteY87" fmla="*/ 612 h 10007"/>
                <a:gd name="connsiteX88" fmla="*/ 860 w 10000"/>
                <a:gd name="connsiteY88" fmla="*/ 713 h 10007"/>
                <a:gd name="connsiteX89" fmla="*/ 793 w 10000"/>
                <a:gd name="connsiteY89" fmla="*/ 814 h 10007"/>
                <a:gd name="connsiteX90" fmla="*/ 734 w 10000"/>
                <a:gd name="connsiteY90" fmla="*/ 910 h 10007"/>
                <a:gd name="connsiteX91" fmla="*/ 675 w 10000"/>
                <a:gd name="connsiteY91" fmla="*/ 1011 h 10007"/>
                <a:gd name="connsiteX92" fmla="*/ 615 w 10000"/>
                <a:gd name="connsiteY92" fmla="*/ 1111 h 10007"/>
                <a:gd name="connsiteX93" fmla="*/ 556 w 10000"/>
                <a:gd name="connsiteY93" fmla="*/ 1217 h 10007"/>
                <a:gd name="connsiteX94" fmla="*/ 504 w 10000"/>
                <a:gd name="connsiteY94" fmla="*/ 1313 h 10007"/>
                <a:gd name="connsiteX95" fmla="*/ 452 w 10000"/>
                <a:gd name="connsiteY95" fmla="*/ 1419 h 10007"/>
                <a:gd name="connsiteX96" fmla="*/ 408 w 10000"/>
                <a:gd name="connsiteY96" fmla="*/ 1519 h 10007"/>
                <a:gd name="connsiteX97" fmla="*/ 363 w 10000"/>
                <a:gd name="connsiteY97" fmla="*/ 1625 h 10007"/>
                <a:gd name="connsiteX98" fmla="*/ 319 w 10000"/>
                <a:gd name="connsiteY98" fmla="*/ 1730 h 10007"/>
                <a:gd name="connsiteX99" fmla="*/ 282 w 10000"/>
                <a:gd name="connsiteY99" fmla="*/ 1836 h 10007"/>
                <a:gd name="connsiteX100" fmla="*/ 237 w 10000"/>
                <a:gd name="connsiteY100" fmla="*/ 1946 h 10007"/>
                <a:gd name="connsiteX101" fmla="*/ 208 w 10000"/>
                <a:gd name="connsiteY101" fmla="*/ 2051 h 10007"/>
                <a:gd name="connsiteX102" fmla="*/ 170 w 10000"/>
                <a:gd name="connsiteY102" fmla="*/ 2161 h 10007"/>
                <a:gd name="connsiteX103" fmla="*/ 148 w 10000"/>
                <a:gd name="connsiteY103" fmla="*/ 2271 h 10007"/>
                <a:gd name="connsiteX104" fmla="*/ 119 w 10000"/>
                <a:gd name="connsiteY104" fmla="*/ 2376 h 10007"/>
                <a:gd name="connsiteX105" fmla="*/ 96 w 10000"/>
                <a:gd name="connsiteY105" fmla="*/ 2486 h 10007"/>
                <a:gd name="connsiteX106" fmla="*/ 74 w 10000"/>
                <a:gd name="connsiteY106" fmla="*/ 2596 h 10007"/>
                <a:gd name="connsiteX107" fmla="*/ 52 w 10000"/>
                <a:gd name="connsiteY107" fmla="*/ 2711 h 10007"/>
                <a:gd name="connsiteX108" fmla="*/ 37 w 10000"/>
                <a:gd name="connsiteY108" fmla="*/ 2821 h 10007"/>
                <a:gd name="connsiteX109" fmla="*/ 22 w 10000"/>
                <a:gd name="connsiteY109" fmla="*/ 2931 h 10007"/>
                <a:gd name="connsiteX110" fmla="*/ 15 w 10000"/>
                <a:gd name="connsiteY110" fmla="*/ 3041 h 10007"/>
                <a:gd name="connsiteX111" fmla="*/ 7 w 10000"/>
                <a:gd name="connsiteY111" fmla="*/ 3155 h 10007"/>
                <a:gd name="connsiteX112" fmla="*/ 0 w 10000"/>
                <a:gd name="connsiteY112" fmla="*/ 3265 h 10007"/>
                <a:gd name="connsiteX113" fmla="*/ 0 w 10000"/>
                <a:gd name="connsiteY113" fmla="*/ 3380 h 10007"/>
                <a:gd name="connsiteX114" fmla="*/ 7 w 10000"/>
                <a:gd name="connsiteY114" fmla="*/ 3527 h 10007"/>
                <a:gd name="connsiteX115" fmla="*/ 7 w 10000"/>
                <a:gd name="connsiteY115" fmla="*/ 3673 h 10007"/>
                <a:gd name="connsiteX116" fmla="*/ 22 w 10000"/>
                <a:gd name="connsiteY116" fmla="*/ 3811 h 10007"/>
                <a:gd name="connsiteX117" fmla="*/ 37 w 10000"/>
                <a:gd name="connsiteY117" fmla="*/ 3953 h 10007"/>
                <a:gd name="connsiteX118" fmla="*/ 59 w 10000"/>
                <a:gd name="connsiteY118" fmla="*/ 4095 h 10007"/>
                <a:gd name="connsiteX119" fmla="*/ 89 w 10000"/>
                <a:gd name="connsiteY119" fmla="*/ 4237 h 10007"/>
                <a:gd name="connsiteX120" fmla="*/ 119 w 10000"/>
                <a:gd name="connsiteY120" fmla="*/ 4379 h 10007"/>
                <a:gd name="connsiteX121" fmla="*/ 148 w 10000"/>
                <a:gd name="connsiteY121" fmla="*/ 4521 h 10007"/>
                <a:gd name="connsiteX122" fmla="*/ 193 w 10000"/>
                <a:gd name="connsiteY122" fmla="*/ 4659 h 10007"/>
                <a:gd name="connsiteX123" fmla="*/ 237 w 10000"/>
                <a:gd name="connsiteY123" fmla="*/ 4796 h 10007"/>
                <a:gd name="connsiteX124" fmla="*/ 282 w 10000"/>
                <a:gd name="connsiteY124" fmla="*/ 4934 h 10007"/>
                <a:gd name="connsiteX125" fmla="*/ 334 w 10000"/>
                <a:gd name="connsiteY125" fmla="*/ 5071 h 10007"/>
                <a:gd name="connsiteX126" fmla="*/ 393 w 10000"/>
                <a:gd name="connsiteY126" fmla="*/ 5204 h 10007"/>
                <a:gd name="connsiteX127" fmla="*/ 452 w 10000"/>
                <a:gd name="connsiteY127" fmla="*/ 5337 h 10007"/>
                <a:gd name="connsiteX128" fmla="*/ 519 w 10000"/>
                <a:gd name="connsiteY128" fmla="*/ 5470 h 10007"/>
                <a:gd name="connsiteX129" fmla="*/ 586 w 10000"/>
                <a:gd name="connsiteY129" fmla="*/ 5603 h 10007"/>
                <a:gd name="connsiteX130" fmla="*/ 660 w 10000"/>
                <a:gd name="connsiteY130" fmla="*/ 5731 h 10007"/>
                <a:gd name="connsiteX131" fmla="*/ 741 w 10000"/>
                <a:gd name="connsiteY131" fmla="*/ 5859 h 10007"/>
                <a:gd name="connsiteX132" fmla="*/ 823 w 10000"/>
                <a:gd name="connsiteY132" fmla="*/ 5992 h 10007"/>
                <a:gd name="connsiteX133" fmla="*/ 904 w 10000"/>
                <a:gd name="connsiteY133" fmla="*/ 6116 h 10007"/>
                <a:gd name="connsiteX134" fmla="*/ 993 w 10000"/>
                <a:gd name="connsiteY134" fmla="*/ 6240 h 10007"/>
                <a:gd name="connsiteX135" fmla="*/ 1090 w 10000"/>
                <a:gd name="connsiteY135" fmla="*/ 6359 h 10007"/>
                <a:gd name="connsiteX136" fmla="*/ 1186 w 10000"/>
                <a:gd name="connsiteY136" fmla="*/ 6483 h 10007"/>
                <a:gd name="connsiteX137" fmla="*/ 1290 w 10000"/>
                <a:gd name="connsiteY137" fmla="*/ 6606 h 10007"/>
                <a:gd name="connsiteX138" fmla="*/ 1386 w 10000"/>
                <a:gd name="connsiteY138" fmla="*/ 6726 h 10007"/>
                <a:gd name="connsiteX139" fmla="*/ 1497 w 10000"/>
                <a:gd name="connsiteY139" fmla="*/ 6845 h 10007"/>
                <a:gd name="connsiteX140" fmla="*/ 1609 w 10000"/>
                <a:gd name="connsiteY140" fmla="*/ 6959 h 10007"/>
                <a:gd name="connsiteX141" fmla="*/ 1727 w 10000"/>
                <a:gd name="connsiteY141" fmla="*/ 7078 h 10007"/>
                <a:gd name="connsiteX142" fmla="*/ 1846 w 10000"/>
                <a:gd name="connsiteY142" fmla="*/ 7193 h 10007"/>
                <a:gd name="connsiteX143" fmla="*/ 1964 w 10000"/>
                <a:gd name="connsiteY143" fmla="*/ 7303 h 10007"/>
                <a:gd name="connsiteX144" fmla="*/ 2090 w 10000"/>
                <a:gd name="connsiteY144" fmla="*/ 7413 h 10007"/>
                <a:gd name="connsiteX145" fmla="*/ 2224 w 10000"/>
                <a:gd name="connsiteY145" fmla="*/ 7523 h 10007"/>
                <a:gd name="connsiteX146" fmla="*/ 2350 w 10000"/>
                <a:gd name="connsiteY146" fmla="*/ 7633 h 10007"/>
                <a:gd name="connsiteX147" fmla="*/ 2491 w 10000"/>
                <a:gd name="connsiteY147" fmla="*/ 7738 h 10007"/>
                <a:gd name="connsiteX148" fmla="*/ 2617 w 10000"/>
                <a:gd name="connsiteY148" fmla="*/ 7844 h 10007"/>
                <a:gd name="connsiteX149" fmla="*/ 2765 w 10000"/>
                <a:gd name="connsiteY149" fmla="*/ 7945 h 10007"/>
                <a:gd name="connsiteX150" fmla="*/ 2906 w 10000"/>
                <a:gd name="connsiteY150" fmla="*/ 8045 h 10007"/>
                <a:gd name="connsiteX151" fmla="*/ 3054 w 10000"/>
                <a:gd name="connsiteY151" fmla="*/ 8146 h 10007"/>
                <a:gd name="connsiteX152" fmla="*/ 3210 w 10000"/>
                <a:gd name="connsiteY152" fmla="*/ 8243 h 10007"/>
                <a:gd name="connsiteX153" fmla="*/ 3358 w 10000"/>
                <a:gd name="connsiteY153" fmla="*/ 8339 h 10007"/>
                <a:gd name="connsiteX154" fmla="*/ 3514 w 10000"/>
                <a:gd name="connsiteY154" fmla="*/ 8435 h 10007"/>
                <a:gd name="connsiteX155" fmla="*/ 3677 w 10000"/>
                <a:gd name="connsiteY155" fmla="*/ 8527 h 10007"/>
                <a:gd name="connsiteX156" fmla="*/ 3840 w 10000"/>
                <a:gd name="connsiteY156" fmla="*/ 8614 h 10007"/>
                <a:gd name="connsiteX157" fmla="*/ 4010 w 10000"/>
                <a:gd name="connsiteY157" fmla="*/ 8705 h 10007"/>
                <a:gd name="connsiteX158" fmla="*/ 4181 w 10000"/>
                <a:gd name="connsiteY158" fmla="*/ 8783 h 10007"/>
                <a:gd name="connsiteX159" fmla="*/ 4351 w 10000"/>
                <a:gd name="connsiteY159" fmla="*/ 8870 h 10007"/>
                <a:gd name="connsiteX160" fmla="*/ 4522 w 10000"/>
                <a:gd name="connsiteY160" fmla="*/ 8948 h 10007"/>
                <a:gd name="connsiteX161" fmla="*/ 4700 w 10000"/>
                <a:gd name="connsiteY161" fmla="*/ 9031 h 10007"/>
                <a:gd name="connsiteX162" fmla="*/ 4878 w 10000"/>
                <a:gd name="connsiteY162" fmla="*/ 9109 h 10007"/>
                <a:gd name="connsiteX163" fmla="*/ 5063 w 10000"/>
                <a:gd name="connsiteY163" fmla="*/ 9182 h 10007"/>
                <a:gd name="connsiteX164" fmla="*/ 5248 w 10000"/>
                <a:gd name="connsiteY164" fmla="*/ 9260 h 10007"/>
                <a:gd name="connsiteX165" fmla="*/ 5426 w 10000"/>
                <a:gd name="connsiteY165" fmla="*/ 9329 h 10007"/>
                <a:gd name="connsiteX166" fmla="*/ 5619 w 10000"/>
                <a:gd name="connsiteY166" fmla="*/ 9397 h 10007"/>
                <a:gd name="connsiteX167" fmla="*/ 5812 w 10000"/>
                <a:gd name="connsiteY167" fmla="*/ 9466 h 10007"/>
                <a:gd name="connsiteX168" fmla="*/ 6004 w 10000"/>
                <a:gd name="connsiteY168" fmla="*/ 9530 h 10007"/>
                <a:gd name="connsiteX169" fmla="*/ 6205 w 10000"/>
                <a:gd name="connsiteY169" fmla="*/ 9595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61 h 10007"/>
                <a:gd name="connsiteX179" fmla="*/ 10000 w 10000"/>
                <a:gd name="connsiteY179" fmla="*/ 6148 h 10007"/>
                <a:gd name="connsiteX0" fmla="*/ 10000 w 10000"/>
                <a:gd name="connsiteY0" fmla="*/ 6127 h 9986"/>
                <a:gd name="connsiteX1" fmla="*/ 10000 w 10000"/>
                <a:gd name="connsiteY1" fmla="*/ 6127 h 9986"/>
                <a:gd name="connsiteX2" fmla="*/ 9911 w 10000"/>
                <a:gd name="connsiteY2" fmla="*/ 6113 h 9986"/>
                <a:gd name="connsiteX3" fmla="*/ 9815 w 10000"/>
                <a:gd name="connsiteY3" fmla="*/ 6095 h 9986"/>
                <a:gd name="connsiteX4" fmla="*/ 9726 w 10000"/>
                <a:gd name="connsiteY4" fmla="*/ 6077 h 9986"/>
                <a:gd name="connsiteX5" fmla="*/ 9637 w 10000"/>
                <a:gd name="connsiteY5" fmla="*/ 6054 h 9986"/>
                <a:gd name="connsiteX6" fmla="*/ 9548 w 10000"/>
                <a:gd name="connsiteY6" fmla="*/ 6035 h 9986"/>
                <a:gd name="connsiteX7" fmla="*/ 9466 w 10000"/>
                <a:gd name="connsiteY7" fmla="*/ 6013 h 9986"/>
                <a:gd name="connsiteX8" fmla="*/ 9377 w 10000"/>
                <a:gd name="connsiteY8" fmla="*/ 5990 h 9986"/>
                <a:gd name="connsiteX9" fmla="*/ 9288 w 10000"/>
                <a:gd name="connsiteY9" fmla="*/ 5967 h 9986"/>
                <a:gd name="connsiteX10" fmla="*/ 9118 w 10000"/>
                <a:gd name="connsiteY10" fmla="*/ 5916 h 9986"/>
                <a:gd name="connsiteX11" fmla="*/ 8955 w 10000"/>
                <a:gd name="connsiteY11" fmla="*/ 5861 h 9986"/>
                <a:gd name="connsiteX12" fmla="*/ 8792 w 10000"/>
                <a:gd name="connsiteY12" fmla="*/ 5802 h 9986"/>
                <a:gd name="connsiteX13" fmla="*/ 8636 w 10000"/>
                <a:gd name="connsiteY13" fmla="*/ 5738 h 9986"/>
                <a:gd name="connsiteX14" fmla="*/ 8480 w 10000"/>
                <a:gd name="connsiteY14" fmla="*/ 5673 h 9986"/>
                <a:gd name="connsiteX15" fmla="*/ 8340 w 10000"/>
                <a:gd name="connsiteY15" fmla="*/ 5605 h 9986"/>
                <a:gd name="connsiteX16" fmla="*/ 8199 w 10000"/>
                <a:gd name="connsiteY16" fmla="*/ 5531 h 9986"/>
                <a:gd name="connsiteX17" fmla="*/ 8058 w 10000"/>
                <a:gd name="connsiteY17" fmla="*/ 5453 h 9986"/>
                <a:gd name="connsiteX18" fmla="*/ 7924 w 10000"/>
                <a:gd name="connsiteY18" fmla="*/ 5371 h 9986"/>
                <a:gd name="connsiteX19" fmla="*/ 7798 w 10000"/>
                <a:gd name="connsiteY19" fmla="*/ 5288 h 9986"/>
                <a:gd name="connsiteX20" fmla="*/ 7672 w 10000"/>
                <a:gd name="connsiteY20" fmla="*/ 5201 h 9986"/>
                <a:gd name="connsiteX21" fmla="*/ 7554 w 10000"/>
                <a:gd name="connsiteY21" fmla="*/ 5114 h 9986"/>
                <a:gd name="connsiteX22" fmla="*/ 7450 w 10000"/>
                <a:gd name="connsiteY22" fmla="*/ 5018 h 9986"/>
                <a:gd name="connsiteX23" fmla="*/ 7346 w 10000"/>
                <a:gd name="connsiteY23" fmla="*/ 4922 h 9986"/>
                <a:gd name="connsiteX24" fmla="*/ 7250 w 10000"/>
                <a:gd name="connsiteY24" fmla="*/ 4826 h 9986"/>
                <a:gd name="connsiteX25" fmla="*/ 7161 w 10000"/>
                <a:gd name="connsiteY25" fmla="*/ 4725 h 9986"/>
                <a:gd name="connsiteX26" fmla="*/ 7072 w 10000"/>
                <a:gd name="connsiteY26" fmla="*/ 4624 h 9986"/>
                <a:gd name="connsiteX27" fmla="*/ 6990 w 10000"/>
                <a:gd name="connsiteY27" fmla="*/ 4514 h 9986"/>
                <a:gd name="connsiteX28" fmla="*/ 6953 w 10000"/>
                <a:gd name="connsiteY28" fmla="*/ 4464 h 9986"/>
                <a:gd name="connsiteX29" fmla="*/ 6916 w 10000"/>
                <a:gd name="connsiteY29" fmla="*/ 4409 h 9986"/>
                <a:gd name="connsiteX30" fmla="*/ 6887 w 10000"/>
                <a:gd name="connsiteY30" fmla="*/ 4354 h 9986"/>
                <a:gd name="connsiteX31" fmla="*/ 6850 w 10000"/>
                <a:gd name="connsiteY31" fmla="*/ 4299 h 9986"/>
                <a:gd name="connsiteX32" fmla="*/ 6820 w 10000"/>
                <a:gd name="connsiteY32" fmla="*/ 4244 h 9986"/>
                <a:gd name="connsiteX33" fmla="*/ 6790 w 10000"/>
                <a:gd name="connsiteY33" fmla="*/ 4189 h 9986"/>
                <a:gd name="connsiteX34" fmla="*/ 6768 w 10000"/>
                <a:gd name="connsiteY34" fmla="*/ 4129 h 9986"/>
                <a:gd name="connsiteX35" fmla="*/ 6738 w 10000"/>
                <a:gd name="connsiteY35" fmla="*/ 4074 h 9986"/>
                <a:gd name="connsiteX36" fmla="*/ 6723 w 10000"/>
                <a:gd name="connsiteY36" fmla="*/ 4014 h 9986"/>
                <a:gd name="connsiteX37" fmla="*/ 6694 w 10000"/>
                <a:gd name="connsiteY37" fmla="*/ 3959 h 9986"/>
                <a:gd name="connsiteX38" fmla="*/ 6679 w 10000"/>
                <a:gd name="connsiteY38" fmla="*/ 3900 h 9986"/>
                <a:gd name="connsiteX39" fmla="*/ 6664 w 10000"/>
                <a:gd name="connsiteY39" fmla="*/ 3840 h 9986"/>
                <a:gd name="connsiteX40" fmla="*/ 6649 w 10000"/>
                <a:gd name="connsiteY40" fmla="*/ 3781 h 9986"/>
                <a:gd name="connsiteX41" fmla="*/ 6635 w 10000"/>
                <a:gd name="connsiteY41" fmla="*/ 3726 h 9986"/>
                <a:gd name="connsiteX42" fmla="*/ 6620 w 10000"/>
                <a:gd name="connsiteY42" fmla="*/ 3666 h 9986"/>
                <a:gd name="connsiteX43" fmla="*/ 6612 w 10000"/>
                <a:gd name="connsiteY43" fmla="*/ 3607 h 9986"/>
                <a:gd name="connsiteX44" fmla="*/ 6605 w 10000"/>
                <a:gd name="connsiteY44" fmla="*/ 3547 h 9986"/>
                <a:gd name="connsiteX45" fmla="*/ 6597 w 10000"/>
                <a:gd name="connsiteY45" fmla="*/ 3483 h 9986"/>
                <a:gd name="connsiteX46" fmla="*/ 6597 w 10000"/>
                <a:gd name="connsiteY46" fmla="*/ 3423 h 9986"/>
                <a:gd name="connsiteX47" fmla="*/ 6590 w 10000"/>
                <a:gd name="connsiteY47" fmla="*/ 3359 h 9986"/>
                <a:gd name="connsiteX48" fmla="*/ 6597 w 10000"/>
                <a:gd name="connsiteY48" fmla="*/ 3299 h 9986"/>
                <a:gd name="connsiteX49" fmla="*/ 6605 w 10000"/>
                <a:gd name="connsiteY49" fmla="*/ 3231 h 9986"/>
                <a:gd name="connsiteX50" fmla="*/ 6605 w 10000"/>
                <a:gd name="connsiteY50" fmla="*/ 3167 h 9986"/>
                <a:gd name="connsiteX51" fmla="*/ 6612 w 10000"/>
                <a:gd name="connsiteY51" fmla="*/ 3102 h 9986"/>
                <a:gd name="connsiteX52" fmla="*/ 6620 w 10000"/>
                <a:gd name="connsiteY52" fmla="*/ 3038 h 9986"/>
                <a:gd name="connsiteX53" fmla="*/ 6635 w 10000"/>
                <a:gd name="connsiteY53" fmla="*/ 2979 h 9986"/>
                <a:gd name="connsiteX54" fmla="*/ 6649 w 10000"/>
                <a:gd name="connsiteY54" fmla="*/ 2915 h 9986"/>
                <a:gd name="connsiteX55" fmla="*/ 6664 w 10000"/>
                <a:gd name="connsiteY55" fmla="*/ 2855 h 9986"/>
                <a:gd name="connsiteX56" fmla="*/ 6686 w 10000"/>
                <a:gd name="connsiteY56" fmla="*/ 2791 h 9986"/>
                <a:gd name="connsiteX57" fmla="*/ 6709 w 10000"/>
                <a:gd name="connsiteY57" fmla="*/ 2731 h 9986"/>
                <a:gd name="connsiteX58" fmla="*/ 6731 w 10000"/>
                <a:gd name="connsiteY58" fmla="*/ 2672 h 9986"/>
                <a:gd name="connsiteX59" fmla="*/ 6753 w 10000"/>
                <a:gd name="connsiteY59" fmla="*/ 2607 h 9986"/>
                <a:gd name="connsiteX60" fmla="*/ 6783 w 10000"/>
                <a:gd name="connsiteY60" fmla="*/ 2552 h 9986"/>
                <a:gd name="connsiteX61" fmla="*/ 6812 w 10000"/>
                <a:gd name="connsiteY61" fmla="*/ 2493 h 9986"/>
                <a:gd name="connsiteX62" fmla="*/ 6842 w 10000"/>
                <a:gd name="connsiteY62" fmla="*/ 2433 h 9986"/>
                <a:gd name="connsiteX63" fmla="*/ 6879 w 10000"/>
                <a:gd name="connsiteY63" fmla="*/ 2374 h 9986"/>
                <a:gd name="connsiteX64" fmla="*/ 6909 w 10000"/>
                <a:gd name="connsiteY64" fmla="*/ 2319 h 9986"/>
                <a:gd name="connsiteX65" fmla="*/ 6946 w 10000"/>
                <a:gd name="connsiteY65" fmla="*/ 2259 h 9986"/>
                <a:gd name="connsiteX66" fmla="*/ 6990 w 10000"/>
                <a:gd name="connsiteY66" fmla="*/ 2204 h 9986"/>
                <a:gd name="connsiteX67" fmla="*/ 7027 w 10000"/>
                <a:gd name="connsiteY67" fmla="*/ 2149 h 9986"/>
                <a:gd name="connsiteX68" fmla="*/ 7072 w 10000"/>
                <a:gd name="connsiteY68" fmla="*/ 2094 h 9986"/>
                <a:gd name="connsiteX69" fmla="*/ 7109 w 10000"/>
                <a:gd name="connsiteY69" fmla="*/ 2039 h 9986"/>
                <a:gd name="connsiteX70" fmla="*/ 7161 w 10000"/>
                <a:gd name="connsiteY70" fmla="*/ 1989 h 9986"/>
                <a:gd name="connsiteX71" fmla="*/ 7213 w 10000"/>
                <a:gd name="connsiteY71" fmla="*/ 1934 h 9986"/>
                <a:gd name="connsiteX72" fmla="*/ 7257 w 10000"/>
                <a:gd name="connsiteY72" fmla="*/ 1879 h 9986"/>
                <a:gd name="connsiteX73" fmla="*/ 7309 w 10000"/>
                <a:gd name="connsiteY73" fmla="*/ 1828 h 9986"/>
                <a:gd name="connsiteX74" fmla="*/ 7361 w 10000"/>
                <a:gd name="connsiteY74" fmla="*/ 1778 h 9986"/>
                <a:gd name="connsiteX75" fmla="*/ 7413 w 10000"/>
                <a:gd name="connsiteY75" fmla="*/ 1728 h 9986"/>
                <a:gd name="connsiteX76" fmla="*/ 7472 w 10000"/>
                <a:gd name="connsiteY76" fmla="*/ 1677 h 9986"/>
                <a:gd name="connsiteX77" fmla="*/ 7524 w 10000"/>
                <a:gd name="connsiteY77" fmla="*/ 1631 h 9986"/>
                <a:gd name="connsiteX78" fmla="*/ 7583 w 10000"/>
                <a:gd name="connsiteY78" fmla="*/ 1585 h 9986"/>
                <a:gd name="connsiteX79" fmla="*/ 7643 w 10000"/>
                <a:gd name="connsiteY79" fmla="*/ 1535 h 9986"/>
                <a:gd name="connsiteX80" fmla="*/ 5390 w 10000"/>
                <a:gd name="connsiteY80" fmla="*/ 6 h 9986"/>
                <a:gd name="connsiteX81" fmla="*/ 1401 w 10000"/>
                <a:gd name="connsiteY81" fmla="*/ 0 h 9986"/>
                <a:gd name="connsiteX82" fmla="*/ 1305 w 10000"/>
                <a:gd name="connsiteY82" fmla="*/ 114 h 9986"/>
                <a:gd name="connsiteX83" fmla="*/ 1223 w 10000"/>
                <a:gd name="connsiteY83" fmla="*/ 206 h 9986"/>
                <a:gd name="connsiteX84" fmla="*/ 1149 w 10000"/>
                <a:gd name="connsiteY84" fmla="*/ 302 h 9986"/>
                <a:gd name="connsiteX85" fmla="*/ 1067 w 10000"/>
                <a:gd name="connsiteY85" fmla="*/ 398 h 9986"/>
                <a:gd name="connsiteX86" fmla="*/ 1001 w 10000"/>
                <a:gd name="connsiteY86" fmla="*/ 495 h 9986"/>
                <a:gd name="connsiteX87" fmla="*/ 927 w 10000"/>
                <a:gd name="connsiteY87" fmla="*/ 591 h 9986"/>
                <a:gd name="connsiteX88" fmla="*/ 860 w 10000"/>
                <a:gd name="connsiteY88" fmla="*/ 692 h 9986"/>
                <a:gd name="connsiteX89" fmla="*/ 793 w 10000"/>
                <a:gd name="connsiteY89" fmla="*/ 793 h 9986"/>
                <a:gd name="connsiteX90" fmla="*/ 734 w 10000"/>
                <a:gd name="connsiteY90" fmla="*/ 889 h 9986"/>
                <a:gd name="connsiteX91" fmla="*/ 675 w 10000"/>
                <a:gd name="connsiteY91" fmla="*/ 990 h 9986"/>
                <a:gd name="connsiteX92" fmla="*/ 615 w 10000"/>
                <a:gd name="connsiteY92" fmla="*/ 1090 h 9986"/>
                <a:gd name="connsiteX93" fmla="*/ 556 w 10000"/>
                <a:gd name="connsiteY93" fmla="*/ 1196 h 9986"/>
                <a:gd name="connsiteX94" fmla="*/ 504 w 10000"/>
                <a:gd name="connsiteY94" fmla="*/ 1292 h 9986"/>
                <a:gd name="connsiteX95" fmla="*/ 452 w 10000"/>
                <a:gd name="connsiteY95" fmla="*/ 1398 h 9986"/>
                <a:gd name="connsiteX96" fmla="*/ 408 w 10000"/>
                <a:gd name="connsiteY96" fmla="*/ 1498 h 9986"/>
                <a:gd name="connsiteX97" fmla="*/ 363 w 10000"/>
                <a:gd name="connsiteY97" fmla="*/ 1604 h 9986"/>
                <a:gd name="connsiteX98" fmla="*/ 319 w 10000"/>
                <a:gd name="connsiteY98" fmla="*/ 1709 h 9986"/>
                <a:gd name="connsiteX99" fmla="*/ 282 w 10000"/>
                <a:gd name="connsiteY99" fmla="*/ 1815 h 9986"/>
                <a:gd name="connsiteX100" fmla="*/ 237 w 10000"/>
                <a:gd name="connsiteY100" fmla="*/ 1925 h 9986"/>
                <a:gd name="connsiteX101" fmla="*/ 208 w 10000"/>
                <a:gd name="connsiteY101" fmla="*/ 2030 h 9986"/>
                <a:gd name="connsiteX102" fmla="*/ 170 w 10000"/>
                <a:gd name="connsiteY102" fmla="*/ 2140 h 9986"/>
                <a:gd name="connsiteX103" fmla="*/ 148 w 10000"/>
                <a:gd name="connsiteY103" fmla="*/ 2250 h 9986"/>
                <a:gd name="connsiteX104" fmla="*/ 119 w 10000"/>
                <a:gd name="connsiteY104" fmla="*/ 2355 h 9986"/>
                <a:gd name="connsiteX105" fmla="*/ 96 w 10000"/>
                <a:gd name="connsiteY105" fmla="*/ 2465 h 9986"/>
                <a:gd name="connsiteX106" fmla="*/ 74 w 10000"/>
                <a:gd name="connsiteY106" fmla="*/ 2575 h 9986"/>
                <a:gd name="connsiteX107" fmla="*/ 52 w 10000"/>
                <a:gd name="connsiteY107" fmla="*/ 2690 h 9986"/>
                <a:gd name="connsiteX108" fmla="*/ 37 w 10000"/>
                <a:gd name="connsiteY108" fmla="*/ 2800 h 9986"/>
                <a:gd name="connsiteX109" fmla="*/ 22 w 10000"/>
                <a:gd name="connsiteY109" fmla="*/ 2910 h 9986"/>
                <a:gd name="connsiteX110" fmla="*/ 15 w 10000"/>
                <a:gd name="connsiteY110" fmla="*/ 3020 h 9986"/>
                <a:gd name="connsiteX111" fmla="*/ 7 w 10000"/>
                <a:gd name="connsiteY111" fmla="*/ 3134 h 9986"/>
                <a:gd name="connsiteX112" fmla="*/ 0 w 10000"/>
                <a:gd name="connsiteY112" fmla="*/ 3244 h 9986"/>
                <a:gd name="connsiteX113" fmla="*/ 0 w 10000"/>
                <a:gd name="connsiteY113" fmla="*/ 3359 h 9986"/>
                <a:gd name="connsiteX114" fmla="*/ 7 w 10000"/>
                <a:gd name="connsiteY114" fmla="*/ 3506 h 9986"/>
                <a:gd name="connsiteX115" fmla="*/ 7 w 10000"/>
                <a:gd name="connsiteY115" fmla="*/ 3652 h 9986"/>
                <a:gd name="connsiteX116" fmla="*/ 22 w 10000"/>
                <a:gd name="connsiteY116" fmla="*/ 3790 h 9986"/>
                <a:gd name="connsiteX117" fmla="*/ 37 w 10000"/>
                <a:gd name="connsiteY117" fmla="*/ 3932 h 9986"/>
                <a:gd name="connsiteX118" fmla="*/ 59 w 10000"/>
                <a:gd name="connsiteY118" fmla="*/ 4074 h 9986"/>
                <a:gd name="connsiteX119" fmla="*/ 89 w 10000"/>
                <a:gd name="connsiteY119" fmla="*/ 4216 h 9986"/>
                <a:gd name="connsiteX120" fmla="*/ 119 w 10000"/>
                <a:gd name="connsiteY120" fmla="*/ 4358 h 9986"/>
                <a:gd name="connsiteX121" fmla="*/ 148 w 10000"/>
                <a:gd name="connsiteY121" fmla="*/ 4500 h 9986"/>
                <a:gd name="connsiteX122" fmla="*/ 193 w 10000"/>
                <a:gd name="connsiteY122" fmla="*/ 4638 h 9986"/>
                <a:gd name="connsiteX123" fmla="*/ 237 w 10000"/>
                <a:gd name="connsiteY123" fmla="*/ 4775 h 9986"/>
                <a:gd name="connsiteX124" fmla="*/ 282 w 10000"/>
                <a:gd name="connsiteY124" fmla="*/ 4913 h 9986"/>
                <a:gd name="connsiteX125" fmla="*/ 334 w 10000"/>
                <a:gd name="connsiteY125" fmla="*/ 5050 h 9986"/>
                <a:gd name="connsiteX126" fmla="*/ 393 w 10000"/>
                <a:gd name="connsiteY126" fmla="*/ 5183 h 9986"/>
                <a:gd name="connsiteX127" fmla="*/ 452 w 10000"/>
                <a:gd name="connsiteY127" fmla="*/ 5316 h 9986"/>
                <a:gd name="connsiteX128" fmla="*/ 519 w 10000"/>
                <a:gd name="connsiteY128" fmla="*/ 5449 h 9986"/>
                <a:gd name="connsiteX129" fmla="*/ 586 w 10000"/>
                <a:gd name="connsiteY129" fmla="*/ 5582 h 9986"/>
                <a:gd name="connsiteX130" fmla="*/ 660 w 10000"/>
                <a:gd name="connsiteY130" fmla="*/ 5710 h 9986"/>
                <a:gd name="connsiteX131" fmla="*/ 741 w 10000"/>
                <a:gd name="connsiteY131" fmla="*/ 5838 h 9986"/>
                <a:gd name="connsiteX132" fmla="*/ 823 w 10000"/>
                <a:gd name="connsiteY132" fmla="*/ 5971 h 9986"/>
                <a:gd name="connsiteX133" fmla="*/ 904 w 10000"/>
                <a:gd name="connsiteY133" fmla="*/ 6095 h 9986"/>
                <a:gd name="connsiteX134" fmla="*/ 993 w 10000"/>
                <a:gd name="connsiteY134" fmla="*/ 6219 h 9986"/>
                <a:gd name="connsiteX135" fmla="*/ 1090 w 10000"/>
                <a:gd name="connsiteY135" fmla="*/ 6338 h 9986"/>
                <a:gd name="connsiteX136" fmla="*/ 1186 w 10000"/>
                <a:gd name="connsiteY136" fmla="*/ 6462 h 9986"/>
                <a:gd name="connsiteX137" fmla="*/ 1290 w 10000"/>
                <a:gd name="connsiteY137" fmla="*/ 6585 h 9986"/>
                <a:gd name="connsiteX138" fmla="*/ 1386 w 10000"/>
                <a:gd name="connsiteY138" fmla="*/ 6705 h 9986"/>
                <a:gd name="connsiteX139" fmla="*/ 1497 w 10000"/>
                <a:gd name="connsiteY139" fmla="*/ 6824 h 9986"/>
                <a:gd name="connsiteX140" fmla="*/ 1609 w 10000"/>
                <a:gd name="connsiteY140" fmla="*/ 6938 h 9986"/>
                <a:gd name="connsiteX141" fmla="*/ 1727 w 10000"/>
                <a:gd name="connsiteY141" fmla="*/ 7057 h 9986"/>
                <a:gd name="connsiteX142" fmla="*/ 1846 w 10000"/>
                <a:gd name="connsiteY142" fmla="*/ 7172 h 9986"/>
                <a:gd name="connsiteX143" fmla="*/ 1964 w 10000"/>
                <a:gd name="connsiteY143" fmla="*/ 7282 h 9986"/>
                <a:gd name="connsiteX144" fmla="*/ 2090 w 10000"/>
                <a:gd name="connsiteY144" fmla="*/ 7392 h 9986"/>
                <a:gd name="connsiteX145" fmla="*/ 2224 w 10000"/>
                <a:gd name="connsiteY145" fmla="*/ 7502 h 9986"/>
                <a:gd name="connsiteX146" fmla="*/ 2350 w 10000"/>
                <a:gd name="connsiteY146" fmla="*/ 7612 h 9986"/>
                <a:gd name="connsiteX147" fmla="*/ 2491 w 10000"/>
                <a:gd name="connsiteY147" fmla="*/ 7717 h 9986"/>
                <a:gd name="connsiteX148" fmla="*/ 2617 w 10000"/>
                <a:gd name="connsiteY148" fmla="*/ 7823 h 9986"/>
                <a:gd name="connsiteX149" fmla="*/ 2765 w 10000"/>
                <a:gd name="connsiteY149" fmla="*/ 7924 h 9986"/>
                <a:gd name="connsiteX150" fmla="*/ 2906 w 10000"/>
                <a:gd name="connsiteY150" fmla="*/ 8024 h 9986"/>
                <a:gd name="connsiteX151" fmla="*/ 3054 w 10000"/>
                <a:gd name="connsiteY151" fmla="*/ 8125 h 9986"/>
                <a:gd name="connsiteX152" fmla="*/ 3210 w 10000"/>
                <a:gd name="connsiteY152" fmla="*/ 8222 h 9986"/>
                <a:gd name="connsiteX153" fmla="*/ 3358 w 10000"/>
                <a:gd name="connsiteY153" fmla="*/ 8318 h 9986"/>
                <a:gd name="connsiteX154" fmla="*/ 3514 w 10000"/>
                <a:gd name="connsiteY154" fmla="*/ 8414 h 9986"/>
                <a:gd name="connsiteX155" fmla="*/ 3677 w 10000"/>
                <a:gd name="connsiteY155" fmla="*/ 8506 h 9986"/>
                <a:gd name="connsiteX156" fmla="*/ 3840 w 10000"/>
                <a:gd name="connsiteY156" fmla="*/ 8593 h 9986"/>
                <a:gd name="connsiteX157" fmla="*/ 4010 w 10000"/>
                <a:gd name="connsiteY157" fmla="*/ 8684 h 9986"/>
                <a:gd name="connsiteX158" fmla="*/ 4181 w 10000"/>
                <a:gd name="connsiteY158" fmla="*/ 8762 h 9986"/>
                <a:gd name="connsiteX159" fmla="*/ 4351 w 10000"/>
                <a:gd name="connsiteY159" fmla="*/ 8849 h 9986"/>
                <a:gd name="connsiteX160" fmla="*/ 4522 w 10000"/>
                <a:gd name="connsiteY160" fmla="*/ 8927 h 9986"/>
                <a:gd name="connsiteX161" fmla="*/ 4700 w 10000"/>
                <a:gd name="connsiteY161" fmla="*/ 9010 h 9986"/>
                <a:gd name="connsiteX162" fmla="*/ 4878 w 10000"/>
                <a:gd name="connsiteY162" fmla="*/ 9088 h 9986"/>
                <a:gd name="connsiteX163" fmla="*/ 5063 w 10000"/>
                <a:gd name="connsiteY163" fmla="*/ 9161 h 9986"/>
                <a:gd name="connsiteX164" fmla="*/ 5248 w 10000"/>
                <a:gd name="connsiteY164" fmla="*/ 9239 h 9986"/>
                <a:gd name="connsiteX165" fmla="*/ 5426 w 10000"/>
                <a:gd name="connsiteY165" fmla="*/ 9308 h 9986"/>
                <a:gd name="connsiteX166" fmla="*/ 5619 w 10000"/>
                <a:gd name="connsiteY166" fmla="*/ 9376 h 9986"/>
                <a:gd name="connsiteX167" fmla="*/ 5812 w 10000"/>
                <a:gd name="connsiteY167" fmla="*/ 9445 h 9986"/>
                <a:gd name="connsiteX168" fmla="*/ 6004 w 10000"/>
                <a:gd name="connsiteY168" fmla="*/ 9509 h 9986"/>
                <a:gd name="connsiteX169" fmla="*/ 6205 w 10000"/>
                <a:gd name="connsiteY169" fmla="*/ 9574 h 9986"/>
                <a:gd name="connsiteX170" fmla="*/ 6397 w 10000"/>
                <a:gd name="connsiteY170" fmla="*/ 9633 h 9986"/>
                <a:gd name="connsiteX171" fmla="*/ 6605 w 10000"/>
                <a:gd name="connsiteY171" fmla="*/ 9688 h 9986"/>
                <a:gd name="connsiteX172" fmla="*/ 6805 w 10000"/>
                <a:gd name="connsiteY172" fmla="*/ 9743 h 9986"/>
                <a:gd name="connsiteX173" fmla="*/ 7005 w 10000"/>
                <a:gd name="connsiteY173" fmla="*/ 9798 h 9986"/>
                <a:gd name="connsiteX174" fmla="*/ 7213 w 10000"/>
                <a:gd name="connsiteY174" fmla="*/ 9849 h 9986"/>
                <a:gd name="connsiteX175" fmla="*/ 7420 w 10000"/>
                <a:gd name="connsiteY175" fmla="*/ 9894 h 9986"/>
                <a:gd name="connsiteX176" fmla="*/ 7628 w 10000"/>
                <a:gd name="connsiteY176" fmla="*/ 9940 h 9986"/>
                <a:gd name="connsiteX177" fmla="*/ 7835 w 10000"/>
                <a:gd name="connsiteY177" fmla="*/ 9986 h 9986"/>
                <a:gd name="connsiteX178" fmla="*/ 7539 w 10000"/>
                <a:gd name="connsiteY178" fmla="*/ 7740 h 9986"/>
                <a:gd name="connsiteX179" fmla="*/ 10000 w 10000"/>
                <a:gd name="connsiteY179" fmla="*/ 6127 h 9986"/>
                <a:gd name="connsiteX0" fmla="*/ 10000 w 10000"/>
                <a:gd name="connsiteY0" fmla="*/ 6136 h 10000"/>
                <a:gd name="connsiteX1" fmla="*/ 10000 w 10000"/>
                <a:gd name="connsiteY1" fmla="*/ 6136 h 10000"/>
                <a:gd name="connsiteX2" fmla="*/ 9911 w 10000"/>
                <a:gd name="connsiteY2" fmla="*/ 6122 h 10000"/>
                <a:gd name="connsiteX3" fmla="*/ 9815 w 10000"/>
                <a:gd name="connsiteY3" fmla="*/ 6104 h 10000"/>
                <a:gd name="connsiteX4" fmla="*/ 9726 w 10000"/>
                <a:gd name="connsiteY4" fmla="*/ 6086 h 10000"/>
                <a:gd name="connsiteX5" fmla="*/ 9637 w 10000"/>
                <a:gd name="connsiteY5" fmla="*/ 6062 h 10000"/>
                <a:gd name="connsiteX6" fmla="*/ 9548 w 10000"/>
                <a:gd name="connsiteY6" fmla="*/ 6043 h 10000"/>
                <a:gd name="connsiteX7" fmla="*/ 9466 w 10000"/>
                <a:gd name="connsiteY7" fmla="*/ 6021 h 10000"/>
                <a:gd name="connsiteX8" fmla="*/ 9377 w 10000"/>
                <a:gd name="connsiteY8" fmla="*/ 5998 h 10000"/>
                <a:gd name="connsiteX9" fmla="*/ 9288 w 10000"/>
                <a:gd name="connsiteY9" fmla="*/ 5975 h 10000"/>
                <a:gd name="connsiteX10" fmla="*/ 9118 w 10000"/>
                <a:gd name="connsiteY10" fmla="*/ 5924 h 10000"/>
                <a:gd name="connsiteX11" fmla="*/ 8955 w 10000"/>
                <a:gd name="connsiteY11" fmla="*/ 5869 h 10000"/>
                <a:gd name="connsiteX12" fmla="*/ 8792 w 10000"/>
                <a:gd name="connsiteY12" fmla="*/ 5810 h 10000"/>
                <a:gd name="connsiteX13" fmla="*/ 8636 w 10000"/>
                <a:gd name="connsiteY13" fmla="*/ 5746 h 10000"/>
                <a:gd name="connsiteX14" fmla="*/ 8480 w 10000"/>
                <a:gd name="connsiteY14" fmla="*/ 5681 h 10000"/>
                <a:gd name="connsiteX15" fmla="*/ 8340 w 10000"/>
                <a:gd name="connsiteY15" fmla="*/ 5613 h 10000"/>
                <a:gd name="connsiteX16" fmla="*/ 8199 w 10000"/>
                <a:gd name="connsiteY16" fmla="*/ 5539 h 10000"/>
                <a:gd name="connsiteX17" fmla="*/ 8058 w 10000"/>
                <a:gd name="connsiteY17" fmla="*/ 5461 h 10000"/>
                <a:gd name="connsiteX18" fmla="*/ 7924 w 10000"/>
                <a:gd name="connsiteY18" fmla="*/ 5379 h 10000"/>
                <a:gd name="connsiteX19" fmla="*/ 7798 w 10000"/>
                <a:gd name="connsiteY19" fmla="*/ 5295 h 10000"/>
                <a:gd name="connsiteX20" fmla="*/ 7672 w 10000"/>
                <a:gd name="connsiteY20" fmla="*/ 5208 h 10000"/>
                <a:gd name="connsiteX21" fmla="*/ 7554 w 10000"/>
                <a:gd name="connsiteY21" fmla="*/ 5121 h 10000"/>
                <a:gd name="connsiteX22" fmla="*/ 7450 w 10000"/>
                <a:gd name="connsiteY22" fmla="*/ 5025 h 10000"/>
                <a:gd name="connsiteX23" fmla="*/ 7346 w 10000"/>
                <a:gd name="connsiteY23" fmla="*/ 4929 h 10000"/>
                <a:gd name="connsiteX24" fmla="*/ 7250 w 10000"/>
                <a:gd name="connsiteY24" fmla="*/ 4833 h 10000"/>
                <a:gd name="connsiteX25" fmla="*/ 7161 w 10000"/>
                <a:gd name="connsiteY25" fmla="*/ 4732 h 10000"/>
                <a:gd name="connsiteX26" fmla="*/ 7072 w 10000"/>
                <a:gd name="connsiteY26" fmla="*/ 4630 h 10000"/>
                <a:gd name="connsiteX27" fmla="*/ 6990 w 10000"/>
                <a:gd name="connsiteY27" fmla="*/ 4520 h 10000"/>
                <a:gd name="connsiteX28" fmla="*/ 6953 w 10000"/>
                <a:gd name="connsiteY28" fmla="*/ 4470 h 10000"/>
                <a:gd name="connsiteX29" fmla="*/ 6916 w 10000"/>
                <a:gd name="connsiteY29" fmla="*/ 4415 h 10000"/>
                <a:gd name="connsiteX30" fmla="*/ 6887 w 10000"/>
                <a:gd name="connsiteY30" fmla="*/ 4360 h 10000"/>
                <a:gd name="connsiteX31" fmla="*/ 6850 w 10000"/>
                <a:gd name="connsiteY31" fmla="*/ 4305 h 10000"/>
                <a:gd name="connsiteX32" fmla="*/ 6820 w 10000"/>
                <a:gd name="connsiteY32" fmla="*/ 4250 h 10000"/>
                <a:gd name="connsiteX33" fmla="*/ 6790 w 10000"/>
                <a:gd name="connsiteY33" fmla="*/ 4195 h 10000"/>
                <a:gd name="connsiteX34" fmla="*/ 6768 w 10000"/>
                <a:gd name="connsiteY34" fmla="*/ 4135 h 10000"/>
                <a:gd name="connsiteX35" fmla="*/ 6738 w 10000"/>
                <a:gd name="connsiteY35" fmla="*/ 4080 h 10000"/>
                <a:gd name="connsiteX36" fmla="*/ 6723 w 10000"/>
                <a:gd name="connsiteY36" fmla="*/ 4020 h 10000"/>
                <a:gd name="connsiteX37" fmla="*/ 6694 w 10000"/>
                <a:gd name="connsiteY37" fmla="*/ 3965 h 10000"/>
                <a:gd name="connsiteX38" fmla="*/ 6679 w 10000"/>
                <a:gd name="connsiteY38" fmla="*/ 3905 h 10000"/>
                <a:gd name="connsiteX39" fmla="*/ 6664 w 10000"/>
                <a:gd name="connsiteY39" fmla="*/ 3845 h 10000"/>
                <a:gd name="connsiteX40" fmla="*/ 6649 w 10000"/>
                <a:gd name="connsiteY40" fmla="*/ 3786 h 10000"/>
                <a:gd name="connsiteX41" fmla="*/ 6635 w 10000"/>
                <a:gd name="connsiteY41" fmla="*/ 3731 h 10000"/>
                <a:gd name="connsiteX42" fmla="*/ 6620 w 10000"/>
                <a:gd name="connsiteY42" fmla="*/ 3671 h 10000"/>
                <a:gd name="connsiteX43" fmla="*/ 6612 w 10000"/>
                <a:gd name="connsiteY43" fmla="*/ 3612 h 10000"/>
                <a:gd name="connsiteX44" fmla="*/ 6605 w 10000"/>
                <a:gd name="connsiteY44" fmla="*/ 3552 h 10000"/>
                <a:gd name="connsiteX45" fmla="*/ 6597 w 10000"/>
                <a:gd name="connsiteY45" fmla="*/ 3488 h 10000"/>
                <a:gd name="connsiteX46" fmla="*/ 6597 w 10000"/>
                <a:gd name="connsiteY46" fmla="*/ 3428 h 10000"/>
                <a:gd name="connsiteX47" fmla="*/ 6590 w 10000"/>
                <a:gd name="connsiteY47" fmla="*/ 3364 h 10000"/>
                <a:gd name="connsiteX48" fmla="*/ 6597 w 10000"/>
                <a:gd name="connsiteY48" fmla="*/ 3304 h 10000"/>
                <a:gd name="connsiteX49" fmla="*/ 6605 w 10000"/>
                <a:gd name="connsiteY49" fmla="*/ 3236 h 10000"/>
                <a:gd name="connsiteX50" fmla="*/ 6605 w 10000"/>
                <a:gd name="connsiteY50" fmla="*/ 3171 h 10000"/>
                <a:gd name="connsiteX51" fmla="*/ 6612 w 10000"/>
                <a:gd name="connsiteY51" fmla="*/ 3106 h 10000"/>
                <a:gd name="connsiteX52" fmla="*/ 6620 w 10000"/>
                <a:gd name="connsiteY52" fmla="*/ 3042 h 10000"/>
                <a:gd name="connsiteX53" fmla="*/ 6635 w 10000"/>
                <a:gd name="connsiteY53" fmla="*/ 2983 h 10000"/>
                <a:gd name="connsiteX54" fmla="*/ 6649 w 10000"/>
                <a:gd name="connsiteY54" fmla="*/ 2919 h 10000"/>
                <a:gd name="connsiteX55" fmla="*/ 6664 w 10000"/>
                <a:gd name="connsiteY55" fmla="*/ 2859 h 10000"/>
                <a:gd name="connsiteX56" fmla="*/ 6686 w 10000"/>
                <a:gd name="connsiteY56" fmla="*/ 2795 h 10000"/>
                <a:gd name="connsiteX57" fmla="*/ 6709 w 10000"/>
                <a:gd name="connsiteY57" fmla="*/ 2735 h 10000"/>
                <a:gd name="connsiteX58" fmla="*/ 6731 w 10000"/>
                <a:gd name="connsiteY58" fmla="*/ 2676 h 10000"/>
                <a:gd name="connsiteX59" fmla="*/ 6753 w 10000"/>
                <a:gd name="connsiteY59" fmla="*/ 2611 h 10000"/>
                <a:gd name="connsiteX60" fmla="*/ 6783 w 10000"/>
                <a:gd name="connsiteY60" fmla="*/ 2556 h 10000"/>
                <a:gd name="connsiteX61" fmla="*/ 6812 w 10000"/>
                <a:gd name="connsiteY61" fmla="*/ 2496 h 10000"/>
                <a:gd name="connsiteX62" fmla="*/ 6842 w 10000"/>
                <a:gd name="connsiteY62" fmla="*/ 2436 h 10000"/>
                <a:gd name="connsiteX63" fmla="*/ 6879 w 10000"/>
                <a:gd name="connsiteY63" fmla="*/ 2377 h 10000"/>
                <a:gd name="connsiteX64" fmla="*/ 6909 w 10000"/>
                <a:gd name="connsiteY64" fmla="*/ 2322 h 10000"/>
                <a:gd name="connsiteX65" fmla="*/ 6946 w 10000"/>
                <a:gd name="connsiteY65" fmla="*/ 2262 h 10000"/>
                <a:gd name="connsiteX66" fmla="*/ 6990 w 10000"/>
                <a:gd name="connsiteY66" fmla="*/ 2207 h 10000"/>
                <a:gd name="connsiteX67" fmla="*/ 7027 w 10000"/>
                <a:gd name="connsiteY67" fmla="*/ 2152 h 10000"/>
                <a:gd name="connsiteX68" fmla="*/ 7072 w 10000"/>
                <a:gd name="connsiteY68" fmla="*/ 2097 h 10000"/>
                <a:gd name="connsiteX69" fmla="*/ 7109 w 10000"/>
                <a:gd name="connsiteY69" fmla="*/ 2042 h 10000"/>
                <a:gd name="connsiteX70" fmla="*/ 7161 w 10000"/>
                <a:gd name="connsiteY70" fmla="*/ 1992 h 10000"/>
                <a:gd name="connsiteX71" fmla="*/ 7213 w 10000"/>
                <a:gd name="connsiteY71" fmla="*/ 1937 h 10000"/>
                <a:gd name="connsiteX72" fmla="*/ 7257 w 10000"/>
                <a:gd name="connsiteY72" fmla="*/ 1882 h 10000"/>
                <a:gd name="connsiteX73" fmla="*/ 7309 w 10000"/>
                <a:gd name="connsiteY73" fmla="*/ 1831 h 10000"/>
                <a:gd name="connsiteX74" fmla="*/ 7361 w 10000"/>
                <a:gd name="connsiteY74" fmla="*/ 1780 h 10000"/>
                <a:gd name="connsiteX75" fmla="*/ 7413 w 10000"/>
                <a:gd name="connsiteY75" fmla="*/ 1730 h 10000"/>
                <a:gd name="connsiteX76" fmla="*/ 7472 w 10000"/>
                <a:gd name="connsiteY76" fmla="*/ 1679 h 10000"/>
                <a:gd name="connsiteX77" fmla="*/ 7524 w 10000"/>
                <a:gd name="connsiteY77" fmla="*/ 1633 h 10000"/>
                <a:gd name="connsiteX78" fmla="*/ 7583 w 10000"/>
                <a:gd name="connsiteY78" fmla="*/ 1587 h 10000"/>
                <a:gd name="connsiteX79" fmla="*/ 7610 w 10000"/>
                <a:gd name="connsiteY79" fmla="*/ 1558 h 10000"/>
                <a:gd name="connsiteX80" fmla="*/ 5390 w 10000"/>
                <a:gd name="connsiteY80" fmla="*/ 6 h 10000"/>
                <a:gd name="connsiteX81" fmla="*/ 1401 w 10000"/>
                <a:gd name="connsiteY81" fmla="*/ 0 h 10000"/>
                <a:gd name="connsiteX82" fmla="*/ 1305 w 10000"/>
                <a:gd name="connsiteY82" fmla="*/ 114 h 10000"/>
                <a:gd name="connsiteX83" fmla="*/ 1223 w 10000"/>
                <a:gd name="connsiteY83" fmla="*/ 206 h 10000"/>
                <a:gd name="connsiteX84" fmla="*/ 1149 w 10000"/>
                <a:gd name="connsiteY84" fmla="*/ 302 h 10000"/>
                <a:gd name="connsiteX85" fmla="*/ 1067 w 10000"/>
                <a:gd name="connsiteY85" fmla="*/ 399 h 10000"/>
                <a:gd name="connsiteX86" fmla="*/ 1001 w 10000"/>
                <a:gd name="connsiteY86" fmla="*/ 496 h 10000"/>
                <a:gd name="connsiteX87" fmla="*/ 927 w 10000"/>
                <a:gd name="connsiteY87" fmla="*/ 592 h 10000"/>
                <a:gd name="connsiteX88" fmla="*/ 860 w 10000"/>
                <a:gd name="connsiteY88" fmla="*/ 693 h 10000"/>
                <a:gd name="connsiteX89" fmla="*/ 793 w 10000"/>
                <a:gd name="connsiteY89" fmla="*/ 794 h 10000"/>
                <a:gd name="connsiteX90" fmla="*/ 734 w 10000"/>
                <a:gd name="connsiteY90" fmla="*/ 890 h 10000"/>
                <a:gd name="connsiteX91" fmla="*/ 675 w 10000"/>
                <a:gd name="connsiteY91" fmla="*/ 991 h 10000"/>
                <a:gd name="connsiteX92" fmla="*/ 615 w 10000"/>
                <a:gd name="connsiteY92" fmla="*/ 1092 h 10000"/>
                <a:gd name="connsiteX93" fmla="*/ 556 w 10000"/>
                <a:gd name="connsiteY93" fmla="*/ 1198 h 10000"/>
                <a:gd name="connsiteX94" fmla="*/ 504 w 10000"/>
                <a:gd name="connsiteY94" fmla="*/ 1294 h 10000"/>
                <a:gd name="connsiteX95" fmla="*/ 452 w 10000"/>
                <a:gd name="connsiteY95" fmla="*/ 1400 h 10000"/>
                <a:gd name="connsiteX96" fmla="*/ 408 w 10000"/>
                <a:gd name="connsiteY96" fmla="*/ 1500 h 10000"/>
                <a:gd name="connsiteX97" fmla="*/ 363 w 10000"/>
                <a:gd name="connsiteY97" fmla="*/ 1606 h 10000"/>
                <a:gd name="connsiteX98" fmla="*/ 319 w 10000"/>
                <a:gd name="connsiteY98" fmla="*/ 1711 h 10000"/>
                <a:gd name="connsiteX99" fmla="*/ 282 w 10000"/>
                <a:gd name="connsiteY99" fmla="*/ 1818 h 10000"/>
                <a:gd name="connsiteX100" fmla="*/ 237 w 10000"/>
                <a:gd name="connsiteY100" fmla="*/ 1928 h 10000"/>
                <a:gd name="connsiteX101" fmla="*/ 208 w 10000"/>
                <a:gd name="connsiteY101" fmla="*/ 2033 h 10000"/>
                <a:gd name="connsiteX102" fmla="*/ 170 w 10000"/>
                <a:gd name="connsiteY102" fmla="*/ 2143 h 10000"/>
                <a:gd name="connsiteX103" fmla="*/ 148 w 10000"/>
                <a:gd name="connsiteY103" fmla="*/ 2253 h 10000"/>
                <a:gd name="connsiteX104" fmla="*/ 119 w 10000"/>
                <a:gd name="connsiteY104" fmla="*/ 2358 h 10000"/>
                <a:gd name="connsiteX105" fmla="*/ 96 w 10000"/>
                <a:gd name="connsiteY105" fmla="*/ 2468 h 10000"/>
                <a:gd name="connsiteX106" fmla="*/ 74 w 10000"/>
                <a:gd name="connsiteY106" fmla="*/ 2579 h 10000"/>
                <a:gd name="connsiteX107" fmla="*/ 52 w 10000"/>
                <a:gd name="connsiteY107" fmla="*/ 2694 h 10000"/>
                <a:gd name="connsiteX108" fmla="*/ 37 w 10000"/>
                <a:gd name="connsiteY108" fmla="*/ 2804 h 10000"/>
                <a:gd name="connsiteX109" fmla="*/ 22 w 10000"/>
                <a:gd name="connsiteY109" fmla="*/ 2914 h 10000"/>
                <a:gd name="connsiteX110" fmla="*/ 15 w 10000"/>
                <a:gd name="connsiteY110" fmla="*/ 3024 h 10000"/>
                <a:gd name="connsiteX111" fmla="*/ 7 w 10000"/>
                <a:gd name="connsiteY111" fmla="*/ 3138 h 10000"/>
                <a:gd name="connsiteX112" fmla="*/ 0 w 10000"/>
                <a:gd name="connsiteY112" fmla="*/ 3249 h 10000"/>
                <a:gd name="connsiteX113" fmla="*/ 0 w 10000"/>
                <a:gd name="connsiteY113" fmla="*/ 3364 h 10000"/>
                <a:gd name="connsiteX114" fmla="*/ 7 w 10000"/>
                <a:gd name="connsiteY114" fmla="*/ 3511 h 10000"/>
                <a:gd name="connsiteX115" fmla="*/ 7 w 10000"/>
                <a:gd name="connsiteY115" fmla="*/ 3657 h 10000"/>
                <a:gd name="connsiteX116" fmla="*/ 22 w 10000"/>
                <a:gd name="connsiteY116" fmla="*/ 3795 h 10000"/>
                <a:gd name="connsiteX117" fmla="*/ 37 w 10000"/>
                <a:gd name="connsiteY117" fmla="*/ 3938 h 10000"/>
                <a:gd name="connsiteX118" fmla="*/ 59 w 10000"/>
                <a:gd name="connsiteY118" fmla="*/ 4080 h 10000"/>
                <a:gd name="connsiteX119" fmla="*/ 89 w 10000"/>
                <a:gd name="connsiteY119" fmla="*/ 4222 h 10000"/>
                <a:gd name="connsiteX120" fmla="*/ 119 w 10000"/>
                <a:gd name="connsiteY120" fmla="*/ 4364 h 10000"/>
                <a:gd name="connsiteX121" fmla="*/ 148 w 10000"/>
                <a:gd name="connsiteY121" fmla="*/ 4506 h 10000"/>
                <a:gd name="connsiteX122" fmla="*/ 193 w 10000"/>
                <a:gd name="connsiteY122" fmla="*/ 4645 h 10000"/>
                <a:gd name="connsiteX123" fmla="*/ 237 w 10000"/>
                <a:gd name="connsiteY123" fmla="*/ 4782 h 10000"/>
                <a:gd name="connsiteX124" fmla="*/ 282 w 10000"/>
                <a:gd name="connsiteY124" fmla="*/ 4920 h 10000"/>
                <a:gd name="connsiteX125" fmla="*/ 334 w 10000"/>
                <a:gd name="connsiteY125" fmla="*/ 5057 h 10000"/>
                <a:gd name="connsiteX126" fmla="*/ 393 w 10000"/>
                <a:gd name="connsiteY126" fmla="*/ 5190 h 10000"/>
                <a:gd name="connsiteX127" fmla="*/ 452 w 10000"/>
                <a:gd name="connsiteY127" fmla="*/ 5323 h 10000"/>
                <a:gd name="connsiteX128" fmla="*/ 519 w 10000"/>
                <a:gd name="connsiteY128" fmla="*/ 5457 h 10000"/>
                <a:gd name="connsiteX129" fmla="*/ 586 w 10000"/>
                <a:gd name="connsiteY129" fmla="*/ 5590 h 10000"/>
                <a:gd name="connsiteX130" fmla="*/ 660 w 10000"/>
                <a:gd name="connsiteY130" fmla="*/ 5718 h 10000"/>
                <a:gd name="connsiteX131" fmla="*/ 741 w 10000"/>
                <a:gd name="connsiteY131" fmla="*/ 5846 h 10000"/>
                <a:gd name="connsiteX132" fmla="*/ 823 w 10000"/>
                <a:gd name="connsiteY132" fmla="*/ 5979 h 10000"/>
                <a:gd name="connsiteX133" fmla="*/ 904 w 10000"/>
                <a:gd name="connsiteY133" fmla="*/ 6104 h 10000"/>
                <a:gd name="connsiteX134" fmla="*/ 993 w 10000"/>
                <a:gd name="connsiteY134" fmla="*/ 6228 h 10000"/>
                <a:gd name="connsiteX135" fmla="*/ 1090 w 10000"/>
                <a:gd name="connsiteY135" fmla="*/ 6347 h 10000"/>
                <a:gd name="connsiteX136" fmla="*/ 1186 w 10000"/>
                <a:gd name="connsiteY136" fmla="*/ 6471 h 10000"/>
                <a:gd name="connsiteX137" fmla="*/ 1290 w 10000"/>
                <a:gd name="connsiteY137" fmla="*/ 6594 h 10000"/>
                <a:gd name="connsiteX138" fmla="*/ 1386 w 10000"/>
                <a:gd name="connsiteY138" fmla="*/ 6714 h 10000"/>
                <a:gd name="connsiteX139" fmla="*/ 1497 w 10000"/>
                <a:gd name="connsiteY139" fmla="*/ 6834 h 10000"/>
                <a:gd name="connsiteX140" fmla="*/ 1609 w 10000"/>
                <a:gd name="connsiteY140" fmla="*/ 6948 h 10000"/>
                <a:gd name="connsiteX141" fmla="*/ 1727 w 10000"/>
                <a:gd name="connsiteY141" fmla="*/ 7067 h 10000"/>
                <a:gd name="connsiteX142" fmla="*/ 1846 w 10000"/>
                <a:gd name="connsiteY142" fmla="*/ 7182 h 10000"/>
                <a:gd name="connsiteX143" fmla="*/ 1964 w 10000"/>
                <a:gd name="connsiteY143" fmla="*/ 7292 h 10000"/>
                <a:gd name="connsiteX144" fmla="*/ 2090 w 10000"/>
                <a:gd name="connsiteY144" fmla="*/ 7402 h 10000"/>
                <a:gd name="connsiteX145" fmla="*/ 2224 w 10000"/>
                <a:gd name="connsiteY145" fmla="*/ 7513 h 10000"/>
                <a:gd name="connsiteX146" fmla="*/ 2350 w 10000"/>
                <a:gd name="connsiteY146" fmla="*/ 7623 h 10000"/>
                <a:gd name="connsiteX147" fmla="*/ 2491 w 10000"/>
                <a:gd name="connsiteY147" fmla="*/ 7728 h 10000"/>
                <a:gd name="connsiteX148" fmla="*/ 2617 w 10000"/>
                <a:gd name="connsiteY148" fmla="*/ 7834 h 10000"/>
                <a:gd name="connsiteX149" fmla="*/ 2765 w 10000"/>
                <a:gd name="connsiteY149" fmla="*/ 7935 h 10000"/>
                <a:gd name="connsiteX150" fmla="*/ 2906 w 10000"/>
                <a:gd name="connsiteY150" fmla="*/ 8035 h 10000"/>
                <a:gd name="connsiteX151" fmla="*/ 3054 w 10000"/>
                <a:gd name="connsiteY151" fmla="*/ 8136 h 10000"/>
                <a:gd name="connsiteX152" fmla="*/ 3210 w 10000"/>
                <a:gd name="connsiteY152" fmla="*/ 8234 h 10000"/>
                <a:gd name="connsiteX153" fmla="*/ 3358 w 10000"/>
                <a:gd name="connsiteY153" fmla="*/ 8330 h 10000"/>
                <a:gd name="connsiteX154" fmla="*/ 3514 w 10000"/>
                <a:gd name="connsiteY154" fmla="*/ 8426 h 10000"/>
                <a:gd name="connsiteX155" fmla="*/ 3677 w 10000"/>
                <a:gd name="connsiteY155" fmla="*/ 8518 h 10000"/>
                <a:gd name="connsiteX156" fmla="*/ 3840 w 10000"/>
                <a:gd name="connsiteY156" fmla="*/ 8605 h 10000"/>
                <a:gd name="connsiteX157" fmla="*/ 4010 w 10000"/>
                <a:gd name="connsiteY157" fmla="*/ 8696 h 10000"/>
                <a:gd name="connsiteX158" fmla="*/ 4181 w 10000"/>
                <a:gd name="connsiteY158" fmla="*/ 8774 h 10000"/>
                <a:gd name="connsiteX159" fmla="*/ 4351 w 10000"/>
                <a:gd name="connsiteY159" fmla="*/ 8861 h 10000"/>
                <a:gd name="connsiteX160" fmla="*/ 4522 w 10000"/>
                <a:gd name="connsiteY160" fmla="*/ 8940 h 10000"/>
                <a:gd name="connsiteX161" fmla="*/ 4700 w 10000"/>
                <a:gd name="connsiteY161" fmla="*/ 9023 h 10000"/>
                <a:gd name="connsiteX162" fmla="*/ 4878 w 10000"/>
                <a:gd name="connsiteY162" fmla="*/ 9101 h 10000"/>
                <a:gd name="connsiteX163" fmla="*/ 5063 w 10000"/>
                <a:gd name="connsiteY163" fmla="*/ 9174 h 10000"/>
                <a:gd name="connsiteX164" fmla="*/ 5248 w 10000"/>
                <a:gd name="connsiteY164" fmla="*/ 9252 h 10000"/>
                <a:gd name="connsiteX165" fmla="*/ 5426 w 10000"/>
                <a:gd name="connsiteY165" fmla="*/ 9321 h 10000"/>
                <a:gd name="connsiteX166" fmla="*/ 5619 w 10000"/>
                <a:gd name="connsiteY166" fmla="*/ 9389 h 10000"/>
                <a:gd name="connsiteX167" fmla="*/ 5812 w 10000"/>
                <a:gd name="connsiteY167" fmla="*/ 9458 h 10000"/>
                <a:gd name="connsiteX168" fmla="*/ 6004 w 10000"/>
                <a:gd name="connsiteY168" fmla="*/ 9522 h 10000"/>
                <a:gd name="connsiteX169" fmla="*/ 6205 w 10000"/>
                <a:gd name="connsiteY169" fmla="*/ 9587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1 h 10000"/>
                <a:gd name="connsiteX179" fmla="*/ 10000 w 10000"/>
                <a:gd name="connsiteY179" fmla="*/ 6136 h 10000"/>
                <a:gd name="connsiteX0" fmla="*/ 10000 w 10000"/>
                <a:gd name="connsiteY0" fmla="*/ 6136 h 9954"/>
                <a:gd name="connsiteX1" fmla="*/ 10000 w 10000"/>
                <a:gd name="connsiteY1" fmla="*/ 6136 h 9954"/>
                <a:gd name="connsiteX2" fmla="*/ 9911 w 10000"/>
                <a:gd name="connsiteY2" fmla="*/ 6122 h 9954"/>
                <a:gd name="connsiteX3" fmla="*/ 9815 w 10000"/>
                <a:gd name="connsiteY3" fmla="*/ 6104 h 9954"/>
                <a:gd name="connsiteX4" fmla="*/ 9726 w 10000"/>
                <a:gd name="connsiteY4" fmla="*/ 6086 h 9954"/>
                <a:gd name="connsiteX5" fmla="*/ 9637 w 10000"/>
                <a:gd name="connsiteY5" fmla="*/ 6062 h 9954"/>
                <a:gd name="connsiteX6" fmla="*/ 9548 w 10000"/>
                <a:gd name="connsiteY6" fmla="*/ 6043 h 9954"/>
                <a:gd name="connsiteX7" fmla="*/ 9466 w 10000"/>
                <a:gd name="connsiteY7" fmla="*/ 6021 h 9954"/>
                <a:gd name="connsiteX8" fmla="*/ 9377 w 10000"/>
                <a:gd name="connsiteY8" fmla="*/ 5998 h 9954"/>
                <a:gd name="connsiteX9" fmla="*/ 9288 w 10000"/>
                <a:gd name="connsiteY9" fmla="*/ 5975 h 9954"/>
                <a:gd name="connsiteX10" fmla="*/ 9118 w 10000"/>
                <a:gd name="connsiteY10" fmla="*/ 5924 h 9954"/>
                <a:gd name="connsiteX11" fmla="*/ 8955 w 10000"/>
                <a:gd name="connsiteY11" fmla="*/ 5869 h 9954"/>
                <a:gd name="connsiteX12" fmla="*/ 8792 w 10000"/>
                <a:gd name="connsiteY12" fmla="*/ 5810 h 9954"/>
                <a:gd name="connsiteX13" fmla="*/ 8636 w 10000"/>
                <a:gd name="connsiteY13" fmla="*/ 5746 h 9954"/>
                <a:gd name="connsiteX14" fmla="*/ 8480 w 10000"/>
                <a:gd name="connsiteY14" fmla="*/ 5681 h 9954"/>
                <a:gd name="connsiteX15" fmla="*/ 8340 w 10000"/>
                <a:gd name="connsiteY15" fmla="*/ 5613 h 9954"/>
                <a:gd name="connsiteX16" fmla="*/ 8199 w 10000"/>
                <a:gd name="connsiteY16" fmla="*/ 5539 h 9954"/>
                <a:gd name="connsiteX17" fmla="*/ 8058 w 10000"/>
                <a:gd name="connsiteY17" fmla="*/ 5461 h 9954"/>
                <a:gd name="connsiteX18" fmla="*/ 7924 w 10000"/>
                <a:gd name="connsiteY18" fmla="*/ 5379 h 9954"/>
                <a:gd name="connsiteX19" fmla="*/ 7798 w 10000"/>
                <a:gd name="connsiteY19" fmla="*/ 5295 h 9954"/>
                <a:gd name="connsiteX20" fmla="*/ 7672 w 10000"/>
                <a:gd name="connsiteY20" fmla="*/ 5208 h 9954"/>
                <a:gd name="connsiteX21" fmla="*/ 7554 w 10000"/>
                <a:gd name="connsiteY21" fmla="*/ 5121 h 9954"/>
                <a:gd name="connsiteX22" fmla="*/ 7450 w 10000"/>
                <a:gd name="connsiteY22" fmla="*/ 5025 h 9954"/>
                <a:gd name="connsiteX23" fmla="*/ 7346 w 10000"/>
                <a:gd name="connsiteY23" fmla="*/ 4929 h 9954"/>
                <a:gd name="connsiteX24" fmla="*/ 7250 w 10000"/>
                <a:gd name="connsiteY24" fmla="*/ 4833 h 9954"/>
                <a:gd name="connsiteX25" fmla="*/ 7161 w 10000"/>
                <a:gd name="connsiteY25" fmla="*/ 4732 h 9954"/>
                <a:gd name="connsiteX26" fmla="*/ 7072 w 10000"/>
                <a:gd name="connsiteY26" fmla="*/ 4630 h 9954"/>
                <a:gd name="connsiteX27" fmla="*/ 6990 w 10000"/>
                <a:gd name="connsiteY27" fmla="*/ 4520 h 9954"/>
                <a:gd name="connsiteX28" fmla="*/ 6953 w 10000"/>
                <a:gd name="connsiteY28" fmla="*/ 4470 h 9954"/>
                <a:gd name="connsiteX29" fmla="*/ 6916 w 10000"/>
                <a:gd name="connsiteY29" fmla="*/ 4415 h 9954"/>
                <a:gd name="connsiteX30" fmla="*/ 6887 w 10000"/>
                <a:gd name="connsiteY30" fmla="*/ 4360 h 9954"/>
                <a:gd name="connsiteX31" fmla="*/ 6850 w 10000"/>
                <a:gd name="connsiteY31" fmla="*/ 4305 h 9954"/>
                <a:gd name="connsiteX32" fmla="*/ 6820 w 10000"/>
                <a:gd name="connsiteY32" fmla="*/ 4250 h 9954"/>
                <a:gd name="connsiteX33" fmla="*/ 6790 w 10000"/>
                <a:gd name="connsiteY33" fmla="*/ 4195 h 9954"/>
                <a:gd name="connsiteX34" fmla="*/ 6768 w 10000"/>
                <a:gd name="connsiteY34" fmla="*/ 4135 h 9954"/>
                <a:gd name="connsiteX35" fmla="*/ 6738 w 10000"/>
                <a:gd name="connsiteY35" fmla="*/ 4080 h 9954"/>
                <a:gd name="connsiteX36" fmla="*/ 6723 w 10000"/>
                <a:gd name="connsiteY36" fmla="*/ 4020 h 9954"/>
                <a:gd name="connsiteX37" fmla="*/ 6694 w 10000"/>
                <a:gd name="connsiteY37" fmla="*/ 3965 h 9954"/>
                <a:gd name="connsiteX38" fmla="*/ 6679 w 10000"/>
                <a:gd name="connsiteY38" fmla="*/ 3905 h 9954"/>
                <a:gd name="connsiteX39" fmla="*/ 6664 w 10000"/>
                <a:gd name="connsiteY39" fmla="*/ 3845 h 9954"/>
                <a:gd name="connsiteX40" fmla="*/ 6649 w 10000"/>
                <a:gd name="connsiteY40" fmla="*/ 3786 h 9954"/>
                <a:gd name="connsiteX41" fmla="*/ 6635 w 10000"/>
                <a:gd name="connsiteY41" fmla="*/ 3731 h 9954"/>
                <a:gd name="connsiteX42" fmla="*/ 6620 w 10000"/>
                <a:gd name="connsiteY42" fmla="*/ 3671 h 9954"/>
                <a:gd name="connsiteX43" fmla="*/ 6612 w 10000"/>
                <a:gd name="connsiteY43" fmla="*/ 3612 h 9954"/>
                <a:gd name="connsiteX44" fmla="*/ 6605 w 10000"/>
                <a:gd name="connsiteY44" fmla="*/ 3552 h 9954"/>
                <a:gd name="connsiteX45" fmla="*/ 6597 w 10000"/>
                <a:gd name="connsiteY45" fmla="*/ 3488 h 9954"/>
                <a:gd name="connsiteX46" fmla="*/ 6597 w 10000"/>
                <a:gd name="connsiteY46" fmla="*/ 3428 h 9954"/>
                <a:gd name="connsiteX47" fmla="*/ 6590 w 10000"/>
                <a:gd name="connsiteY47" fmla="*/ 3364 h 9954"/>
                <a:gd name="connsiteX48" fmla="*/ 6597 w 10000"/>
                <a:gd name="connsiteY48" fmla="*/ 3304 h 9954"/>
                <a:gd name="connsiteX49" fmla="*/ 6605 w 10000"/>
                <a:gd name="connsiteY49" fmla="*/ 3236 h 9954"/>
                <a:gd name="connsiteX50" fmla="*/ 6605 w 10000"/>
                <a:gd name="connsiteY50" fmla="*/ 3171 h 9954"/>
                <a:gd name="connsiteX51" fmla="*/ 6612 w 10000"/>
                <a:gd name="connsiteY51" fmla="*/ 3106 h 9954"/>
                <a:gd name="connsiteX52" fmla="*/ 6620 w 10000"/>
                <a:gd name="connsiteY52" fmla="*/ 3042 h 9954"/>
                <a:gd name="connsiteX53" fmla="*/ 6635 w 10000"/>
                <a:gd name="connsiteY53" fmla="*/ 2983 h 9954"/>
                <a:gd name="connsiteX54" fmla="*/ 6649 w 10000"/>
                <a:gd name="connsiteY54" fmla="*/ 2919 h 9954"/>
                <a:gd name="connsiteX55" fmla="*/ 6664 w 10000"/>
                <a:gd name="connsiteY55" fmla="*/ 2859 h 9954"/>
                <a:gd name="connsiteX56" fmla="*/ 6686 w 10000"/>
                <a:gd name="connsiteY56" fmla="*/ 2795 h 9954"/>
                <a:gd name="connsiteX57" fmla="*/ 6709 w 10000"/>
                <a:gd name="connsiteY57" fmla="*/ 2735 h 9954"/>
                <a:gd name="connsiteX58" fmla="*/ 6731 w 10000"/>
                <a:gd name="connsiteY58" fmla="*/ 2676 h 9954"/>
                <a:gd name="connsiteX59" fmla="*/ 6753 w 10000"/>
                <a:gd name="connsiteY59" fmla="*/ 2611 h 9954"/>
                <a:gd name="connsiteX60" fmla="*/ 6783 w 10000"/>
                <a:gd name="connsiteY60" fmla="*/ 2556 h 9954"/>
                <a:gd name="connsiteX61" fmla="*/ 6812 w 10000"/>
                <a:gd name="connsiteY61" fmla="*/ 2496 h 9954"/>
                <a:gd name="connsiteX62" fmla="*/ 6842 w 10000"/>
                <a:gd name="connsiteY62" fmla="*/ 2436 h 9954"/>
                <a:gd name="connsiteX63" fmla="*/ 6879 w 10000"/>
                <a:gd name="connsiteY63" fmla="*/ 2377 h 9954"/>
                <a:gd name="connsiteX64" fmla="*/ 6909 w 10000"/>
                <a:gd name="connsiteY64" fmla="*/ 2322 h 9954"/>
                <a:gd name="connsiteX65" fmla="*/ 6946 w 10000"/>
                <a:gd name="connsiteY65" fmla="*/ 2262 h 9954"/>
                <a:gd name="connsiteX66" fmla="*/ 6990 w 10000"/>
                <a:gd name="connsiteY66" fmla="*/ 2207 h 9954"/>
                <a:gd name="connsiteX67" fmla="*/ 7027 w 10000"/>
                <a:gd name="connsiteY67" fmla="*/ 2152 h 9954"/>
                <a:gd name="connsiteX68" fmla="*/ 7072 w 10000"/>
                <a:gd name="connsiteY68" fmla="*/ 2097 h 9954"/>
                <a:gd name="connsiteX69" fmla="*/ 7109 w 10000"/>
                <a:gd name="connsiteY69" fmla="*/ 2042 h 9954"/>
                <a:gd name="connsiteX70" fmla="*/ 7161 w 10000"/>
                <a:gd name="connsiteY70" fmla="*/ 1992 h 9954"/>
                <a:gd name="connsiteX71" fmla="*/ 7213 w 10000"/>
                <a:gd name="connsiteY71" fmla="*/ 1937 h 9954"/>
                <a:gd name="connsiteX72" fmla="*/ 7257 w 10000"/>
                <a:gd name="connsiteY72" fmla="*/ 1882 h 9954"/>
                <a:gd name="connsiteX73" fmla="*/ 7309 w 10000"/>
                <a:gd name="connsiteY73" fmla="*/ 1831 h 9954"/>
                <a:gd name="connsiteX74" fmla="*/ 7361 w 10000"/>
                <a:gd name="connsiteY74" fmla="*/ 1780 h 9954"/>
                <a:gd name="connsiteX75" fmla="*/ 7413 w 10000"/>
                <a:gd name="connsiteY75" fmla="*/ 1730 h 9954"/>
                <a:gd name="connsiteX76" fmla="*/ 7472 w 10000"/>
                <a:gd name="connsiteY76" fmla="*/ 1679 h 9954"/>
                <a:gd name="connsiteX77" fmla="*/ 7524 w 10000"/>
                <a:gd name="connsiteY77" fmla="*/ 1633 h 9954"/>
                <a:gd name="connsiteX78" fmla="*/ 7583 w 10000"/>
                <a:gd name="connsiteY78" fmla="*/ 1587 h 9954"/>
                <a:gd name="connsiteX79" fmla="*/ 7610 w 10000"/>
                <a:gd name="connsiteY79" fmla="*/ 1558 h 9954"/>
                <a:gd name="connsiteX80" fmla="*/ 5390 w 10000"/>
                <a:gd name="connsiteY80" fmla="*/ 6 h 9954"/>
                <a:gd name="connsiteX81" fmla="*/ 1401 w 10000"/>
                <a:gd name="connsiteY81" fmla="*/ 0 h 9954"/>
                <a:gd name="connsiteX82" fmla="*/ 1305 w 10000"/>
                <a:gd name="connsiteY82" fmla="*/ 114 h 9954"/>
                <a:gd name="connsiteX83" fmla="*/ 1223 w 10000"/>
                <a:gd name="connsiteY83" fmla="*/ 206 h 9954"/>
                <a:gd name="connsiteX84" fmla="*/ 1149 w 10000"/>
                <a:gd name="connsiteY84" fmla="*/ 302 h 9954"/>
                <a:gd name="connsiteX85" fmla="*/ 1067 w 10000"/>
                <a:gd name="connsiteY85" fmla="*/ 399 h 9954"/>
                <a:gd name="connsiteX86" fmla="*/ 1001 w 10000"/>
                <a:gd name="connsiteY86" fmla="*/ 496 h 9954"/>
                <a:gd name="connsiteX87" fmla="*/ 927 w 10000"/>
                <a:gd name="connsiteY87" fmla="*/ 592 h 9954"/>
                <a:gd name="connsiteX88" fmla="*/ 860 w 10000"/>
                <a:gd name="connsiteY88" fmla="*/ 693 h 9954"/>
                <a:gd name="connsiteX89" fmla="*/ 793 w 10000"/>
                <a:gd name="connsiteY89" fmla="*/ 794 h 9954"/>
                <a:gd name="connsiteX90" fmla="*/ 734 w 10000"/>
                <a:gd name="connsiteY90" fmla="*/ 890 h 9954"/>
                <a:gd name="connsiteX91" fmla="*/ 675 w 10000"/>
                <a:gd name="connsiteY91" fmla="*/ 991 h 9954"/>
                <a:gd name="connsiteX92" fmla="*/ 615 w 10000"/>
                <a:gd name="connsiteY92" fmla="*/ 1092 h 9954"/>
                <a:gd name="connsiteX93" fmla="*/ 556 w 10000"/>
                <a:gd name="connsiteY93" fmla="*/ 1198 h 9954"/>
                <a:gd name="connsiteX94" fmla="*/ 504 w 10000"/>
                <a:gd name="connsiteY94" fmla="*/ 1294 h 9954"/>
                <a:gd name="connsiteX95" fmla="*/ 452 w 10000"/>
                <a:gd name="connsiteY95" fmla="*/ 1400 h 9954"/>
                <a:gd name="connsiteX96" fmla="*/ 408 w 10000"/>
                <a:gd name="connsiteY96" fmla="*/ 1500 h 9954"/>
                <a:gd name="connsiteX97" fmla="*/ 363 w 10000"/>
                <a:gd name="connsiteY97" fmla="*/ 1606 h 9954"/>
                <a:gd name="connsiteX98" fmla="*/ 319 w 10000"/>
                <a:gd name="connsiteY98" fmla="*/ 1711 h 9954"/>
                <a:gd name="connsiteX99" fmla="*/ 282 w 10000"/>
                <a:gd name="connsiteY99" fmla="*/ 1818 h 9954"/>
                <a:gd name="connsiteX100" fmla="*/ 237 w 10000"/>
                <a:gd name="connsiteY100" fmla="*/ 1928 h 9954"/>
                <a:gd name="connsiteX101" fmla="*/ 208 w 10000"/>
                <a:gd name="connsiteY101" fmla="*/ 2033 h 9954"/>
                <a:gd name="connsiteX102" fmla="*/ 170 w 10000"/>
                <a:gd name="connsiteY102" fmla="*/ 2143 h 9954"/>
                <a:gd name="connsiteX103" fmla="*/ 148 w 10000"/>
                <a:gd name="connsiteY103" fmla="*/ 2253 h 9954"/>
                <a:gd name="connsiteX104" fmla="*/ 119 w 10000"/>
                <a:gd name="connsiteY104" fmla="*/ 2358 h 9954"/>
                <a:gd name="connsiteX105" fmla="*/ 96 w 10000"/>
                <a:gd name="connsiteY105" fmla="*/ 2468 h 9954"/>
                <a:gd name="connsiteX106" fmla="*/ 74 w 10000"/>
                <a:gd name="connsiteY106" fmla="*/ 2579 h 9954"/>
                <a:gd name="connsiteX107" fmla="*/ 52 w 10000"/>
                <a:gd name="connsiteY107" fmla="*/ 2694 h 9954"/>
                <a:gd name="connsiteX108" fmla="*/ 37 w 10000"/>
                <a:gd name="connsiteY108" fmla="*/ 2804 h 9954"/>
                <a:gd name="connsiteX109" fmla="*/ 22 w 10000"/>
                <a:gd name="connsiteY109" fmla="*/ 2914 h 9954"/>
                <a:gd name="connsiteX110" fmla="*/ 15 w 10000"/>
                <a:gd name="connsiteY110" fmla="*/ 3024 h 9954"/>
                <a:gd name="connsiteX111" fmla="*/ 7 w 10000"/>
                <a:gd name="connsiteY111" fmla="*/ 3138 h 9954"/>
                <a:gd name="connsiteX112" fmla="*/ 0 w 10000"/>
                <a:gd name="connsiteY112" fmla="*/ 3249 h 9954"/>
                <a:gd name="connsiteX113" fmla="*/ 0 w 10000"/>
                <a:gd name="connsiteY113" fmla="*/ 3364 h 9954"/>
                <a:gd name="connsiteX114" fmla="*/ 7 w 10000"/>
                <a:gd name="connsiteY114" fmla="*/ 3511 h 9954"/>
                <a:gd name="connsiteX115" fmla="*/ 7 w 10000"/>
                <a:gd name="connsiteY115" fmla="*/ 3657 h 9954"/>
                <a:gd name="connsiteX116" fmla="*/ 22 w 10000"/>
                <a:gd name="connsiteY116" fmla="*/ 3795 h 9954"/>
                <a:gd name="connsiteX117" fmla="*/ 37 w 10000"/>
                <a:gd name="connsiteY117" fmla="*/ 3938 h 9954"/>
                <a:gd name="connsiteX118" fmla="*/ 59 w 10000"/>
                <a:gd name="connsiteY118" fmla="*/ 4080 h 9954"/>
                <a:gd name="connsiteX119" fmla="*/ 89 w 10000"/>
                <a:gd name="connsiteY119" fmla="*/ 4222 h 9954"/>
                <a:gd name="connsiteX120" fmla="*/ 119 w 10000"/>
                <a:gd name="connsiteY120" fmla="*/ 4364 h 9954"/>
                <a:gd name="connsiteX121" fmla="*/ 148 w 10000"/>
                <a:gd name="connsiteY121" fmla="*/ 4506 h 9954"/>
                <a:gd name="connsiteX122" fmla="*/ 193 w 10000"/>
                <a:gd name="connsiteY122" fmla="*/ 4645 h 9954"/>
                <a:gd name="connsiteX123" fmla="*/ 237 w 10000"/>
                <a:gd name="connsiteY123" fmla="*/ 4782 h 9954"/>
                <a:gd name="connsiteX124" fmla="*/ 282 w 10000"/>
                <a:gd name="connsiteY124" fmla="*/ 4920 h 9954"/>
                <a:gd name="connsiteX125" fmla="*/ 334 w 10000"/>
                <a:gd name="connsiteY125" fmla="*/ 5057 h 9954"/>
                <a:gd name="connsiteX126" fmla="*/ 393 w 10000"/>
                <a:gd name="connsiteY126" fmla="*/ 5190 h 9954"/>
                <a:gd name="connsiteX127" fmla="*/ 452 w 10000"/>
                <a:gd name="connsiteY127" fmla="*/ 5323 h 9954"/>
                <a:gd name="connsiteX128" fmla="*/ 519 w 10000"/>
                <a:gd name="connsiteY128" fmla="*/ 5457 h 9954"/>
                <a:gd name="connsiteX129" fmla="*/ 586 w 10000"/>
                <a:gd name="connsiteY129" fmla="*/ 5590 h 9954"/>
                <a:gd name="connsiteX130" fmla="*/ 660 w 10000"/>
                <a:gd name="connsiteY130" fmla="*/ 5718 h 9954"/>
                <a:gd name="connsiteX131" fmla="*/ 741 w 10000"/>
                <a:gd name="connsiteY131" fmla="*/ 5846 h 9954"/>
                <a:gd name="connsiteX132" fmla="*/ 823 w 10000"/>
                <a:gd name="connsiteY132" fmla="*/ 5979 h 9954"/>
                <a:gd name="connsiteX133" fmla="*/ 904 w 10000"/>
                <a:gd name="connsiteY133" fmla="*/ 6104 h 9954"/>
                <a:gd name="connsiteX134" fmla="*/ 993 w 10000"/>
                <a:gd name="connsiteY134" fmla="*/ 6228 h 9954"/>
                <a:gd name="connsiteX135" fmla="*/ 1090 w 10000"/>
                <a:gd name="connsiteY135" fmla="*/ 6347 h 9954"/>
                <a:gd name="connsiteX136" fmla="*/ 1186 w 10000"/>
                <a:gd name="connsiteY136" fmla="*/ 6471 h 9954"/>
                <a:gd name="connsiteX137" fmla="*/ 1290 w 10000"/>
                <a:gd name="connsiteY137" fmla="*/ 6594 h 9954"/>
                <a:gd name="connsiteX138" fmla="*/ 1386 w 10000"/>
                <a:gd name="connsiteY138" fmla="*/ 6714 h 9954"/>
                <a:gd name="connsiteX139" fmla="*/ 1497 w 10000"/>
                <a:gd name="connsiteY139" fmla="*/ 6834 h 9954"/>
                <a:gd name="connsiteX140" fmla="*/ 1609 w 10000"/>
                <a:gd name="connsiteY140" fmla="*/ 6948 h 9954"/>
                <a:gd name="connsiteX141" fmla="*/ 1727 w 10000"/>
                <a:gd name="connsiteY141" fmla="*/ 7067 h 9954"/>
                <a:gd name="connsiteX142" fmla="*/ 1846 w 10000"/>
                <a:gd name="connsiteY142" fmla="*/ 7182 h 9954"/>
                <a:gd name="connsiteX143" fmla="*/ 1964 w 10000"/>
                <a:gd name="connsiteY143" fmla="*/ 7292 h 9954"/>
                <a:gd name="connsiteX144" fmla="*/ 2090 w 10000"/>
                <a:gd name="connsiteY144" fmla="*/ 7402 h 9954"/>
                <a:gd name="connsiteX145" fmla="*/ 2224 w 10000"/>
                <a:gd name="connsiteY145" fmla="*/ 7513 h 9954"/>
                <a:gd name="connsiteX146" fmla="*/ 2350 w 10000"/>
                <a:gd name="connsiteY146" fmla="*/ 7623 h 9954"/>
                <a:gd name="connsiteX147" fmla="*/ 2491 w 10000"/>
                <a:gd name="connsiteY147" fmla="*/ 7728 h 9954"/>
                <a:gd name="connsiteX148" fmla="*/ 2617 w 10000"/>
                <a:gd name="connsiteY148" fmla="*/ 7834 h 9954"/>
                <a:gd name="connsiteX149" fmla="*/ 2765 w 10000"/>
                <a:gd name="connsiteY149" fmla="*/ 7935 h 9954"/>
                <a:gd name="connsiteX150" fmla="*/ 2906 w 10000"/>
                <a:gd name="connsiteY150" fmla="*/ 8035 h 9954"/>
                <a:gd name="connsiteX151" fmla="*/ 3054 w 10000"/>
                <a:gd name="connsiteY151" fmla="*/ 8136 h 9954"/>
                <a:gd name="connsiteX152" fmla="*/ 3210 w 10000"/>
                <a:gd name="connsiteY152" fmla="*/ 8234 h 9954"/>
                <a:gd name="connsiteX153" fmla="*/ 3358 w 10000"/>
                <a:gd name="connsiteY153" fmla="*/ 8330 h 9954"/>
                <a:gd name="connsiteX154" fmla="*/ 3514 w 10000"/>
                <a:gd name="connsiteY154" fmla="*/ 8426 h 9954"/>
                <a:gd name="connsiteX155" fmla="*/ 3677 w 10000"/>
                <a:gd name="connsiteY155" fmla="*/ 8518 h 9954"/>
                <a:gd name="connsiteX156" fmla="*/ 3840 w 10000"/>
                <a:gd name="connsiteY156" fmla="*/ 8605 h 9954"/>
                <a:gd name="connsiteX157" fmla="*/ 4010 w 10000"/>
                <a:gd name="connsiteY157" fmla="*/ 8696 h 9954"/>
                <a:gd name="connsiteX158" fmla="*/ 4181 w 10000"/>
                <a:gd name="connsiteY158" fmla="*/ 8774 h 9954"/>
                <a:gd name="connsiteX159" fmla="*/ 4351 w 10000"/>
                <a:gd name="connsiteY159" fmla="*/ 8861 h 9954"/>
                <a:gd name="connsiteX160" fmla="*/ 4522 w 10000"/>
                <a:gd name="connsiteY160" fmla="*/ 8940 h 9954"/>
                <a:gd name="connsiteX161" fmla="*/ 4700 w 10000"/>
                <a:gd name="connsiteY161" fmla="*/ 9023 h 9954"/>
                <a:gd name="connsiteX162" fmla="*/ 4878 w 10000"/>
                <a:gd name="connsiteY162" fmla="*/ 9101 h 9954"/>
                <a:gd name="connsiteX163" fmla="*/ 5063 w 10000"/>
                <a:gd name="connsiteY163" fmla="*/ 9174 h 9954"/>
                <a:gd name="connsiteX164" fmla="*/ 5248 w 10000"/>
                <a:gd name="connsiteY164" fmla="*/ 9252 h 9954"/>
                <a:gd name="connsiteX165" fmla="*/ 5426 w 10000"/>
                <a:gd name="connsiteY165" fmla="*/ 9321 h 9954"/>
                <a:gd name="connsiteX166" fmla="*/ 5619 w 10000"/>
                <a:gd name="connsiteY166" fmla="*/ 9389 h 9954"/>
                <a:gd name="connsiteX167" fmla="*/ 5812 w 10000"/>
                <a:gd name="connsiteY167" fmla="*/ 9458 h 9954"/>
                <a:gd name="connsiteX168" fmla="*/ 6004 w 10000"/>
                <a:gd name="connsiteY168" fmla="*/ 9522 h 9954"/>
                <a:gd name="connsiteX169" fmla="*/ 6205 w 10000"/>
                <a:gd name="connsiteY169" fmla="*/ 9587 h 9954"/>
                <a:gd name="connsiteX170" fmla="*/ 6397 w 10000"/>
                <a:gd name="connsiteY170" fmla="*/ 9647 h 9954"/>
                <a:gd name="connsiteX171" fmla="*/ 6605 w 10000"/>
                <a:gd name="connsiteY171" fmla="*/ 9702 h 9954"/>
                <a:gd name="connsiteX172" fmla="*/ 6805 w 10000"/>
                <a:gd name="connsiteY172" fmla="*/ 9757 h 9954"/>
                <a:gd name="connsiteX173" fmla="*/ 7005 w 10000"/>
                <a:gd name="connsiteY173" fmla="*/ 9812 h 9954"/>
                <a:gd name="connsiteX174" fmla="*/ 7213 w 10000"/>
                <a:gd name="connsiteY174" fmla="*/ 9863 h 9954"/>
                <a:gd name="connsiteX175" fmla="*/ 7420 w 10000"/>
                <a:gd name="connsiteY175" fmla="*/ 9908 h 9954"/>
                <a:gd name="connsiteX176" fmla="*/ 7628 w 10000"/>
                <a:gd name="connsiteY176" fmla="*/ 9954 h 9954"/>
                <a:gd name="connsiteX177" fmla="*/ 7539 w 10000"/>
                <a:gd name="connsiteY177" fmla="*/ 7751 h 9954"/>
                <a:gd name="connsiteX178" fmla="*/ 10000 w 10000"/>
                <a:gd name="connsiteY178" fmla="*/ 6136 h 9954"/>
                <a:gd name="connsiteX0" fmla="*/ 10000 w 10000"/>
                <a:gd name="connsiteY0" fmla="*/ 6164 h 9954"/>
                <a:gd name="connsiteX1" fmla="*/ 10000 w 10000"/>
                <a:gd name="connsiteY1" fmla="*/ 6164 h 9954"/>
                <a:gd name="connsiteX2" fmla="*/ 9911 w 10000"/>
                <a:gd name="connsiteY2" fmla="*/ 6150 h 9954"/>
                <a:gd name="connsiteX3" fmla="*/ 9815 w 10000"/>
                <a:gd name="connsiteY3" fmla="*/ 6132 h 9954"/>
                <a:gd name="connsiteX4" fmla="*/ 9726 w 10000"/>
                <a:gd name="connsiteY4" fmla="*/ 6114 h 9954"/>
                <a:gd name="connsiteX5" fmla="*/ 9637 w 10000"/>
                <a:gd name="connsiteY5" fmla="*/ 6090 h 9954"/>
                <a:gd name="connsiteX6" fmla="*/ 9548 w 10000"/>
                <a:gd name="connsiteY6" fmla="*/ 6071 h 9954"/>
                <a:gd name="connsiteX7" fmla="*/ 9466 w 10000"/>
                <a:gd name="connsiteY7" fmla="*/ 6049 h 9954"/>
                <a:gd name="connsiteX8" fmla="*/ 9377 w 10000"/>
                <a:gd name="connsiteY8" fmla="*/ 6026 h 9954"/>
                <a:gd name="connsiteX9" fmla="*/ 9288 w 10000"/>
                <a:gd name="connsiteY9" fmla="*/ 6003 h 9954"/>
                <a:gd name="connsiteX10" fmla="*/ 9118 w 10000"/>
                <a:gd name="connsiteY10" fmla="*/ 5951 h 9954"/>
                <a:gd name="connsiteX11" fmla="*/ 8955 w 10000"/>
                <a:gd name="connsiteY11" fmla="*/ 5896 h 9954"/>
                <a:gd name="connsiteX12" fmla="*/ 8792 w 10000"/>
                <a:gd name="connsiteY12" fmla="*/ 5837 h 9954"/>
                <a:gd name="connsiteX13" fmla="*/ 8636 w 10000"/>
                <a:gd name="connsiteY13" fmla="*/ 5773 h 9954"/>
                <a:gd name="connsiteX14" fmla="*/ 8480 w 10000"/>
                <a:gd name="connsiteY14" fmla="*/ 5707 h 9954"/>
                <a:gd name="connsiteX15" fmla="*/ 8340 w 10000"/>
                <a:gd name="connsiteY15" fmla="*/ 5639 h 9954"/>
                <a:gd name="connsiteX16" fmla="*/ 8199 w 10000"/>
                <a:gd name="connsiteY16" fmla="*/ 5565 h 9954"/>
                <a:gd name="connsiteX17" fmla="*/ 8058 w 10000"/>
                <a:gd name="connsiteY17" fmla="*/ 5486 h 9954"/>
                <a:gd name="connsiteX18" fmla="*/ 7924 w 10000"/>
                <a:gd name="connsiteY18" fmla="*/ 5404 h 9954"/>
                <a:gd name="connsiteX19" fmla="*/ 7798 w 10000"/>
                <a:gd name="connsiteY19" fmla="*/ 5319 h 9954"/>
                <a:gd name="connsiteX20" fmla="*/ 7672 w 10000"/>
                <a:gd name="connsiteY20" fmla="*/ 5232 h 9954"/>
                <a:gd name="connsiteX21" fmla="*/ 7554 w 10000"/>
                <a:gd name="connsiteY21" fmla="*/ 5145 h 9954"/>
                <a:gd name="connsiteX22" fmla="*/ 7450 w 10000"/>
                <a:gd name="connsiteY22" fmla="*/ 5048 h 9954"/>
                <a:gd name="connsiteX23" fmla="*/ 7346 w 10000"/>
                <a:gd name="connsiteY23" fmla="*/ 4952 h 9954"/>
                <a:gd name="connsiteX24" fmla="*/ 7250 w 10000"/>
                <a:gd name="connsiteY24" fmla="*/ 4855 h 9954"/>
                <a:gd name="connsiteX25" fmla="*/ 7161 w 10000"/>
                <a:gd name="connsiteY25" fmla="*/ 4754 h 9954"/>
                <a:gd name="connsiteX26" fmla="*/ 7072 w 10000"/>
                <a:gd name="connsiteY26" fmla="*/ 4651 h 9954"/>
                <a:gd name="connsiteX27" fmla="*/ 6990 w 10000"/>
                <a:gd name="connsiteY27" fmla="*/ 4541 h 9954"/>
                <a:gd name="connsiteX28" fmla="*/ 6953 w 10000"/>
                <a:gd name="connsiteY28" fmla="*/ 4491 h 9954"/>
                <a:gd name="connsiteX29" fmla="*/ 6916 w 10000"/>
                <a:gd name="connsiteY29" fmla="*/ 4435 h 9954"/>
                <a:gd name="connsiteX30" fmla="*/ 6887 w 10000"/>
                <a:gd name="connsiteY30" fmla="*/ 4380 h 9954"/>
                <a:gd name="connsiteX31" fmla="*/ 6850 w 10000"/>
                <a:gd name="connsiteY31" fmla="*/ 4325 h 9954"/>
                <a:gd name="connsiteX32" fmla="*/ 6820 w 10000"/>
                <a:gd name="connsiteY32" fmla="*/ 4270 h 9954"/>
                <a:gd name="connsiteX33" fmla="*/ 6790 w 10000"/>
                <a:gd name="connsiteY33" fmla="*/ 4214 h 9954"/>
                <a:gd name="connsiteX34" fmla="*/ 6768 w 10000"/>
                <a:gd name="connsiteY34" fmla="*/ 4154 h 9954"/>
                <a:gd name="connsiteX35" fmla="*/ 6738 w 10000"/>
                <a:gd name="connsiteY35" fmla="*/ 4099 h 9954"/>
                <a:gd name="connsiteX36" fmla="*/ 6723 w 10000"/>
                <a:gd name="connsiteY36" fmla="*/ 4039 h 9954"/>
                <a:gd name="connsiteX37" fmla="*/ 6694 w 10000"/>
                <a:gd name="connsiteY37" fmla="*/ 3983 h 9954"/>
                <a:gd name="connsiteX38" fmla="*/ 6679 w 10000"/>
                <a:gd name="connsiteY38" fmla="*/ 3923 h 9954"/>
                <a:gd name="connsiteX39" fmla="*/ 6664 w 10000"/>
                <a:gd name="connsiteY39" fmla="*/ 3863 h 9954"/>
                <a:gd name="connsiteX40" fmla="*/ 6649 w 10000"/>
                <a:gd name="connsiteY40" fmla="*/ 3803 h 9954"/>
                <a:gd name="connsiteX41" fmla="*/ 6635 w 10000"/>
                <a:gd name="connsiteY41" fmla="*/ 3748 h 9954"/>
                <a:gd name="connsiteX42" fmla="*/ 6620 w 10000"/>
                <a:gd name="connsiteY42" fmla="*/ 3688 h 9954"/>
                <a:gd name="connsiteX43" fmla="*/ 6612 w 10000"/>
                <a:gd name="connsiteY43" fmla="*/ 3629 h 9954"/>
                <a:gd name="connsiteX44" fmla="*/ 6605 w 10000"/>
                <a:gd name="connsiteY44" fmla="*/ 3568 h 9954"/>
                <a:gd name="connsiteX45" fmla="*/ 6597 w 10000"/>
                <a:gd name="connsiteY45" fmla="*/ 3504 h 9954"/>
                <a:gd name="connsiteX46" fmla="*/ 6597 w 10000"/>
                <a:gd name="connsiteY46" fmla="*/ 3444 h 9954"/>
                <a:gd name="connsiteX47" fmla="*/ 6590 w 10000"/>
                <a:gd name="connsiteY47" fmla="*/ 3380 h 9954"/>
                <a:gd name="connsiteX48" fmla="*/ 6597 w 10000"/>
                <a:gd name="connsiteY48" fmla="*/ 3319 h 9954"/>
                <a:gd name="connsiteX49" fmla="*/ 6605 w 10000"/>
                <a:gd name="connsiteY49" fmla="*/ 3251 h 9954"/>
                <a:gd name="connsiteX50" fmla="*/ 6605 w 10000"/>
                <a:gd name="connsiteY50" fmla="*/ 3186 h 9954"/>
                <a:gd name="connsiteX51" fmla="*/ 6612 w 10000"/>
                <a:gd name="connsiteY51" fmla="*/ 3120 h 9954"/>
                <a:gd name="connsiteX52" fmla="*/ 6620 w 10000"/>
                <a:gd name="connsiteY52" fmla="*/ 3056 h 9954"/>
                <a:gd name="connsiteX53" fmla="*/ 6635 w 10000"/>
                <a:gd name="connsiteY53" fmla="*/ 2997 h 9954"/>
                <a:gd name="connsiteX54" fmla="*/ 6649 w 10000"/>
                <a:gd name="connsiteY54" fmla="*/ 2932 h 9954"/>
                <a:gd name="connsiteX55" fmla="*/ 6664 w 10000"/>
                <a:gd name="connsiteY55" fmla="*/ 2872 h 9954"/>
                <a:gd name="connsiteX56" fmla="*/ 6686 w 10000"/>
                <a:gd name="connsiteY56" fmla="*/ 2808 h 9954"/>
                <a:gd name="connsiteX57" fmla="*/ 6709 w 10000"/>
                <a:gd name="connsiteY57" fmla="*/ 2748 h 9954"/>
                <a:gd name="connsiteX58" fmla="*/ 6731 w 10000"/>
                <a:gd name="connsiteY58" fmla="*/ 2688 h 9954"/>
                <a:gd name="connsiteX59" fmla="*/ 6753 w 10000"/>
                <a:gd name="connsiteY59" fmla="*/ 2623 h 9954"/>
                <a:gd name="connsiteX60" fmla="*/ 6783 w 10000"/>
                <a:gd name="connsiteY60" fmla="*/ 2568 h 9954"/>
                <a:gd name="connsiteX61" fmla="*/ 6812 w 10000"/>
                <a:gd name="connsiteY61" fmla="*/ 2508 h 9954"/>
                <a:gd name="connsiteX62" fmla="*/ 6842 w 10000"/>
                <a:gd name="connsiteY62" fmla="*/ 2447 h 9954"/>
                <a:gd name="connsiteX63" fmla="*/ 6879 w 10000"/>
                <a:gd name="connsiteY63" fmla="*/ 2388 h 9954"/>
                <a:gd name="connsiteX64" fmla="*/ 6909 w 10000"/>
                <a:gd name="connsiteY64" fmla="*/ 2333 h 9954"/>
                <a:gd name="connsiteX65" fmla="*/ 6946 w 10000"/>
                <a:gd name="connsiteY65" fmla="*/ 2272 h 9954"/>
                <a:gd name="connsiteX66" fmla="*/ 6990 w 10000"/>
                <a:gd name="connsiteY66" fmla="*/ 2217 h 9954"/>
                <a:gd name="connsiteX67" fmla="*/ 7027 w 10000"/>
                <a:gd name="connsiteY67" fmla="*/ 2162 h 9954"/>
                <a:gd name="connsiteX68" fmla="*/ 7072 w 10000"/>
                <a:gd name="connsiteY68" fmla="*/ 2107 h 9954"/>
                <a:gd name="connsiteX69" fmla="*/ 7109 w 10000"/>
                <a:gd name="connsiteY69" fmla="*/ 2051 h 9954"/>
                <a:gd name="connsiteX70" fmla="*/ 7161 w 10000"/>
                <a:gd name="connsiteY70" fmla="*/ 2001 h 9954"/>
                <a:gd name="connsiteX71" fmla="*/ 7213 w 10000"/>
                <a:gd name="connsiteY71" fmla="*/ 1946 h 9954"/>
                <a:gd name="connsiteX72" fmla="*/ 7257 w 10000"/>
                <a:gd name="connsiteY72" fmla="*/ 1891 h 9954"/>
                <a:gd name="connsiteX73" fmla="*/ 7309 w 10000"/>
                <a:gd name="connsiteY73" fmla="*/ 1839 h 9954"/>
                <a:gd name="connsiteX74" fmla="*/ 7361 w 10000"/>
                <a:gd name="connsiteY74" fmla="*/ 1788 h 9954"/>
                <a:gd name="connsiteX75" fmla="*/ 7413 w 10000"/>
                <a:gd name="connsiteY75" fmla="*/ 1738 h 9954"/>
                <a:gd name="connsiteX76" fmla="*/ 7472 w 10000"/>
                <a:gd name="connsiteY76" fmla="*/ 1687 h 9954"/>
                <a:gd name="connsiteX77" fmla="*/ 7524 w 10000"/>
                <a:gd name="connsiteY77" fmla="*/ 1641 h 9954"/>
                <a:gd name="connsiteX78" fmla="*/ 7583 w 10000"/>
                <a:gd name="connsiteY78" fmla="*/ 1594 h 9954"/>
                <a:gd name="connsiteX79" fmla="*/ 7610 w 10000"/>
                <a:gd name="connsiteY79" fmla="*/ 1565 h 9954"/>
                <a:gd name="connsiteX80" fmla="*/ 5390 w 10000"/>
                <a:gd name="connsiteY80" fmla="*/ 6 h 9954"/>
                <a:gd name="connsiteX81" fmla="*/ 1401 w 10000"/>
                <a:gd name="connsiteY81" fmla="*/ 0 h 9954"/>
                <a:gd name="connsiteX82" fmla="*/ 1305 w 10000"/>
                <a:gd name="connsiteY82" fmla="*/ 115 h 9954"/>
                <a:gd name="connsiteX83" fmla="*/ 1223 w 10000"/>
                <a:gd name="connsiteY83" fmla="*/ 207 h 9954"/>
                <a:gd name="connsiteX84" fmla="*/ 1149 w 10000"/>
                <a:gd name="connsiteY84" fmla="*/ 303 h 9954"/>
                <a:gd name="connsiteX85" fmla="*/ 1067 w 10000"/>
                <a:gd name="connsiteY85" fmla="*/ 401 h 9954"/>
                <a:gd name="connsiteX86" fmla="*/ 1001 w 10000"/>
                <a:gd name="connsiteY86" fmla="*/ 498 h 9954"/>
                <a:gd name="connsiteX87" fmla="*/ 927 w 10000"/>
                <a:gd name="connsiteY87" fmla="*/ 595 h 9954"/>
                <a:gd name="connsiteX88" fmla="*/ 860 w 10000"/>
                <a:gd name="connsiteY88" fmla="*/ 696 h 9954"/>
                <a:gd name="connsiteX89" fmla="*/ 793 w 10000"/>
                <a:gd name="connsiteY89" fmla="*/ 798 h 9954"/>
                <a:gd name="connsiteX90" fmla="*/ 734 w 10000"/>
                <a:gd name="connsiteY90" fmla="*/ 894 h 9954"/>
                <a:gd name="connsiteX91" fmla="*/ 675 w 10000"/>
                <a:gd name="connsiteY91" fmla="*/ 996 h 9954"/>
                <a:gd name="connsiteX92" fmla="*/ 615 w 10000"/>
                <a:gd name="connsiteY92" fmla="*/ 1097 h 9954"/>
                <a:gd name="connsiteX93" fmla="*/ 556 w 10000"/>
                <a:gd name="connsiteY93" fmla="*/ 1204 h 9954"/>
                <a:gd name="connsiteX94" fmla="*/ 504 w 10000"/>
                <a:gd name="connsiteY94" fmla="*/ 1300 h 9954"/>
                <a:gd name="connsiteX95" fmla="*/ 452 w 10000"/>
                <a:gd name="connsiteY95" fmla="*/ 1406 h 9954"/>
                <a:gd name="connsiteX96" fmla="*/ 408 w 10000"/>
                <a:gd name="connsiteY96" fmla="*/ 1507 h 9954"/>
                <a:gd name="connsiteX97" fmla="*/ 363 w 10000"/>
                <a:gd name="connsiteY97" fmla="*/ 1613 h 9954"/>
                <a:gd name="connsiteX98" fmla="*/ 319 w 10000"/>
                <a:gd name="connsiteY98" fmla="*/ 1719 h 9954"/>
                <a:gd name="connsiteX99" fmla="*/ 282 w 10000"/>
                <a:gd name="connsiteY99" fmla="*/ 1826 h 9954"/>
                <a:gd name="connsiteX100" fmla="*/ 237 w 10000"/>
                <a:gd name="connsiteY100" fmla="*/ 1937 h 9954"/>
                <a:gd name="connsiteX101" fmla="*/ 208 w 10000"/>
                <a:gd name="connsiteY101" fmla="*/ 2042 h 9954"/>
                <a:gd name="connsiteX102" fmla="*/ 170 w 10000"/>
                <a:gd name="connsiteY102" fmla="*/ 2153 h 9954"/>
                <a:gd name="connsiteX103" fmla="*/ 148 w 10000"/>
                <a:gd name="connsiteY103" fmla="*/ 2263 h 9954"/>
                <a:gd name="connsiteX104" fmla="*/ 119 w 10000"/>
                <a:gd name="connsiteY104" fmla="*/ 2369 h 9954"/>
                <a:gd name="connsiteX105" fmla="*/ 96 w 10000"/>
                <a:gd name="connsiteY105" fmla="*/ 2479 h 9954"/>
                <a:gd name="connsiteX106" fmla="*/ 74 w 10000"/>
                <a:gd name="connsiteY106" fmla="*/ 2591 h 9954"/>
                <a:gd name="connsiteX107" fmla="*/ 52 w 10000"/>
                <a:gd name="connsiteY107" fmla="*/ 2706 h 9954"/>
                <a:gd name="connsiteX108" fmla="*/ 37 w 10000"/>
                <a:gd name="connsiteY108" fmla="*/ 2817 h 9954"/>
                <a:gd name="connsiteX109" fmla="*/ 22 w 10000"/>
                <a:gd name="connsiteY109" fmla="*/ 2927 h 9954"/>
                <a:gd name="connsiteX110" fmla="*/ 15 w 10000"/>
                <a:gd name="connsiteY110" fmla="*/ 3038 h 9954"/>
                <a:gd name="connsiteX111" fmla="*/ 7 w 10000"/>
                <a:gd name="connsiteY111" fmla="*/ 3153 h 9954"/>
                <a:gd name="connsiteX112" fmla="*/ 0 w 10000"/>
                <a:gd name="connsiteY112" fmla="*/ 3264 h 9954"/>
                <a:gd name="connsiteX113" fmla="*/ 0 w 10000"/>
                <a:gd name="connsiteY113" fmla="*/ 3380 h 9954"/>
                <a:gd name="connsiteX114" fmla="*/ 7 w 10000"/>
                <a:gd name="connsiteY114" fmla="*/ 3527 h 9954"/>
                <a:gd name="connsiteX115" fmla="*/ 7 w 10000"/>
                <a:gd name="connsiteY115" fmla="*/ 3674 h 9954"/>
                <a:gd name="connsiteX116" fmla="*/ 22 w 10000"/>
                <a:gd name="connsiteY116" fmla="*/ 3813 h 9954"/>
                <a:gd name="connsiteX117" fmla="*/ 37 w 10000"/>
                <a:gd name="connsiteY117" fmla="*/ 3956 h 9954"/>
                <a:gd name="connsiteX118" fmla="*/ 59 w 10000"/>
                <a:gd name="connsiteY118" fmla="*/ 4099 h 9954"/>
                <a:gd name="connsiteX119" fmla="*/ 89 w 10000"/>
                <a:gd name="connsiteY119" fmla="*/ 4242 h 9954"/>
                <a:gd name="connsiteX120" fmla="*/ 119 w 10000"/>
                <a:gd name="connsiteY120" fmla="*/ 4384 h 9954"/>
                <a:gd name="connsiteX121" fmla="*/ 148 w 10000"/>
                <a:gd name="connsiteY121" fmla="*/ 4527 h 9954"/>
                <a:gd name="connsiteX122" fmla="*/ 193 w 10000"/>
                <a:gd name="connsiteY122" fmla="*/ 4666 h 9954"/>
                <a:gd name="connsiteX123" fmla="*/ 237 w 10000"/>
                <a:gd name="connsiteY123" fmla="*/ 4804 h 9954"/>
                <a:gd name="connsiteX124" fmla="*/ 282 w 10000"/>
                <a:gd name="connsiteY124" fmla="*/ 4943 h 9954"/>
                <a:gd name="connsiteX125" fmla="*/ 334 w 10000"/>
                <a:gd name="connsiteY125" fmla="*/ 5080 h 9954"/>
                <a:gd name="connsiteX126" fmla="*/ 393 w 10000"/>
                <a:gd name="connsiteY126" fmla="*/ 5214 h 9954"/>
                <a:gd name="connsiteX127" fmla="*/ 452 w 10000"/>
                <a:gd name="connsiteY127" fmla="*/ 5348 h 9954"/>
                <a:gd name="connsiteX128" fmla="*/ 519 w 10000"/>
                <a:gd name="connsiteY128" fmla="*/ 5482 h 9954"/>
                <a:gd name="connsiteX129" fmla="*/ 586 w 10000"/>
                <a:gd name="connsiteY129" fmla="*/ 5616 h 9954"/>
                <a:gd name="connsiteX130" fmla="*/ 660 w 10000"/>
                <a:gd name="connsiteY130" fmla="*/ 5744 h 9954"/>
                <a:gd name="connsiteX131" fmla="*/ 741 w 10000"/>
                <a:gd name="connsiteY131" fmla="*/ 5873 h 9954"/>
                <a:gd name="connsiteX132" fmla="*/ 823 w 10000"/>
                <a:gd name="connsiteY132" fmla="*/ 6007 h 9954"/>
                <a:gd name="connsiteX133" fmla="*/ 904 w 10000"/>
                <a:gd name="connsiteY133" fmla="*/ 6132 h 9954"/>
                <a:gd name="connsiteX134" fmla="*/ 993 w 10000"/>
                <a:gd name="connsiteY134" fmla="*/ 6257 h 9954"/>
                <a:gd name="connsiteX135" fmla="*/ 1090 w 10000"/>
                <a:gd name="connsiteY135" fmla="*/ 6376 h 9954"/>
                <a:gd name="connsiteX136" fmla="*/ 1186 w 10000"/>
                <a:gd name="connsiteY136" fmla="*/ 6501 h 9954"/>
                <a:gd name="connsiteX137" fmla="*/ 1290 w 10000"/>
                <a:gd name="connsiteY137" fmla="*/ 6624 h 9954"/>
                <a:gd name="connsiteX138" fmla="*/ 1386 w 10000"/>
                <a:gd name="connsiteY138" fmla="*/ 6745 h 9954"/>
                <a:gd name="connsiteX139" fmla="*/ 1497 w 10000"/>
                <a:gd name="connsiteY139" fmla="*/ 6866 h 9954"/>
                <a:gd name="connsiteX140" fmla="*/ 1609 w 10000"/>
                <a:gd name="connsiteY140" fmla="*/ 6980 h 9954"/>
                <a:gd name="connsiteX141" fmla="*/ 1727 w 10000"/>
                <a:gd name="connsiteY141" fmla="*/ 7100 h 9954"/>
                <a:gd name="connsiteX142" fmla="*/ 1846 w 10000"/>
                <a:gd name="connsiteY142" fmla="*/ 7215 h 9954"/>
                <a:gd name="connsiteX143" fmla="*/ 1964 w 10000"/>
                <a:gd name="connsiteY143" fmla="*/ 7326 h 9954"/>
                <a:gd name="connsiteX144" fmla="*/ 2090 w 10000"/>
                <a:gd name="connsiteY144" fmla="*/ 7436 h 9954"/>
                <a:gd name="connsiteX145" fmla="*/ 2224 w 10000"/>
                <a:gd name="connsiteY145" fmla="*/ 7548 h 9954"/>
                <a:gd name="connsiteX146" fmla="*/ 2350 w 10000"/>
                <a:gd name="connsiteY146" fmla="*/ 7658 h 9954"/>
                <a:gd name="connsiteX147" fmla="*/ 2491 w 10000"/>
                <a:gd name="connsiteY147" fmla="*/ 7764 h 9954"/>
                <a:gd name="connsiteX148" fmla="*/ 2617 w 10000"/>
                <a:gd name="connsiteY148" fmla="*/ 7870 h 9954"/>
                <a:gd name="connsiteX149" fmla="*/ 2765 w 10000"/>
                <a:gd name="connsiteY149" fmla="*/ 7972 h 9954"/>
                <a:gd name="connsiteX150" fmla="*/ 2906 w 10000"/>
                <a:gd name="connsiteY150" fmla="*/ 8072 h 9954"/>
                <a:gd name="connsiteX151" fmla="*/ 3054 w 10000"/>
                <a:gd name="connsiteY151" fmla="*/ 8174 h 9954"/>
                <a:gd name="connsiteX152" fmla="*/ 3210 w 10000"/>
                <a:gd name="connsiteY152" fmla="*/ 8272 h 9954"/>
                <a:gd name="connsiteX153" fmla="*/ 3358 w 10000"/>
                <a:gd name="connsiteY153" fmla="*/ 8368 h 9954"/>
                <a:gd name="connsiteX154" fmla="*/ 3514 w 10000"/>
                <a:gd name="connsiteY154" fmla="*/ 8465 h 9954"/>
                <a:gd name="connsiteX155" fmla="*/ 3677 w 10000"/>
                <a:gd name="connsiteY155" fmla="*/ 8557 h 9954"/>
                <a:gd name="connsiteX156" fmla="*/ 3840 w 10000"/>
                <a:gd name="connsiteY156" fmla="*/ 8645 h 9954"/>
                <a:gd name="connsiteX157" fmla="*/ 4010 w 10000"/>
                <a:gd name="connsiteY157" fmla="*/ 8736 h 9954"/>
                <a:gd name="connsiteX158" fmla="*/ 4181 w 10000"/>
                <a:gd name="connsiteY158" fmla="*/ 8815 h 9954"/>
                <a:gd name="connsiteX159" fmla="*/ 4351 w 10000"/>
                <a:gd name="connsiteY159" fmla="*/ 8902 h 9954"/>
                <a:gd name="connsiteX160" fmla="*/ 4522 w 10000"/>
                <a:gd name="connsiteY160" fmla="*/ 8981 h 9954"/>
                <a:gd name="connsiteX161" fmla="*/ 4700 w 10000"/>
                <a:gd name="connsiteY161" fmla="*/ 9065 h 9954"/>
                <a:gd name="connsiteX162" fmla="*/ 4878 w 10000"/>
                <a:gd name="connsiteY162" fmla="*/ 9143 h 9954"/>
                <a:gd name="connsiteX163" fmla="*/ 5063 w 10000"/>
                <a:gd name="connsiteY163" fmla="*/ 9216 h 9954"/>
                <a:gd name="connsiteX164" fmla="*/ 5248 w 10000"/>
                <a:gd name="connsiteY164" fmla="*/ 9295 h 9954"/>
                <a:gd name="connsiteX165" fmla="*/ 5426 w 10000"/>
                <a:gd name="connsiteY165" fmla="*/ 9364 h 9954"/>
                <a:gd name="connsiteX166" fmla="*/ 5619 w 10000"/>
                <a:gd name="connsiteY166" fmla="*/ 9432 h 9954"/>
                <a:gd name="connsiteX167" fmla="*/ 5812 w 10000"/>
                <a:gd name="connsiteY167" fmla="*/ 9502 h 9954"/>
                <a:gd name="connsiteX168" fmla="*/ 6004 w 10000"/>
                <a:gd name="connsiteY168" fmla="*/ 9566 h 9954"/>
                <a:gd name="connsiteX169" fmla="*/ 6205 w 10000"/>
                <a:gd name="connsiteY169" fmla="*/ 9631 h 9954"/>
                <a:gd name="connsiteX170" fmla="*/ 6397 w 10000"/>
                <a:gd name="connsiteY170" fmla="*/ 9692 h 9954"/>
                <a:gd name="connsiteX171" fmla="*/ 6605 w 10000"/>
                <a:gd name="connsiteY171" fmla="*/ 9747 h 9954"/>
                <a:gd name="connsiteX172" fmla="*/ 6805 w 10000"/>
                <a:gd name="connsiteY172" fmla="*/ 9802 h 9954"/>
                <a:gd name="connsiteX173" fmla="*/ 7005 w 10000"/>
                <a:gd name="connsiteY173" fmla="*/ 9857 h 9954"/>
                <a:gd name="connsiteX174" fmla="*/ 7213 w 10000"/>
                <a:gd name="connsiteY174" fmla="*/ 9909 h 9954"/>
                <a:gd name="connsiteX175" fmla="*/ 7420 w 10000"/>
                <a:gd name="connsiteY175" fmla="*/ 9954 h 9954"/>
                <a:gd name="connsiteX176" fmla="*/ 7539 w 10000"/>
                <a:gd name="connsiteY176" fmla="*/ 7787 h 9954"/>
                <a:gd name="connsiteX177" fmla="*/ 10000 w 10000"/>
                <a:gd name="connsiteY177" fmla="*/ 6164 h 9954"/>
                <a:gd name="connsiteX0" fmla="*/ 10000 w 10000"/>
                <a:gd name="connsiteY0" fmla="*/ 6192 h 9955"/>
                <a:gd name="connsiteX1" fmla="*/ 10000 w 10000"/>
                <a:gd name="connsiteY1" fmla="*/ 6192 h 9955"/>
                <a:gd name="connsiteX2" fmla="*/ 9911 w 10000"/>
                <a:gd name="connsiteY2" fmla="*/ 6178 h 9955"/>
                <a:gd name="connsiteX3" fmla="*/ 9815 w 10000"/>
                <a:gd name="connsiteY3" fmla="*/ 6160 h 9955"/>
                <a:gd name="connsiteX4" fmla="*/ 9726 w 10000"/>
                <a:gd name="connsiteY4" fmla="*/ 6142 h 9955"/>
                <a:gd name="connsiteX5" fmla="*/ 9637 w 10000"/>
                <a:gd name="connsiteY5" fmla="*/ 6118 h 9955"/>
                <a:gd name="connsiteX6" fmla="*/ 9548 w 10000"/>
                <a:gd name="connsiteY6" fmla="*/ 6099 h 9955"/>
                <a:gd name="connsiteX7" fmla="*/ 9466 w 10000"/>
                <a:gd name="connsiteY7" fmla="*/ 6077 h 9955"/>
                <a:gd name="connsiteX8" fmla="*/ 9377 w 10000"/>
                <a:gd name="connsiteY8" fmla="*/ 6054 h 9955"/>
                <a:gd name="connsiteX9" fmla="*/ 9288 w 10000"/>
                <a:gd name="connsiteY9" fmla="*/ 6031 h 9955"/>
                <a:gd name="connsiteX10" fmla="*/ 9118 w 10000"/>
                <a:gd name="connsiteY10" fmla="*/ 5979 h 9955"/>
                <a:gd name="connsiteX11" fmla="*/ 8955 w 10000"/>
                <a:gd name="connsiteY11" fmla="*/ 5923 h 9955"/>
                <a:gd name="connsiteX12" fmla="*/ 8792 w 10000"/>
                <a:gd name="connsiteY12" fmla="*/ 5864 h 9955"/>
                <a:gd name="connsiteX13" fmla="*/ 8636 w 10000"/>
                <a:gd name="connsiteY13" fmla="*/ 5800 h 9955"/>
                <a:gd name="connsiteX14" fmla="*/ 8480 w 10000"/>
                <a:gd name="connsiteY14" fmla="*/ 5733 h 9955"/>
                <a:gd name="connsiteX15" fmla="*/ 8340 w 10000"/>
                <a:gd name="connsiteY15" fmla="*/ 5665 h 9955"/>
                <a:gd name="connsiteX16" fmla="*/ 8199 w 10000"/>
                <a:gd name="connsiteY16" fmla="*/ 5591 h 9955"/>
                <a:gd name="connsiteX17" fmla="*/ 8058 w 10000"/>
                <a:gd name="connsiteY17" fmla="*/ 5511 h 9955"/>
                <a:gd name="connsiteX18" fmla="*/ 7924 w 10000"/>
                <a:gd name="connsiteY18" fmla="*/ 5429 h 9955"/>
                <a:gd name="connsiteX19" fmla="*/ 7798 w 10000"/>
                <a:gd name="connsiteY19" fmla="*/ 5344 h 9955"/>
                <a:gd name="connsiteX20" fmla="*/ 7672 w 10000"/>
                <a:gd name="connsiteY20" fmla="*/ 5256 h 9955"/>
                <a:gd name="connsiteX21" fmla="*/ 7554 w 10000"/>
                <a:gd name="connsiteY21" fmla="*/ 5169 h 9955"/>
                <a:gd name="connsiteX22" fmla="*/ 7450 w 10000"/>
                <a:gd name="connsiteY22" fmla="*/ 5071 h 9955"/>
                <a:gd name="connsiteX23" fmla="*/ 7346 w 10000"/>
                <a:gd name="connsiteY23" fmla="*/ 4975 h 9955"/>
                <a:gd name="connsiteX24" fmla="*/ 7250 w 10000"/>
                <a:gd name="connsiteY24" fmla="*/ 4877 h 9955"/>
                <a:gd name="connsiteX25" fmla="*/ 7161 w 10000"/>
                <a:gd name="connsiteY25" fmla="*/ 4776 h 9955"/>
                <a:gd name="connsiteX26" fmla="*/ 7072 w 10000"/>
                <a:gd name="connsiteY26" fmla="*/ 4672 h 9955"/>
                <a:gd name="connsiteX27" fmla="*/ 6990 w 10000"/>
                <a:gd name="connsiteY27" fmla="*/ 4562 h 9955"/>
                <a:gd name="connsiteX28" fmla="*/ 6953 w 10000"/>
                <a:gd name="connsiteY28" fmla="*/ 4512 h 9955"/>
                <a:gd name="connsiteX29" fmla="*/ 6916 w 10000"/>
                <a:gd name="connsiteY29" fmla="*/ 4455 h 9955"/>
                <a:gd name="connsiteX30" fmla="*/ 6887 w 10000"/>
                <a:gd name="connsiteY30" fmla="*/ 4400 h 9955"/>
                <a:gd name="connsiteX31" fmla="*/ 6850 w 10000"/>
                <a:gd name="connsiteY31" fmla="*/ 4345 h 9955"/>
                <a:gd name="connsiteX32" fmla="*/ 6820 w 10000"/>
                <a:gd name="connsiteY32" fmla="*/ 4290 h 9955"/>
                <a:gd name="connsiteX33" fmla="*/ 6790 w 10000"/>
                <a:gd name="connsiteY33" fmla="*/ 4233 h 9955"/>
                <a:gd name="connsiteX34" fmla="*/ 6768 w 10000"/>
                <a:gd name="connsiteY34" fmla="*/ 4173 h 9955"/>
                <a:gd name="connsiteX35" fmla="*/ 6738 w 10000"/>
                <a:gd name="connsiteY35" fmla="*/ 4118 h 9955"/>
                <a:gd name="connsiteX36" fmla="*/ 6723 w 10000"/>
                <a:gd name="connsiteY36" fmla="*/ 4058 h 9955"/>
                <a:gd name="connsiteX37" fmla="*/ 6694 w 10000"/>
                <a:gd name="connsiteY37" fmla="*/ 4001 h 9955"/>
                <a:gd name="connsiteX38" fmla="*/ 6679 w 10000"/>
                <a:gd name="connsiteY38" fmla="*/ 3941 h 9955"/>
                <a:gd name="connsiteX39" fmla="*/ 6664 w 10000"/>
                <a:gd name="connsiteY39" fmla="*/ 3881 h 9955"/>
                <a:gd name="connsiteX40" fmla="*/ 6649 w 10000"/>
                <a:gd name="connsiteY40" fmla="*/ 3821 h 9955"/>
                <a:gd name="connsiteX41" fmla="*/ 6635 w 10000"/>
                <a:gd name="connsiteY41" fmla="*/ 3765 h 9955"/>
                <a:gd name="connsiteX42" fmla="*/ 6620 w 10000"/>
                <a:gd name="connsiteY42" fmla="*/ 3705 h 9955"/>
                <a:gd name="connsiteX43" fmla="*/ 6612 w 10000"/>
                <a:gd name="connsiteY43" fmla="*/ 3646 h 9955"/>
                <a:gd name="connsiteX44" fmla="*/ 6605 w 10000"/>
                <a:gd name="connsiteY44" fmla="*/ 3584 h 9955"/>
                <a:gd name="connsiteX45" fmla="*/ 6597 w 10000"/>
                <a:gd name="connsiteY45" fmla="*/ 3520 h 9955"/>
                <a:gd name="connsiteX46" fmla="*/ 6597 w 10000"/>
                <a:gd name="connsiteY46" fmla="*/ 3460 h 9955"/>
                <a:gd name="connsiteX47" fmla="*/ 6590 w 10000"/>
                <a:gd name="connsiteY47" fmla="*/ 3396 h 9955"/>
                <a:gd name="connsiteX48" fmla="*/ 6597 w 10000"/>
                <a:gd name="connsiteY48" fmla="*/ 3334 h 9955"/>
                <a:gd name="connsiteX49" fmla="*/ 6605 w 10000"/>
                <a:gd name="connsiteY49" fmla="*/ 3266 h 9955"/>
                <a:gd name="connsiteX50" fmla="*/ 6605 w 10000"/>
                <a:gd name="connsiteY50" fmla="*/ 3201 h 9955"/>
                <a:gd name="connsiteX51" fmla="*/ 6612 w 10000"/>
                <a:gd name="connsiteY51" fmla="*/ 3134 h 9955"/>
                <a:gd name="connsiteX52" fmla="*/ 6620 w 10000"/>
                <a:gd name="connsiteY52" fmla="*/ 3070 h 9955"/>
                <a:gd name="connsiteX53" fmla="*/ 6635 w 10000"/>
                <a:gd name="connsiteY53" fmla="*/ 3011 h 9955"/>
                <a:gd name="connsiteX54" fmla="*/ 6649 w 10000"/>
                <a:gd name="connsiteY54" fmla="*/ 2946 h 9955"/>
                <a:gd name="connsiteX55" fmla="*/ 6664 w 10000"/>
                <a:gd name="connsiteY55" fmla="*/ 2885 h 9955"/>
                <a:gd name="connsiteX56" fmla="*/ 6686 w 10000"/>
                <a:gd name="connsiteY56" fmla="*/ 2821 h 9955"/>
                <a:gd name="connsiteX57" fmla="*/ 6709 w 10000"/>
                <a:gd name="connsiteY57" fmla="*/ 2761 h 9955"/>
                <a:gd name="connsiteX58" fmla="*/ 6731 w 10000"/>
                <a:gd name="connsiteY58" fmla="*/ 2700 h 9955"/>
                <a:gd name="connsiteX59" fmla="*/ 6753 w 10000"/>
                <a:gd name="connsiteY59" fmla="*/ 2635 h 9955"/>
                <a:gd name="connsiteX60" fmla="*/ 6783 w 10000"/>
                <a:gd name="connsiteY60" fmla="*/ 2580 h 9955"/>
                <a:gd name="connsiteX61" fmla="*/ 6812 w 10000"/>
                <a:gd name="connsiteY61" fmla="*/ 2520 h 9955"/>
                <a:gd name="connsiteX62" fmla="*/ 6842 w 10000"/>
                <a:gd name="connsiteY62" fmla="*/ 2458 h 9955"/>
                <a:gd name="connsiteX63" fmla="*/ 6879 w 10000"/>
                <a:gd name="connsiteY63" fmla="*/ 2399 h 9955"/>
                <a:gd name="connsiteX64" fmla="*/ 6909 w 10000"/>
                <a:gd name="connsiteY64" fmla="*/ 2344 h 9955"/>
                <a:gd name="connsiteX65" fmla="*/ 6946 w 10000"/>
                <a:gd name="connsiteY65" fmla="*/ 2282 h 9955"/>
                <a:gd name="connsiteX66" fmla="*/ 6990 w 10000"/>
                <a:gd name="connsiteY66" fmla="*/ 2227 h 9955"/>
                <a:gd name="connsiteX67" fmla="*/ 7027 w 10000"/>
                <a:gd name="connsiteY67" fmla="*/ 2172 h 9955"/>
                <a:gd name="connsiteX68" fmla="*/ 7072 w 10000"/>
                <a:gd name="connsiteY68" fmla="*/ 2117 h 9955"/>
                <a:gd name="connsiteX69" fmla="*/ 7109 w 10000"/>
                <a:gd name="connsiteY69" fmla="*/ 2060 h 9955"/>
                <a:gd name="connsiteX70" fmla="*/ 7161 w 10000"/>
                <a:gd name="connsiteY70" fmla="*/ 2010 h 9955"/>
                <a:gd name="connsiteX71" fmla="*/ 7213 w 10000"/>
                <a:gd name="connsiteY71" fmla="*/ 1955 h 9955"/>
                <a:gd name="connsiteX72" fmla="*/ 7257 w 10000"/>
                <a:gd name="connsiteY72" fmla="*/ 1900 h 9955"/>
                <a:gd name="connsiteX73" fmla="*/ 7309 w 10000"/>
                <a:gd name="connsiteY73" fmla="*/ 1847 h 9955"/>
                <a:gd name="connsiteX74" fmla="*/ 7361 w 10000"/>
                <a:gd name="connsiteY74" fmla="*/ 1796 h 9955"/>
                <a:gd name="connsiteX75" fmla="*/ 7413 w 10000"/>
                <a:gd name="connsiteY75" fmla="*/ 1746 h 9955"/>
                <a:gd name="connsiteX76" fmla="*/ 7472 w 10000"/>
                <a:gd name="connsiteY76" fmla="*/ 1695 h 9955"/>
                <a:gd name="connsiteX77" fmla="*/ 7524 w 10000"/>
                <a:gd name="connsiteY77" fmla="*/ 1649 h 9955"/>
                <a:gd name="connsiteX78" fmla="*/ 7583 w 10000"/>
                <a:gd name="connsiteY78" fmla="*/ 1601 h 9955"/>
                <a:gd name="connsiteX79" fmla="*/ 7610 w 10000"/>
                <a:gd name="connsiteY79" fmla="*/ 1572 h 9955"/>
                <a:gd name="connsiteX80" fmla="*/ 5390 w 10000"/>
                <a:gd name="connsiteY80" fmla="*/ 6 h 9955"/>
                <a:gd name="connsiteX81" fmla="*/ 1401 w 10000"/>
                <a:gd name="connsiteY81" fmla="*/ 0 h 9955"/>
                <a:gd name="connsiteX82" fmla="*/ 1305 w 10000"/>
                <a:gd name="connsiteY82" fmla="*/ 116 h 9955"/>
                <a:gd name="connsiteX83" fmla="*/ 1223 w 10000"/>
                <a:gd name="connsiteY83" fmla="*/ 208 h 9955"/>
                <a:gd name="connsiteX84" fmla="*/ 1149 w 10000"/>
                <a:gd name="connsiteY84" fmla="*/ 304 h 9955"/>
                <a:gd name="connsiteX85" fmla="*/ 1067 w 10000"/>
                <a:gd name="connsiteY85" fmla="*/ 403 h 9955"/>
                <a:gd name="connsiteX86" fmla="*/ 1001 w 10000"/>
                <a:gd name="connsiteY86" fmla="*/ 500 h 9955"/>
                <a:gd name="connsiteX87" fmla="*/ 927 w 10000"/>
                <a:gd name="connsiteY87" fmla="*/ 598 h 9955"/>
                <a:gd name="connsiteX88" fmla="*/ 860 w 10000"/>
                <a:gd name="connsiteY88" fmla="*/ 699 h 9955"/>
                <a:gd name="connsiteX89" fmla="*/ 793 w 10000"/>
                <a:gd name="connsiteY89" fmla="*/ 802 h 9955"/>
                <a:gd name="connsiteX90" fmla="*/ 734 w 10000"/>
                <a:gd name="connsiteY90" fmla="*/ 898 h 9955"/>
                <a:gd name="connsiteX91" fmla="*/ 675 w 10000"/>
                <a:gd name="connsiteY91" fmla="*/ 1001 h 9955"/>
                <a:gd name="connsiteX92" fmla="*/ 615 w 10000"/>
                <a:gd name="connsiteY92" fmla="*/ 1102 h 9955"/>
                <a:gd name="connsiteX93" fmla="*/ 556 w 10000"/>
                <a:gd name="connsiteY93" fmla="*/ 1210 h 9955"/>
                <a:gd name="connsiteX94" fmla="*/ 504 w 10000"/>
                <a:gd name="connsiteY94" fmla="*/ 1306 h 9955"/>
                <a:gd name="connsiteX95" fmla="*/ 452 w 10000"/>
                <a:gd name="connsiteY95" fmla="*/ 1412 h 9955"/>
                <a:gd name="connsiteX96" fmla="*/ 408 w 10000"/>
                <a:gd name="connsiteY96" fmla="*/ 1514 h 9955"/>
                <a:gd name="connsiteX97" fmla="*/ 363 w 10000"/>
                <a:gd name="connsiteY97" fmla="*/ 1620 h 9955"/>
                <a:gd name="connsiteX98" fmla="*/ 319 w 10000"/>
                <a:gd name="connsiteY98" fmla="*/ 1727 h 9955"/>
                <a:gd name="connsiteX99" fmla="*/ 282 w 10000"/>
                <a:gd name="connsiteY99" fmla="*/ 1834 h 9955"/>
                <a:gd name="connsiteX100" fmla="*/ 237 w 10000"/>
                <a:gd name="connsiteY100" fmla="*/ 1946 h 9955"/>
                <a:gd name="connsiteX101" fmla="*/ 208 w 10000"/>
                <a:gd name="connsiteY101" fmla="*/ 2051 h 9955"/>
                <a:gd name="connsiteX102" fmla="*/ 170 w 10000"/>
                <a:gd name="connsiteY102" fmla="*/ 2163 h 9955"/>
                <a:gd name="connsiteX103" fmla="*/ 148 w 10000"/>
                <a:gd name="connsiteY103" fmla="*/ 2273 h 9955"/>
                <a:gd name="connsiteX104" fmla="*/ 119 w 10000"/>
                <a:gd name="connsiteY104" fmla="*/ 2380 h 9955"/>
                <a:gd name="connsiteX105" fmla="*/ 96 w 10000"/>
                <a:gd name="connsiteY105" fmla="*/ 2490 h 9955"/>
                <a:gd name="connsiteX106" fmla="*/ 74 w 10000"/>
                <a:gd name="connsiteY106" fmla="*/ 2603 h 9955"/>
                <a:gd name="connsiteX107" fmla="*/ 52 w 10000"/>
                <a:gd name="connsiteY107" fmla="*/ 2719 h 9955"/>
                <a:gd name="connsiteX108" fmla="*/ 37 w 10000"/>
                <a:gd name="connsiteY108" fmla="*/ 2830 h 9955"/>
                <a:gd name="connsiteX109" fmla="*/ 22 w 10000"/>
                <a:gd name="connsiteY109" fmla="*/ 2941 h 9955"/>
                <a:gd name="connsiteX110" fmla="*/ 15 w 10000"/>
                <a:gd name="connsiteY110" fmla="*/ 3052 h 9955"/>
                <a:gd name="connsiteX111" fmla="*/ 7 w 10000"/>
                <a:gd name="connsiteY111" fmla="*/ 3168 h 9955"/>
                <a:gd name="connsiteX112" fmla="*/ 0 w 10000"/>
                <a:gd name="connsiteY112" fmla="*/ 3279 h 9955"/>
                <a:gd name="connsiteX113" fmla="*/ 0 w 10000"/>
                <a:gd name="connsiteY113" fmla="*/ 3396 h 9955"/>
                <a:gd name="connsiteX114" fmla="*/ 7 w 10000"/>
                <a:gd name="connsiteY114" fmla="*/ 3543 h 9955"/>
                <a:gd name="connsiteX115" fmla="*/ 7 w 10000"/>
                <a:gd name="connsiteY115" fmla="*/ 3691 h 9955"/>
                <a:gd name="connsiteX116" fmla="*/ 22 w 10000"/>
                <a:gd name="connsiteY116" fmla="*/ 3831 h 9955"/>
                <a:gd name="connsiteX117" fmla="*/ 37 w 10000"/>
                <a:gd name="connsiteY117" fmla="*/ 3974 h 9955"/>
                <a:gd name="connsiteX118" fmla="*/ 59 w 10000"/>
                <a:gd name="connsiteY118" fmla="*/ 4118 h 9955"/>
                <a:gd name="connsiteX119" fmla="*/ 89 w 10000"/>
                <a:gd name="connsiteY119" fmla="*/ 4262 h 9955"/>
                <a:gd name="connsiteX120" fmla="*/ 119 w 10000"/>
                <a:gd name="connsiteY120" fmla="*/ 4404 h 9955"/>
                <a:gd name="connsiteX121" fmla="*/ 148 w 10000"/>
                <a:gd name="connsiteY121" fmla="*/ 4548 h 9955"/>
                <a:gd name="connsiteX122" fmla="*/ 193 w 10000"/>
                <a:gd name="connsiteY122" fmla="*/ 4688 h 9955"/>
                <a:gd name="connsiteX123" fmla="*/ 237 w 10000"/>
                <a:gd name="connsiteY123" fmla="*/ 4826 h 9955"/>
                <a:gd name="connsiteX124" fmla="*/ 282 w 10000"/>
                <a:gd name="connsiteY124" fmla="*/ 4966 h 9955"/>
                <a:gd name="connsiteX125" fmla="*/ 334 w 10000"/>
                <a:gd name="connsiteY125" fmla="*/ 5103 h 9955"/>
                <a:gd name="connsiteX126" fmla="*/ 393 w 10000"/>
                <a:gd name="connsiteY126" fmla="*/ 5238 h 9955"/>
                <a:gd name="connsiteX127" fmla="*/ 452 w 10000"/>
                <a:gd name="connsiteY127" fmla="*/ 5373 h 9955"/>
                <a:gd name="connsiteX128" fmla="*/ 519 w 10000"/>
                <a:gd name="connsiteY128" fmla="*/ 5507 h 9955"/>
                <a:gd name="connsiteX129" fmla="*/ 586 w 10000"/>
                <a:gd name="connsiteY129" fmla="*/ 5642 h 9955"/>
                <a:gd name="connsiteX130" fmla="*/ 660 w 10000"/>
                <a:gd name="connsiteY130" fmla="*/ 5771 h 9955"/>
                <a:gd name="connsiteX131" fmla="*/ 741 w 10000"/>
                <a:gd name="connsiteY131" fmla="*/ 5900 h 9955"/>
                <a:gd name="connsiteX132" fmla="*/ 823 w 10000"/>
                <a:gd name="connsiteY132" fmla="*/ 6035 h 9955"/>
                <a:gd name="connsiteX133" fmla="*/ 904 w 10000"/>
                <a:gd name="connsiteY133" fmla="*/ 6160 h 9955"/>
                <a:gd name="connsiteX134" fmla="*/ 993 w 10000"/>
                <a:gd name="connsiteY134" fmla="*/ 6286 h 9955"/>
                <a:gd name="connsiteX135" fmla="*/ 1090 w 10000"/>
                <a:gd name="connsiteY135" fmla="*/ 6405 h 9955"/>
                <a:gd name="connsiteX136" fmla="*/ 1186 w 10000"/>
                <a:gd name="connsiteY136" fmla="*/ 6531 h 9955"/>
                <a:gd name="connsiteX137" fmla="*/ 1290 w 10000"/>
                <a:gd name="connsiteY137" fmla="*/ 6655 h 9955"/>
                <a:gd name="connsiteX138" fmla="*/ 1386 w 10000"/>
                <a:gd name="connsiteY138" fmla="*/ 6776 h 9955"/>
                <a:gd name="connsiteX139" fmla="*/ 1497 w 10000"/>
                <a:gd name="connsiteY139" fmla="*/ 6898 h 9955"/>
                <a:gd name="connsiteX140" fmla="*/ 1609 w 10000"/>
                <a:gd name="connsiteY140" fmla="*/ 7012 h 9955"/>
                <a:gd name="connsiteX141" fmla="*/ 1727 w 10000"/>
                <a:gd name="connsiteY141" fmla="*/ 7133 h 9955"/>
                <a:gd name="connsiteX142" fmla="*/ 1846 w 10000"/>
                <a:gd name="connsiteY142" fmla="*/ 7248 h 9955"/>
                <a:gd name="connsiteX143" fmla="*/ 1964 w 10000"/>
                <a:gd name="connsiteY143" fmla="*/ 7360 h 9955"/>
                <a:gd name="connsiteX144" fmla="*/ 2090 w 10000"/>
                <a:gd name="connsiteY144" fmla="*/ 7470 h 9955"/>
                <a:gd name="connsiteX145" fmla="*/ 2224 w 10000"/>
                <a:gd name="connsiteY145" fmla="*/ 7583 h 9955"/>
                <a:gd name="connsiteX146" fmla="*/ 2350 w 10000"/>
                <a:gd name="connsiteY146" fmla="*/ 7693 h 9955"/>
                <a:gd name="connsiteX147" fmla="*/ 2491 w 10000"/>
                <a:gd name="connsiteY147" fmla="*/ 7800 h 9955"/>
                <a:gd name="connsiteX148" fmla="*/ 2617 w 10000"/>
                <a:gd name="connsiteY148" fmla="*/ 7906 h 9955"/>
                <a:gd name="connsiteX149" fmla="*/ 2765 w 10000"/>
                <a:gd name="connsiteY149" fmla="*/ 8009 h 9955"/>
                <a:gd name="connsiteX150" fmla="*/ 2906 w 10000"/>
                <a:gd name="connsiteY150" fmla="*/ 8109 h 9955"/>
                <a:gd name="connsiteX151" fmla="*/ 3054 w 10000"/>
                <a:gd name="connsiteY151" fmla="*/ 8212 h 9955"/>
                <a:gd name="connsiteX152" fmla="*/ 3210 w 10000"/>
                <a:gd name="connsiteY152" fmla="*/ 8310 h 9955"/>
                <a:gd name="connsiteX153" fmla="*/ 3358 w 10000"/>
                <a:gd name="connsiteY153" fmla="*/ 8407 h 9955"/>
                <a:gd name="connsiteX154" fmla="*/ 3514 w 10000"/>
                <a:gd name="connsiteY154" fmla="*/ 8504 h 9955"/>
                <a:gd name="connsiteX155" fmla="*/ 3677 w 10000"/>
                <a:gd name="connsiteY155" fmla="*/ 8597 h 9955"/>
                <a:gd name="connsiteX156" fmla="*/ 3840 w 10000"/>
                <a:gd name="connsiteY156" fmla="*/ 8685 h 9955"/>
                <a:gd name="connsiteX157" fmla="*/ 4010 w 10000"/>
                <a:gd name="connsiteY157" fmla="*/ 8776 h 9955"/>
                <a:gd name="connsiteX158" fmla="*/ 4181 w 10000"/>
                <a:gd name="connsiteY158" fmla="*/ 8856 h 9955"/>
                <a:gd name="connsiteX159" fmla="*/ 4351 w 10000"/>
                <a:gd name="connsiteY159" fmla="*/ 8943 h 9955"/>
                <a:gd name="connsiteX160" fmla="*/ 4522 w 10000"/>
                <a:gd name="connsiteY160" fmla="*/ 9023 h 9955"/>
                <a:gd name="connsiteX161" fmla="*/ 4700 w 10000"/>
                <a:gd name="connsiteY161" fmla="*/ 9107 h 9955"/>
                <a:gd name="connsiteX162" fmla="*/ 4878 w 10000"/>
                <a:gd name="connsiteY162" fmla="*/ 9185 h 9955"/>
                <a:gd name="connsiteX163" fmla="*/ 5063 w 10000"/>
                <a:gd name="connsiteY163" fmla="*/ 9259 h 9955"/>
                <a:gd name="connsiteX164" fmla="*/ 5248 w 10000"/>
                <a:gd name="connsiteY164" fmla="*/ 9338 h 9955"/>
                <a:gd name="connsiteX165" fmla="*/ 5426 w 10000"/>
                <a:gd name="connsiteY165" fmla="*/ 9407 h 9955"/>
                <a:gd name="connsiteX166" fmla="*/ 5619 w 10000"/>
                <a:gd name="connsiteY166" fmla="*/ 9476 h 9955"/>
                <a:gd name="connsiteX167" fmla="*/ 5812 w 10000"/>
                <a:gd name="connsiteY167" fmla="*/ 9546 h 9955"/>
                <a:gd name="connsiteX168" fmla="*/ 6004 w 10000"/>
                <a:gd name="connsiteY168" fmla="*/ 9610 h 9955"/>
                <a:gd name="connsiteX169" fmla="*/ 6205 w 10000"/>
                <a:gd name="connsiteY169" fmla="*/ 9676 h 9955"/>
                <a:gd name="connsiteX170" fmla="*/ 6397 w 10000"/>
                <a:gd name="connsiteY170" fmla="*/ 9737 h 9955"/>
                <a:gd name="connsiteX171" fmla="*/ 6605 w 10000"/>
                <a:gd name="connsiteY171" fmla="*/ 9792 h 9955"/>
                <a:gd name="connsiteX172" fmla="*/ 6805 w 10000"/>
                <a:gd name="connsiteY172" fmla="*/ 9847 h 9955"/>
                <a:gd name="connsiteX173" fmla="*/ 7005 w 10000"/>
                <a:gd name="connsiteY173" fmla="*/ 9903 h 9955"/>
                <a:gd name="connsiteX174" fmla="*/ 7213 w 10000"/>
                <a:gd name="connsiteY174" fmla="*/ 9955 h 9955"/>
                <a:gd name="connsiteX175" fmla="*/ 7539 w 10000"/>
                <a:gd name="connsiteY175" fmla="*/ 7823 h 9955"/>
                <a:gd name="connsiteX176" fmla="*/ 10000 w 10000"/>
                <a:gd name="connsiteY176" fmla="*/ 6192 h 9955"/>
                <a:gd name="connsiteX0" fmla="*/ 10000 w 10000"/>
                <a:gd name="connsiteY0" fmla="*/ 6220 h 9948"/>
                <a:gd name="connsiteX1" fmla="*/ 10000 w 10000"/>
                <a:gd name="connsiteY1" fmla="*/ 6220 h 9948"/>
                <a:gd name="connsiteX2" fmla="*/ 9911 w 10000"/>
                <a:gd name="connsiteY2" fmla="*/ 6206 h 9948"/>
                <a:gd name="connsiteX3" fmla="*/ 9815 w 10000"/>
                <a:gd name="connsiteY3" fmla="*/ 6188 h 9948"/>
                <a:gd name="connsiteX4" fmla="*/ 9726 w 10000"/>
                <a:gd name="connsiteY4" fmla="*/ 6170 h 9948"/>
                <a:gd name="connsiteX5" fmla="*/ 9637 w 10000"/>
                <a:gd name="connsiteY5" fmla="*/ 6146 h 9948"/>
                <a:gd name="connsiteX6" fmla="*/ 9548 w 10000"/>
                <a:gd name="connsiteY6" fmla="*/ 6127 h 9948"/>
                <a:gd name="connsiteX7" fmla="*/ 9466 w 10000"/>
                <a:gd name="connsiteY7" fmla="*/ 6104 h 9948"/>
                <a:gd name="connsiteX8" fmla="*/ 9377 w 10000"/>
                <a:gd name="connsiteY8" fmla="*/ 6081 h 9948"/>
                <a:gd name="connsiteX9" fmla="*/ 9288 w 10000"/>
                <a:gd name="connsiteY9" fmla="*/ 6058 h 9948"/>
                <a:gd name="connsiteX10" fmla="*/ 9118 w 10000"/>
                <a:gd name="connsiteY10" fmla="*/ 6006 h 9948"/>
                <a:gd name="connsiteX11" fmla="*/ 8955 w 10000"/>
                <a:gd name="connsiteY11" fmla="*/ 5950 h 9948"/>
                <a:gd name="connsiteX12" fmla="*/ 8792 w 10000"/>
                <a:gd name="connsiteY12" fmla="*/ 5891 h 9948"/>
                <a:gd name="connsiteX13" fmla="*/ 8636 w 10000"/>
                <a:gd name="connsiteY13" fmla="*/ 5826 h 9948"/>
                <a:gd name="connsiteX14" fmla="*/ 8480 w 10000"/>
                <a:gd name="connsiteY14" fmla="*/ 5759 h 9948"/>
                <a:gd name="connsiteX15" fmla="*/ 8340 w 10000"/>
                <a:gd name="connsiteY15" fmla="*/ 5691 h 9948"/>
                <a:gd name="connsiteX16" fmla="*/ 8199 w 10000"/>
                <a:gd name="connsiteY16" fmla="*/ 5616 h 9948"/>
                <a:gd name="connsiteX17" fmla="*/ 8058 w 10000"/>
                <a:gd name="connsiteY17" fmla="*/ 5536 h 9948"/>
                <a:gd name="connsiteX18" fmla="*/ 7924 w 10000"/>
                <a:gd name="connsiteY18" fmla="*/ 5454 h 9948"/>
                <a:gd name="connsiteX19" fmla="*/ 7798 w 10000"/>
                <a:gd name="connsiteY19" fmla="*/ 5368 h 9948"/>
                <a:gd name="connsiteX20" fmla="*/ 7672 w 10000"/>
                <a:gd name="connsiteY20" fmla="*/ 5280 h 9948"/>
                <a:gd name="connsiteX21" fmla="*/ 7554 w 10000"/>
                <a:gd name="connsiteY21" fmla="*/ 5192 h 9948"/>
                <a:gd name="connsiteX22" fmla="*/ 7450 w 10000"/>
                <a:gd name="connsiteY22" fmla="*/ 5094 h 9948"/>
                <a:gd name="connsiteX23" fmla="*/ 7346 w 10000"/>
                <a:gd name="connsiteY23" fmla="*/ 4997 h 9948"/>
                <a:gd name="connsiteX24" fmla="*/ 7250 w 10000"/>
                <a:gd name="connsiteY24" fmla="*/ 4899 h 9948"/>
                <a:gd name="connsiteX25" fmla="*/ 7161 w 10000"/>
                <a:gd name="connsiteY25" fmla="*/ 4798 h 9948"/>
                <a:gd name="connsiteX26" fmla="*/ 7072 w 10000"/>
                <a:gd name="connsiteY26" fmla="*/ 4693 h 9948"/>
                <a:gd name="connsiteX27" fmla="*/ 6990 w 10000"/>
                <a:gd name="connsiteY27" fmla="*/ 4583 h 9948"/>
                <a:gd name="connsiteX28" fmla="*/ 6953 w 10000"/>
                <a:gd name="connsiteY28" fmla="*/ 4532 h 9948"/>
                <a:gd name="connsiteX29" fmla="*/ 6916 w 10000"/>
                <a:gd name="connsiteY29" fmla="*/ 4475 h 9948"/>
                <a:gd name="connsiteX30" fmla="*/ 6887 w 10000"/>
                <a:gd name="connsiteY30" fmla="*/ 4420 h 9948"/>
                <a:gd name="connsiteX31" fmla="*/ 6850 w 10000"/>
                <a:gd name="connsiteY31" fmla="*/ 4365 h 9948"/>
                <a:gd name="connsiteX32" fmla="*/ 6820 w 10000"/>
                <a:gd name="connsiteY32" fmla="*/ 4309 h 9948"/>
                <a:gd name="connsiteX33" fmla="*/ 6790 w 10000"/>
                <a:gd name="connsiteY33" fmla="*/ 4252 h 9948"/>
                <a:gd name="connsiteX34" fmla="*/ 6768 w 10000"/>
                <a:gd name="connsiteY34" fmla="*/ 4192 h 9948"/>
                <a:gd name="connsiteX35" fmla="*/ 6738 w 10000"/>
                <a:gd name="connsiteY35" fmla="*/ 4137 h 9948"/>
                <a:gd name="connsiteX36" fmla="*/ 6723 w 10000"/>
                <a:gd name="connsiteY36" fmla="*/ 4076 h 9948"/>
                <a:gd name="connsiteX37" fmla="*/ 6694 w 10000"/>
                <a:gd name="connsiteY37" fmla="*/ 4019 h 9948"/>
                <a:gd name="connsiteX38" fmla="*/ 6679 w 10000"/>
                <a:gd name="connsiteY38" fmla="*/ 3959 h 9948"/>
                <a:gd name="connsiteX39" fmla="*/ 6664 w 10000"/>
                <a:gd name="connsiteY39" fmla="*/ 3899 h 9948"/>
                <a:gd name="connsiteX40" fmla="*/ 6649 w 10000"/>
                <a:gd name="connsiteY40" fmla="*/ 3838 h 9948"/>
                <a:gd name="connsiteX41" fmla="*/ 6635 w 10000"/>
                <a:gd name="connsiteY41" fmla="*/ 3782 h 9948"/>
                <a:gd name="connsiteX42" fmla="*/ 6620 w 10000"/>
                <a:gd name="connsiteY42" fmla="*/ 3722 h 9948"/>
                <a:gd name="connsiteX43" fmla="*/ 6612 w 10000"/>
                <a:gd name="connsiteY43" fmla="*/ 3662 h 9948"/>
                <a:gd name="connsiteX44" fmla="*/ 6605 w 10000"/>
                <a:gd name="connsiteY44" fmla="*/ 3600 h 9948"/>
                <a:gd name="connsiteX45" fmla="*/ 6597 w 10000"/>
                <a:gd name="connsiteY45" fmla="*/ 3536 h 9948"/>
                <a:gd name="connsiteX46" fmla="*/ 6597 w 10000"/>
                <a:gd name="connsiteY46" fmla="*/ 3476 h 9948"/>
                <a:gd name="connsiteX47" fmla="*/ 6590 w 10000"/>
                <a:gd name="connsiteY47" fmla="*/ 3411 h 9948"/>
                <a:gd name="connsiteX48" fmla="*/ 6597 w 10000"/>
                <a:gd name="connsiteY48" fmla="*/ 3349 h 9948"/>
                <a:gd name="connsiteX49" fmla="*/ 6605 w 10000"/>
                <a:gd name="connsiteY49" fmla="*/ 3281 h 9948"/>
                <a:gd name="connsiteX50" fmla="*/ 6605 w 10000"/>
                <a:gd name="connsiteY50" fmla="*/ 3215 h 9948"/>
                <a:gd name="connsiteX51" fmla="*/ 6612 w 10000"/>
                <a:gd name="connsiteY51" fmla="*/ 3148 h 9948"/>
                <a:gd name="connsiteX52" fmla="*/ 6620 w 10000"/>
                <a:gd name="connsiteY52" fmla="*/ 3084 h 9948"/>
                <a:gd name="connsiteX53" fmla="*/ 6635 w 10000"/>
                <a:gd name="connsiteY53" fmla="*/ 3025 h 9948"/>
                <a:gd name="connsiteX54" fmla="*/ 6649 w 10000"/>
                <a:gd name="connsiteY54" fmla="*/ 2959 h 9948"/>
                <a:gd name="connsiteX55" fmla="*/ 6664 w 10000"/>
                <a:gd name="connsiteY55" fmla="*/ 2898 h 9948"/>
                <a:gd name="connsiteX56" fmla="*/ 6686 w 10000"/>
                <a:gd name="connsiteY56" fmla="*/ 2834 h 9948"/>
                <a:gd name="connsiteX57" fmla="*/ 6709 w 10000"/>
                <a:gd name="connsiteY57" fmla="*/ 2773 h 9948"/>
                <a:gd name="connsiteX58" fmla="*/ 6731 w 10000"/>
                <a:gd name="connsiteY58" fmla="*/ 2712 h 9948"/>
                <a:gd name="connsiteX59" fmla="*/ 6753 w 10000"/>
                <a:gd name="connsiteY59" fmla="*/ 2647 h 9948"/>
                <a:gd name="connsiteX60" fmla="*/ 6783 w 10000"/>
                <a:gd name="connsiteY60" fmla="*/ 2592 h 9948"/>
                <a:gd name="connsiteX61" fmla="*/ 6812 w 10000"/>
                <a:gd name="connsiteY61" fmla="*/ 2531 h 9948"/>
                <a:gd name="connsiteX62" fmla="*/ 6842 w 10000"/>
                <a:gd name="connsiteY62" fmla="*/ 2469 h 9948"/>
                <a:gd name="connsiteX63" fmla="*/ 6879 w 10000"/>
                <a:gd name="connsiteY63" fmla="*/ 2410 h 9948"/>
                <a:gd name="connsiteX64" fmla="*/ 6909 w 10000"/>
                <a:gd name="connsiteY64" fmla="*/ 2355 h 9948"/>
                <a:gd name="connsiteX65" fmla="*/ 6946 w 10000"/>
                <a:gd name="connsiteY65" fmla="*/ 2292 h 9948"/>
                <a:gd name="connsiteX66" fmla="*/ 6990 w 10000"/>
                <a:gd name="connsiteY66" fmla="*/ 2237 h 9948"/>
                <a:gd name="connsiteX67" fmla="*/ 7027 w 10000"/>
                <a:gd name="connsiteY67" fmla="*/ 2182 h 9948"/>
                <a:gd name="connsiteX68" fmla="*/ 7072 w 10000"/>
                <a:gd name="connsiteY68" fmla="*/ 2127 h 9948"/>
                <a:gd name="connsiteX69" fmla="*/ 7109 w 10000"/>
                <a:gd name="connsiteY69" fmla="*/ 2069 h 9948"/>
                <a:gd name="connsiteX70" fmla="*/ 7161 w 10000"/>
                <a:gd name="connsiteY70" fmla="*/ 2019 h 9948"/>
                <a:gd name="connsiteX71" fmla="*/ 7213 w 10000"/>
                <a:gd name="connsiteY71" fmla="*/ 1964 h 9948"/>
                <a:gd name="connsiteX72" fmla="*/ 7257 w 10000"/>
                <a:gd name="connsiteY72" fmla="*/ 1909 h 9948"/>
                <a:gd name="connsiteX73" fmla="*/ 7309 w 10000"/>
                <a:gd name="connsiteY73" fmla="*/ 1855 h 9948"/>
                <a:gd name="connsiteX74" fmla="*/ 7361 w 10000"/>
                <a:gd name="connsiteY74" fmla="*/ 1804 h 9948"/>
                <a:gd name="connsiteX75" fmla="*/ 7413 w 10000"/>
                <a:gd name="connsiteY75" fmla="*/ 1754 h 9948"/>
                <a:gd name="connsiteX76" fmla="*/ 7472 w 10000"/>
                <a:gd name="connsiteY76" fmla="*/ 1703 h 9948"/>
                <a:gd name="connsiteX77" fmla="*/ 7524 w 10000"/>
                <a:gd name="connsiteY77" fmla="*/ 1656 h 9948"/>
                <a:gd name="connsiteX78" fmla="*/ 7583 w 10000"/>
                <a:gd name="connsiteY78" fmla="*/ 1608 h 9948"/>
                <a:gd name="connsiteX79" fmla="*/ 7610 w 10000"/>
                <a:gd name="connsiteY79" fmla="*/ 1579 h 9948"/>
                <a:gd name="connsiteX80" fmla="*/ 5390 w 10000"/>
                <a:gd name="connsiteY80" fmla="*/ 6 h 9948"/>
                <a:gd name="connsiteX81" fmla="*/ 1401 w 10000"/>
                <a:gd name="connsiteY81" fmla="*/ 0 h 9948"/>
                <a:gd name="connsiteX82" fmla="*/ 1305 w 10000"/>
                <a:gd name="connsiteY82" fmla="*/ 117 h 9948"/>
                <a:gd name="connsiteX83" fmla="*/ 1223 w 10000"/>
                <a:gd name="connsiteY83" fmla="*/ 209 h 9948"/>
                <a:gd name="connsiteX84" fmla="*/ 1149 w 10000"/>
                <a:gd name="connsiteY84" fmla="*/ 305 h 9948"/>
                <a:gd name="connsiteX85" fmla="*/ 1067 w 10000"/>
                <a:gd name="connsiteY85" fmla="*/ 405 h 9948"/>
                <a:gd name="connsiteX86" fmla="*/ 1001 w 10000"/>
                <a:gd name="connsiteY86" fmla="*/ 502 h 9948"/>
                <a:gd name="connsiteX87" fmla="*/ 927 w 10000"/>
                <a:gd name="connsiteY87" fmla="*/ 601 h 9948"/>
                <a:gd name="connsiteX88" fmla="*/ 860 w 10000"/>
                <a:gd name="connsiteY88" fmla="*/ 702 h 9948"/>
                <a:gd name="connsiteX89" fmla="*/ 793 w 10000"/>
                <a:gd name="connsiteY89" fmla="*/ 806 h 9948"/>
                <a:gd name="connsiteX90" fmla="*/ 734 w 10000"/>
                <a:gd name="connsiteY90" fmla="*/ 902 h 9948"/>
                <a:gd name="connsiteX91" fmla="*/ 675 w 10000"/>
                <a:gd name="connsiteY91" fmla="*/ 1006 h 9948"/>
                <a:gd name="connsiteX92" fmla="*/ 615 w 10000"/>
                <a:gd name="connsiteY92" fmla="*/ 1107 h 9948"/>
                <a:gd name="connsiteX93" fmla="*/ 556 w 10000"/>
                <a:gd name="connsiteY93" fmla="*/ 1215 h 9948"/>
                <a:gd name="connsiteX94" fmla="*/ 504 w 10000"/>
                <a:gd name="connsiteY94" fmla="*/ 1312 h 9948"/>
                <a:gd name="connsiteX95" fmla="*/ 452 w 10000"/>
                <a:gd name="connsiteY95" fmla="*/ 1418 h 9948"/>
                <a:gd name="connsiteX96" fmla="*/ 408 w 10000"/>
                <a:gd name="connsiteY96" fmla="*/ 1521 h 9948"/>
                <a:gd name="connsiteX97" fmla="*/ 363 w 10000"/>
                <a:gd name="connsiteY97" fmla="*/ 1627 h 9948"/>
                <a:gd name="connsiteX98" fmla="*/ 319 w 10000"/>
                <a:gd name="connsiteY98" fmla="*/ 1735 h 9948"/>
                <a:gd name="connsiteX99" fmla="*/ 282 w 10000"/>
                <a:gd name="connsiteY99" fmla="*/ 1842 h 9948"/>
                <a:gd name="connsiteX100" fmla="*/ 237 w 10000"/>
                <a:gd name="connsiteY100" fmla="*/ 1955 h 9948"/>
                <a:gd name="connsiteX101" fmla="*/ 208 w 10000"/>
                <a:gd name="connsiteY101" fmla="*/ 2060 h 9948"/>
                <a:gd name="connsiteX102" fmla="*/ 170 w 10000"/>
                <a:gd name="connsiteY102" fmla="*/ 2173 h 9948"/>
                <a:gd name="connsiteX103" fmla="*/ 148 w 10000"/>
                <a:gd name="connsiteY103" fmla="*/ 2283 h 9948"/>
                <a:gd name="connsiteX104" fmla="*/ 119 w 10000"/>
                <a:gd name="connsiteY104" fmla="*/ 2391 h 9948"/>
                <a:gd name="connsiteX105" fmla="*/ 96 w 10000"/>
                <a:gd name="connsiteY105" fmla="*/ 2501 h 9948"/>
                <a:gd name="connsiteX106" fmla="*/ 74 w 10000"/>
                <a:gd name="connsiteY106" fmla="*/ 2615 h 9948"/>
                <a:gd name="connsiteX107" fmla="*/ 52 w 10000"/>
                <a:gd name="connsiteY107" fmla="*/ 2731 h 9948"/>
                <a:gd name="connsiteX108" fmla="*/ 37 w 10000"/>
                <a:gd name="connsiteY108" fmla="*/ 2843 h 9948"/>
                <a:gd name="connsiteX109" fmla="*/ 22 w 10000"/>
                <a:gd name="connsiteY109" fmla="*/ 2954 h 9948"/>
                <a:gd name="connsiteX110" fmla="*/ 15 w 10000"/>
                <a:gd name="connsiteY110" fmla="*/ 3066 h 9948"/>
                <a:gd name="connsiteX111" fmla="*/ 7 w 10000"/>
                <a:gd name="connsiteY111" fmla="*/ 3182 h 9948"/>
                <a:gd name="connsiteX112" fmla="*/ 0 w 10000"/>
                <a:gd name="connsiteY112" fmla="*/ 3294 h 9948"/>
                <a:gd name="connsiteX113" fmla="*/ 0 w 10000"/>
                <a:gd name="connsiteY113" fmla="*/ 3411 h 9948"/>
                <a:gd name="connsiteX114" fmla="*/ 7 w 10000"/>
                <a:gd name="connsiteY114" fmla="*/ 3559 h 9948"/>
                <a:gd name="connsiteX115" fmla="*/ 7 w 10000"/>
                <a:gd name="connsiteY115" fmla="*/ 3708 h 9948"/>
                <a:gd name="connsiteX116" fmla="*/ 22 w 10000"/>
                <a:gd name="connsiteY116" fmla="*/ 3848 h 9948"/>
                <a:gd name="connsiteX117" fmla="*/ 37 w 10000"/>
                <a:gd name="connsiteY117" fmla="*/ 3992 h 9948"/>
                <a:gd name="connsiteX118" fmla="*/ 59 w 10000"/>
                <a:gd name="connsiteY118" fmla="*/ 4137 h 9948"/>
                <a:gd name="connsiteX119" fmla="*/ 89 w 10000"/>
                <a:gd name="connsiteY119" fmla="*/ 4281 h 9948"/>
                <a:gd name="connsiteX120" fmla="*/ 119 w 10000"/>
                <a:gd name="connsiteY120" fmla="*/ 4424 h 9948"/>
                <a:gd name="connsiteX121" fmla="*/ 148 w 10000"/>
                <a:gd name="connsiteY121" fmla="*/ 4569 h 9948"/>
                <a:gd name="connsiteX122" fmla="*/ 193 w 10000"/>
                <a:gd name="connsiteY122" fmla="*/ 4709 h 9948"/>
                <a:gd name="connsiteX123" fmla="*/ 237 w 10000"/>
                <a:gd name="connsiteY123" fmla="*/ 4848 h 9948"/>
                <a:gd name="connsiteX124" fmla="*/ 282 w 10000"/>
                <a:gd name="connsiteY124" fmla="*/ 4988 h 9948"/>
                <a:gd name="connsiteX125" fmla="*/ 334 w 10000"/>
                <a:gd name="connsiteY125" fmla="*/ 5126 h 9948"/>
                <a:gd name="connsiteX126" fmla="*/ 393 w 10000"/>
                <a:gd name="connsiteY126" fmla="*/ 5262 h 9948"/>
                <a:gd name="connsiteX127" fmla="*/ 452 w 10000"/>
                <a:gd name="connsiteY127" fmla="*/ 5397 h 9948"/>
                <a:gd name="connsiteX128" fmla="*/ 519 w 10000"/>
                <a:gd name="connsiteY128" fmla="*/ 5532 h 9948"/>
                <a:gd name="connsiteX129" fmla="*/ 586 w 10000"/>
                <a:gd name="connsiteY129" fmla="*/ 5668 h 9948"/>
                <a:gd name="connsiteX130" fmla="*/ 660 w 10000"/>
                <a:gd name="connsiteY130" fmla="*/ 5797 h 9948"/>
                <a:gd name="connsiteX131" fmla="*/ 741 w 10000"/>
                <a:gd name="connsiteY131" fmla="*/ 5927 h 9948"/>
                <a:gd name="connsiteX132" fmla="*/ 823 w 10000"/>
                <a:gd name="connsiteY132" fmla="*/ 6062 h 9948"/>
                <a:gd name="connsiteX133" fmla="*/ 904 w 10000"/>
                <a:gd name="connsiteY133" fmla="*/ 6188 h 9948"/>
                <a:gd name="connsiteX134" fmla="*/ 993 w 10000"/>
                <a:gd name="connsiteY134" fmla="*/ 6314 h 9948"/>
                <a:gd name="connsiteX135" fmla="*/ 1090 w 10000"/>
                <a:gd name="connsiteY135" fmla="*/ 6434 h 9948"/>
                <a:gd name="connsiteX136" fmla="*/ 1186 w 10000"/>
                <a:gd name="connsiteY136" fmla="*/ 6561 h 9948"/>
                <a:gd name="connsiteX137" fmla="*/ 1290 w 10000"/>
                <a:gd name="connsiteY137" fmla="*/ 6685 h 9948"/>
                <a:gd name="connsiteX138" fmla="*/ 1386 w 10000"/>
                <a:gd name="connsiteY138" fmla="*/ 6807 h 9948"/>
                <a:gd name="connsiteX139" fmla="*/ 1497 w 10000"/>
                <a:gd name="connsiteY139" fmla="*/ 6929 h 9948"/>
                <a:gd name="connsiteX140" fmla="*/ 1609 w 10000"/>
                <a:gd name="connsiteY140" fmla="*/ 7044 h 9948"/>
                <a:gd name="connsiteX141" fmla="*/ 1727 w 10000"/>
                <a:gd name="connsiteY141" fmla="*/ 7165 h 9948"/>
                <a:gd name="connsiteX142" fmla="*/ 1846 w 10000"/>
                <a:gd name="connsiteY142" fmla="*/ 7281 h 9948"/>
                <a:gd name="connsiteX143" fmla="*/ 1964 w 10000"/>
                <a:gd name="connsiteY143" fmla="*/ 7393 h 9948"/>
                <a:gd name="connsiteX144" fmla="*/ 2090 w 10000"/>
                <a:gd name="connsiteY144" fmla="*/ 7504 h 9948"/>
                <a:gd name="connsiteX145" fmla="*/ 2224 w 10000"/>
                <a:gd name="connsiteY145" fmla="*/ 7617 h 9948"/>
                <a:gd name="connsiteX146" fmla="*/ 2350 w 10000"/>
                <a:gd name="connsiteY146" fmla="*/ 7728 h 9948"/>
                <a:gd name="connsiteX147" fmla="*/ 2491 w 10000"/>
                <a:gd name="connsiteY147" fmla="*/ 7835 h 9948"/>
                <a:gd name="connsiteX148" fmla="*/ 2617 w 10000"/>
                <a:gd name="connsiteY148" fmla="*/ 7942 h 9948"/>
                <a:gd name="connsiteX149" fmla="*/ 2765 w 10000"/>
                <a:gd name="connsiteY149" fmla="*/ 8045 h 9948"/>
                <a:gd name="connsiteX150" fmla="*/ 2906 w 10000"/>
                <a:gd name="connsiteY150" fmla="*/ 8146 h 9948"/>
                <a:gd name="connsiteX151" fmla="*/ 3054 w 10000"/>
                <a:gd name="connsiteY151" fmla="*/ 8249 h 9948"/>
                <a:gd name="connsiteX152" fmla="*/ 3210 w 10000"/>
                <a:gd name="connsiteY152" fmla="*/ 8348 h 9948"/>
                <a:gd name="connsiteX153" fmla="*/ 3358 w 10000"/>
                <a:gd name="connsiteY153" fmla="*/ 8445 h 9948"/>
                <a:gd name="connsiteX154" fmla="*/ 3514 w 10000"/>
                <a:gd name="connsiteY154" fmla="*/ 8542 h 9948"/>
                <a:gd name="connsiteX155" fmla="*/ 3677 w 10000"/>
                <a:gd name="connsiteY155" fmla="*/ 8636 h 9948"/>
                <a:gd name="connsiteX156" fmla="*/ 3840 w 10000"/>
                <a:gd name="connsiteY156" fmla="*/ 8724 h 9948"/>
                <a:gd name="connsiteX157" fmla="*/ 4010 w 10000"/>
                <a:gd name="connsiteY157" fmla="*/ 8816 h 9948"/>
                <a:gd name="connsiteX158" fmla="*/ 4181 w 10000"/>
                <a:gd name="connsiteY158" fmla="*/ 8896 h 9948"/>
                <a:gd name="connsiteX159" fmla="*/ 4351 w 10000"/>
                <a:gd name="connsiteY159" fmla="*/ 8983 h 9948"/>
                <a:gd name="connsiteX160" fmla="*/ 4522 w 10000"/>
                <a:gd name="connsiteY160" fmla="*/ 9064 h 9948"/>
                <a:gd name="connsiteX161" fmla="*/ 4700 w 10000"/>
                <a:gd name="connsiteY161" fmla="*/ 9148 h 9948"/>
                <a:gd name="connsiteX162" fmla="*/ 4878 w 10000"/>
                <a:gd name="connsiteY162" fmla="*/ 9227 h 9948"/>
                <a:gd name="connsiteX163" fmla="*/ 5063 w 10000"/>
                <a:gd name="connsiteY163" fmla="*/ 9301 h 9948"/>
                <a:gd name="connsiteX164" fmla="*/ 5248 w 10000"/>
                <a:gd name="connsiteY164" fmla="*/ 9380 h 9948"/>
                <a:gd name="connsiteX165" fmla="*/ 5426 w 10000"/>
                <a:gd name="connsiteY165" fmla="*/ 9450 h 9948"/>
                <a:gd name="connsiteX166" fmla="*/ 5619 w 10000"/>
                <a:gd name="connsiteY166" fmla="*/ 9519 h 9948"/>
                <a:gd name="connsiteX167" fmla="*/ 5812 w 10000"/>
                <a:gd name="connsiteY167" fmla="*/ 9589 h 9948"/>
                <a:gd name="connsiteX168" fmla="*/ 6004 w 10000"/>
                <a:gd name="connsiteY168" fmla="*/ 9653 h 9948"/>
                <a:gd name="connsiteX169" fmla="*/ 6205 w 10000"/>
                <a:gd name="connsiteY169" fmla="*/ 9720 h 9948"/>
                <a:gd name="connsiteX170" fmla="*/ 6397 w 10000"/>
                <a:gd name="connsiteY170" fmla="*/ 9781 h 9948"/>
                <a:gd name="connsiteX171" fmla="*/ 6605 w 10000"/>
                <a:gd name="connsiteY171" fmla="*/ 9836 h 9948"/>
                <a:gd name="connsiteX172" fmla="*/ 6805 w 10000"/>
                <a:gd name="connsiteY172" fmla="*/ 9892 h 9948"/>
                <a:gd name="connsiteX173" fmla="*/ 7005 w 10000"/>
                <a:gd name="connsiteY173" fmla="*/ 9948 h 9948"/>
                <a:gd name="connsiteX174" fmla="*/ 7539 w 10000"/>
                <a:gd name="connsiteY174" fmla="*/ 7858 h 9948"/>
                <a:gd name="connsiteX175" fmla="*/ 10000 w 10000"/>
                <a:gd name="connsiteY175" fmla="*/ 6220 h 9948"/>
                <a:gd name="connsiteX0" fmla="*/ 10000 w 10000"/>
                <a:gd name="connsiteY0" fmla="*/ 6253 h 9944"/>
                <a:gd name="connsiteX1" fmla="*/ 10000 w 10000"/>
                <a:gd name="connsiteY1" fmla="*/ 6253 h 9944"/>
                <a:gd name="connsiteX2" fmla="*/ 9911 w 10000"/>
                <a:gd name="connsiteY2" fmla="*/ 6238 h 9944"/>
                <a:gd name="connsiteX3" fmla="*/ 9815 w 10000"/>
                <a:gd name="connsiteY3" fmla="*/ 6220 h 9944"/>
                <a:gd name="connsiteX4" fmla="*/ 9726 w 10000"/>
                <a:gd name="connsiteY4" fmla="*/ 6202 h 9944"/>
                <a:gd name="connsiteX5" fmla="*/ 9637 w 10000"/>
                <a:gd name="connsiteY5" fmla="*/ 6178 h 9944"/>
                <a:gd name="connsiteX6" fmla="*/ 9548 w 10000"/>
                <a:gd name="connsiteY6" fmla="*/ 6159 h 9944"/>
                <a:gd name="connsiteX7" fmla="*/ 9466 w 10000"/>
                <a:gd name="connsiteY7" fmla="*/ 6136 h 9944"/>
                <a:gd name="connsiteX8" fmla="*/ 9377 w 10000"/>
                <a:gd name="connsiteY8" fmla="*/ 6113 h 9944"/>
                <a:gd name="connsiteX9" fmla="*/ 9288 w 10000"/>
                <a:gd name="connsiteY9" fmla="*/ 6090 h 9944"/>
                <a:gd name="connsiteX10" fmla="*/ 9118 w 10000"/>
                <a:gd name="connsiteY10" fmla="*/ 6037 h 9944"/>
                <a:gd name="connsiteX11" fmla="*/ 8955 w 10000"/>
                <a:gd name="connsiteY11" fmla="*/ 5981 h 9944"/>
                <a:gd name="connsiteX12" fmla="*/ 8792 w 10000"/>
                <a:gd name="connsiteY12" fmla="*/ 5922 h 9944"/>
                <a:gd name="connsiteX13" fmla="*/ 8636 w 10000"/>
                <a:gd name="connsiteY13" fmla="*/ 5856 h 9944"/>
                <a:gd name="connsiteX14" fmla="*/ 8480 w 10000"/>
                <a:gd name="connsiteY14" fmla="*/ 5789 h 9944"/>
                <a:gd name="connsiteX15" fmla="*/ 8340 w 10000"/>
                <a:gd name="connsiteY15" fmla="*/ 5721 h 9944"/>
                <a:gd name="connsiteX16" fmla="*/ 8199 w 10000"/>
                <a:gd name="connsiteY16" fmla="*/ 5645 h 9944"/>
                <a:gd name="connsiteX17" fmla="*/ 8058 w 10000"/>
                <a:gd name="connsiteY17" fmla="*/ 5565 h 9944"/>
                <a:gd name="connsiteX18" fmla="*/ 7924 w 10000"/>
                <a:gd name="connsiteY18" fmla="*/ 5483 h 9944"/>
                <a:gd name="connsiteX19" fmla="*/ 7798 w 10000"/>
                <a:gd name="connsiteY19" fmla="*/ 5396 h 9944"/>
                <a:gd name="connsiteX20" fmla="*/ 7672 w 10000"/>
                <a:gd name="connsiteY20" fmla="*/ 5308 h 9944"/>
                <a:gd name="connsiteX21" fmla="*/ 7554 w 10000"/>
                <a:gd name="connsiteY21" fmla="*/ 5219 h 9944"/>
                <a:gd name="connsiteX22" fmla="*/ 7450 w 10000"/>
                <a:gd name="connsiteY22" fmla="*/ 5121 h 9944"/>
                <a:gd name="connsiteX23" fmla="*/ 7346 w 10000"/>
                <a:gd name="connsiteY23" fmla="*/ 5023 h 9944"/>
                <a:gd name="connsiteX24" fmla="*/ 7250 w 10000"/>
                <a:gd name="connsiteY24" fmla="*/ 4925 h 9944"/>
                <a:gd name="connsiteX25" fmla="*/ 7161 w 10000"/>
                <a:gd name="connsiteY25" fmla="*/ 4823 h 9944"/>
                <a:gd name="connsiteX26" fmla="*/ 7072 w 10000"/>
                <a:gd name="connsiteY26" fmla="*/ 4718 h 9944"/>
                <a:gd name="connsiteX27" fmla="*/ 6990 w 10000"/>
                <a:gd name="connsiteY27" fmla="*/ 4607 h 9944"/>
                <a:gd name="connsiteX28" fmla="*/ 6953 w 10000"/>
                <a:gd name="connsiteY28" fmla="*/ 4556 h 9944"/>
                <a:gd name="connsiteX29" fmla="*/ 6916 w 10000"/>
                <a:gd name="connsiteY29" fmla="*/ 4498 h 9944"/>
                <a:gd name="connsiteX30" fmla="*/ 6887 w 10000"/>
                <a:gd name="connsiteY30" fmla="*/ 4443 h 9944"/>
                <a:gd name="connsiteX31" fmla="*/ 6850 w 10000"/>
                <a:gd name="connsiteY31" fmla="*/ 4388 h 9944"/>
                <a:gd name="connsiteX32" fmla="*/ 6820 w 10000"/>
                <a:gd name="connsiteY32" fmla="*/ 4332 h 9944"/>
                <a:gd name="connsiteX33" fmla="*/ 6790 w 10000"/>
                <a:gd name="connsiteY33" fmla="*/ 4274 h 9944"/>
                <a:gd name="connsiteX34" fmla="*/ 6768 w 10000"/>
                <a:gd name="connsiteY34" fmla="*/ 4214 h 9944"/>
                <a:gd name="connsiteX35" fmla="*/ 6738 w 10000"/>
                <a:gd name="connsiteY35" fmla="*/ 4159 h 9944"/>
                <a:gd name="connsiteX36" fmla="*/ 6723 w 10000"/>
                <a:gd name="connsiteY36" fmla="*/ 4097 h 9944"/>
                <a:gd name="connsiteX37" fmla="*/ 6694 w 10000"/>
                <a:gd name="connsiteY37" fmla="*/ 4040 h 9944"/>
                <a:gd name="connsiteX38" fmla="*/ 6679 w 10000"/>
                <a:gd name="connsiteY38" fmla="*/ 3980 h 9944"/>
                <a:gd name="connsiteX39" fmla="*/ 6664 w 10000"/>
                <a:gd name="connsiteY39" fmla="*/ 3919 h 9944"/>
                <a:gd name="connsiteX40" fmla="*/ 6649 w 10000"/>
                <a:gd name="connsiteY40" fmla="*/ 3858 h 9944"/>
                <a:gd name="connsiteX41" fmla="*/ 6635 w 10000"/>
                <a:gd name="connsiteY41" fmla="*/ 3802 h 9944"/>
                <a:gd name="connsiteX42" fmla="*/ 6620 w 10000"/>
                <a:gd name="connsiteY42" fmla="*/ 3741 h 9944"/>
                <a:gd name="connsiteX43" fmla="*/ 6612 w 10000"/>
                <a:gd name="connsiteY43" fmla="*/ 3681 h 9944"/>
                <a:gd name="connsiteX44" fmla="*/ 6605 w 10000"/>
                <a:gd name="connsiteY44" fmla="*/ 3619 h 9944"/>
                <a:gd name="connsiteX45" fmla="*/ 6597 w 10000"/>
                <a:gd name="connsiteY45" fmla="*/ 3554 h 9944"/>
                <a:gd name="connsiteX46" fmla="*/ 6597 w 10000"/>
                <a:gd name="connsiteY46" fmla="*/ 3494 h 9944"/>
                <a:gd name="connsiteX47" fmla="*/ 6590 w 10000"/>
                <a:gd name="connsiteY47" fmla="*/ 3429 h 9944"/>
                <a:gd name="connsiteX48" fmla="*/ 6597 w 10000"/>
                <a:gd name="connsiteY48" fmla="*/ 3367 h 9944"/>
                <a:gd name="connsiteX49" fmla="*/ 6605 w 10000"/>
                <a:gd name="connsiteY49" fmla="*/ 3298 h 9944"/>
                <a:gd name="connsiteX50" fmla="*/ 6605 w 10000"/>
                <a:gd name="connsiteY50" fmla="*/ 3232 h 9944"/>
                <a:gd name="connsiteX51" fmla="*/ 6612 w 10000"/>
                <a:gd name="connsiteY51" fmla="*/ 3164 h 9944"/>
                <a:gd name="connsiteX52" fmla="*/ 6620 w 10000"/>
                <a:gd name="connsiteY52" fmla="*/ 3100 h 9944"/>
                <a:gd name="connsiteX53" fmla="*/ 6635 w 10000"/>
                <a:gd name="connsiteY53" fmla="*/ 3041 h 9944"/>
                <a:gd name="connsiteX54" fmla="*/ 6649 w 10000"/>
                <a:gd name="connsiteY54" fmla="*/ 2974 h 9944"/>
                <a:gd name="connsiteX55" fmla="*/ 6664 w 10000"/>
                <a:gd name="connsiteY55" fmla="*/ 2913 h 9944"/>
                <a:gd name="connsiteX56" fmla="*/ 6686 w 10000"/>
                <a:gd name="connsiteY56" fmla="*/ 2849 h 9944"/>
                <a:gd name="connsiteX57" fmla="*/ 6709 w 10000"/>
                <a:gd name="connsiteY57" fmla="*/ 2787 h 9944"/>
                <a:gd name="connsiteX58" fmla="*/ 6731 w 10000"/>
                <a:gd name="connsiteY58" fmla="*/ 2726 h 9944"/>
                <a:gd name="connsiteX59" fmla="*/ 6753 w 10000"/>
                <a:gd name="connsiteY59" fmla="*/ 2661 h 9944"/>
                <a:gd name="connsiteX60" fmla="*/ 6783 w 10000"/>
                <a:gd name="connsiteY60" fmla="*/ 2606 h 9944"/>
                <a:gd name="connsiteX61" fmla="*/ 6812 w 10000"/>
                <a:gd name="connsiteY61" fmla="*/ 2544 h 9944"/>
                <a:gd name="connsiteX62" fmla="*/ 6842 w 10000"/>
                <a:gd name="connsiteY62" fmla="*/ 2482 h 9944"/>
                <a:gd name="connsiteX63" fmla="*/ 6879 w 10000"/>
                <a:gd name="connsiteY63" fmla="*/ 2423 h 9944"/>
                <a:gd name="connsiteX64" fmla="*/ 6909 w 10000"/>
                <a:gd name="connsiteY64" fmla="*/ 2367 h 9944"/>
                <a:gd name="connsiteX65" fmla="*/ 6946 w 10000"/>
                <a:gd name="connsiteY65" fmla="*/ 2304 h 9944"/>
                <a:gd name="connsiteX66" fmla="*/ 6990 w 10000"/>
                <a:gd name="connsiteY66" fmla="*/ 2249 h 9944"/>
                <a:gd name="connsiteX67" fmla="*/ 7027 w 10000"/>
                <a:gd name="connsiteY67" fmla="*/ 2193 h 9944"/>
                <a:gd name="connsiteX68" fmla="*/ 7072 w 10000"/>
                <a:gd name="connsiteY68" fmla="*/ 2138 h 9944"/>
                <a:gd name="connsiteX69" fmla="*/ 7109 w 10000"/>
                <a:gd name="connsiteY69" fmla="*/ 2080 h 9944"/>
                <a:gd name="connsiteX70" fmla="*/ 7161 w 10000"/>
                <a:gd name="connsiteY70" fmla="*/ 2030 h 9944"/>
                <a:gd name="connsiteX71" fmla="*/ 7213 w 10000"/>
                <a:gd name="connsiteY71" fmla="*/ 1974 h 9944"/>
                <a:gd name="connsiteX72" fmla="*/ 7257 w 10000"/>
                <a:gd name="connsiteY72" fmla="*/ 1919 h 9944"/>
                <a:gd name="connsiteX73" fmla="*/ 7309 w 10000"/>
                <a:gd name="connsiteY73" fmla="*/ 1865 h 9944"/>
                <a:gd name="connsiteX74" fmla="*/ 7361 w 10000"/>
                <a:gd name="connsiteY74" fmla="*/ 1813 h 9944"/>
                <a:gd name="connsiteX75" fmla="*/ 7413 w 10000"/>
                <a:gd name="connsiteY75" fmla="*/ 1763 h 9944"/>
                <a:gd name="connsiteX76" fmla="*/ 7472 w 10000"/>
                <a:gd name="connsiteY76" fmla="*/ 1712 h 9944"/>
                <a:gd name="connsiteX77" fmla="*/ 7524 w 10000"/>
                <a:gd name="connsiteY77" fmla="*/ 1665 h 9944"/>
                <a:gd name="connsiteX78" fmla="*/ 7583 w 10000"/>
                <a:gd name="connsiteY78" fmla="*/ 1616 h 9944"/>
                <a:gd name="connsiteX79" fmla="*/ 7610 w 10000"/>
                <a:gd name="connsiteY79" fmla="*/ 1587 h 9944"/>
                <a:gd name="connsiteX80" fmla="*/ 5390 w 10000"/>
                <a:gd name="connsiteY80" fmla="*/ 6 h 9944"/>
                <a:gd name="connsiteX81" fmla="*/ 1401 w 10000"/>
                <a:gd name="connsiteY81" fmla="*/ 0 h 9944"/>
                <a:gd name="connsiteX82" fmla="*/ 1305 w 10000"/>
                <a:gd name="connsiteY82" fmla="*/ 118 h 9944"/>
                <a:gd name="connsiteX83" fmla="*/ 1223 w 10000"/>
                <a:gd name="connsiteY83" fmla="*/ 210 h 9944"/>
                <a:gd name="connsiteX84" fmla="*/ 1149 w 10000"/>
                <a:gd name="connsiteY84" fmla="*/ 307 h 9944"/>
                <a:gd name="connsiteX85" fmla="*/ 1067 w 10000"/>
                <a:gd name="connsiteY85" fmla="*/ 407 h 9944"/>
                <a:gd name="connsiteX86" fmla="*/ 1001 w 10000"/>
                <a:gd name="connsiteY86" fmla="*/ 505 h 9944"/>
                <a:gd name="connsiteX87" fmla="*/ 927 w 10000"/>
                <a:gd name="connsiteY87" fmla="*/ 604 h 9944"/>
                <a:gd name="connsiteX88" fmla="*/ 860 w 10000"/>
                <a:gd name="connsiteY88" fmla="*/ 706 h 9944"/>
                <a:gd name="connsiteX89" fmla="*/ 793 w 10000"/>
                <a:gd name="connsiteY89" fmla="*/ 810 h 9944"/>
                <a:gd name="connsiteX90" fmla="*/ 734 w 10000"/>
                <a:gd name="connsiteY90" fmla="*/ 907 h 9944"/>
                <a:gd name="connsiteX91" fmla="*/ 675 w 10000"/>
                <a:gd name="connsiteY91" fmla="*/ 1011 h 9944"/>
                <a:gd name="connsiteX92" fmla="*/ 615 w 10000"/>
                <a:gd name="connsiteY92" fmla="*/ 1113 h 9944"/>
                <a:gd name="connsiteX93" fmla="*/ 556 w 10000"/>
                <a:gd name="connsiteY93" fmla="*/ 1221 h 9944"/>
                <a:gd name="connsiteX94" fmla="*/ 504 w 10000"/>
                <a:gd name="connsiteY94" fmla="*/ 1319 h 9944"/>
                <a:gd name="connsiteX95" fmla="*/ 452 w 10000"/>
                <a:gd name="connsiteY95" fmla="*/ 1425 h 9944"/>
                <a:gd name="connsiteX96" fmla="*/ 408 w 10000"/>
                <a:gd name="connsiteY96" fmla="*/ 1529 h 9944"/>
                <a:gd name="connsiteX97" fmla="*/ 363 w 10000"/>
                <a:gd name="connsiteY97" fmla="*/ 1636 h 9944"/>
                <a:gd name="connsiteX98" fmla="*/ 319 w 10000"/>
                <a:gd name="connsiteY98" fmla="*/ 1744 h 9944"/>
                <a:gd name="connsiteX99" fmla="*/ 282 w 10000"/>
                <a:gd name="connsiteY99" fmla="*/ 1852 h 9944"/>
                <a:gd name="connsiteX100" fmla="*/ 237 w 10000"/>
                <a:gd name="connsiteY100" fmla="*/ 1965 h 9944"/>
                <a:gd name="connsiteX101" fmla="*/ 208 w 10000"/>
                <a:gd name="connsiteY101" fmla="*/ 2071 h 9944"/>
                <a:gd name="connsiteX102" fmla="*/ 170 w 10000"/>
                <a:gd name="connsiteY102" fmla="*/ 2184 h 9944"/>
                <a:gd name="connsiteX103" fmla="*/ 148 w 10000"/>
                <a:gd name="connsiteY103" fmla="*/ 2295 h 9944"/>
                <a:gd name="connsiteX104" fmla="*/ 119 w 10000"/>
                <a:gd name="connsiteY104" fmla="*/ 2403 h 9944"/>
                <a:gd name="connsiteX105" fmla="*/ 96 w 10000"/>
                <a:gd name="connsiteY105" fmla="*/ 2514 h 9944"/>
                <a:gd name="connsiteX106" fmla="*/ 74 w 10000"/>
                <a:gd name="connsiteY106" fmla="*/ 2629 h 9944"/>
                <a:gd name="connsiteX107" fmla="*/ 52 w 10000"/>
                <a:gd name="connsiteY107" fmla="*/ 2745 h 9944"/>
                <a:gd name="connsiteX108" fmla="*/ 37 w 10000"/>
                <a:gd name="connsiteY108" fmla="*/ 2858 h 9944"/>
                <a:gd name="connsiteX109" fmla="*/ 22 w 10000"/>
                <a:gd name="connsiteY109" fmla="*/ 2969 h 9944"/>
                <a:gd name="connsiteX110" fmla="*/ 15 w 10000"/>
                <a:gd name="connsiteY110" fmla="*/ 3082 h 9944"/>
                <a:gd name="connsiteX111" fmla="*/ 7 w 10000"/>
                <a:gd name="connsiteY111" fmla="*/ 3199 h 9944"/>
                <a:gd name="connsiteX112" fmla="*/ 0 w 10000"/>
                <a:gd name="connsiteY112" fmla="*/ 3311 h 9944"/>
                <a:gd name="connsiteX113" fmla="*/ 0 w 10000"/>
                <a:gd name="connsiteY113" fmla="*/ 3429 h 9944"/>
                <a:gd name="connsiteX114" fmla="*/ 7 w 10000"/>
                <a:gd name="connsiteY114" fmla="*/ 3578 h 9944"/>
                <a:gd name="connsiteX115" fmla="*/ 7 w 10000"/>
                <a:gd name="connsiteY115" fmla="*/ 3727 h 9944"/>
                <a:gd name="connsiteX116" fmla="*/ 22 w 10000"/>
                <a:gd name="connsiteY116" fmla="*/ 3868 h 9944"/>
                <a:gd name="connsiteX117" fmla="*/ 37 w 10000"/>
                <a:gd name="connsiteY117" fmla="*/ 4013 h 9944"/>
                <a:gd name="connsiteX118" fmla="*/ 59 w 10000"/>
                <a:gd name="connsiteY118" fmla="*/ 4159 h 9944"/>
                <a:gd name="connsiteX119" fmla="*/ 89 w 10000"/>
                <a:gd name="connsiteY119" fmla="*/ 4303 h 9944"/>
                <a:gd name="connsiteX120" fmla="*/ 119 w 10000"/>
                <a:gd name="connsiteY120" fmla="*/ 4447 h 9944"/>
                <a:gd name="connsiteX121" fmla="*/ 148 w 10000"/>
                <a:gd name="connsiteY121" fmla="*/ 4593 h 9944"/>
                <a:gd name="connsiteX122" fmla="*/ 193 w 10000"/>
                <a:gd name="connsiteY122" fmla="*/ 4734 h 9944"/>
                <a:gd name="connsiteX123" fmla="*/ 237 w 10000"/>
                <a:gd name="connsiteY123" fmla="*/ 4873 h 9944"/>
                <a:gd name="connsiteX124" fmla="*/ 282 w 10000"/>
                <a:gd name="connsiteY124" fmla="*/ 5014 h 9944"/>
                <a:gd name="connsiteX125" fmla="*/ 334 w 10000"/>
                <a:gd name="connsiteY125" fmla="*/ 5153 h 9944"/>
                <a:gd name="connsiteX126" fmla="*/ 393 w 10000"/>
                <a:gd name="connsiteY126" fmla="*/ 5290 h 9944"/>
                <a:gd name="connsiteX127" fmla="*/ 452 w 10000"/>
                <a:gd name="connsiteY127" fmla="*/ 5425 h 9944"/>
                <a:gd name="connsiteX128" fmla="*/ 519 w 10000"/>
                <a:gd name="connsiteY128" fmla="*/ 5561 h 9944"/>
                <a:gd name="connsiteX129" fmla="*/ 586 w 10000"/>
                <a:gd name="connsiteY129" fmla="*/ 5698 h 9944"/>
                <a:gd name="connsiteX130" fmla="*/ 660 w 10000"/>
                <a:gd name="connsiteY130" fmla="*/ 5827 h 9944"/>
                <a:gd name="connsiteX131" fmla="*/ 741 w 10000"/>
                <a:gd name="connsiteY131" fmla="*/ 5958 h 9944"/>
                <a:gd name="connsiteX132" fmla="*/ 823 w 10000"/>
                <a:gd name="connsiteY132" fmla="*/ 6094 h 9944"/>
                <a:gd name="connsiteX133" fmla="*/ 904 w 10000"/>
                <a:gd name="connsiteY133" fmla="*/ 6220 h 9944"/>
                <a:gd name="connsiteX134" fmla="*/ 993 w 10000"/>
                <a:gd name="connsiteY134" fmla="*/ 6347 h 9944"/>
                <a:gd name="connsiteX135" fmla="*/ 1090 w 10000"/>
                <a:gd name="connsiteY135" fmla="*/ 6468 h 9944"/>
                <a:gd name="connsiteX136" fmla="*/ 1186 w 10000"/>
                <a:gd name="connsiteY136" fmla="*/ 6595 h 9944"/>
                <a:gd name="connsiteX137" fmla="*/ 1290 w 10000"/>
                <a:gd name="connsiteY137" fmla="*/ 6720 h 9944"/>
                <a:gd name="connsiteX138" fmla="*/ 1386 w 10000"/>
                <a:gd name="connsiteY138" fmla="*/ 6843 h 9944"/>
                <a:gd name="connsiteX139" fmla="*/ 1497 w 10000"/>
                <a:gd name="connsiteY139" fmla="*/ 6965 h 9944"/>
                <a:gd name="connsiteX140" fmla="*/ 1609 w 10000"/>
                <a:gd name="connsiteY140" fmla="*/ 7081 h 9944"/>
                <a:gd name="connsiteX141" fmla="*/ 1727 w 10000"/>
                <a:gd name="connsiteY141" fmla="*/ 7202 h 9944"/>
                <a:gd name="connsiteX142" fmla="*/ 1846 w 10000"/>
                <a:gd name="connsiteY142" fmla="*/ 7319 h 9944"/>
                <a:gd name="connsiteX143" fmla="*/ 1964 w 10000"/>
                <a:gd name="connsiteY143" fmla="*/ 7432 h 9944"/>
                <a:gd name="connsiteX144" fmla="*/ 2090 w 10000"/>
                <a:gd name="connsiteY144" fmla="*/ 7543 h 9944"/>
                <a:gd name="connsiteX145" fmla="*/ 2224 w 10000"/>
                <a:gd name="connsiteY145" fmla="*/ 7657 h 9944"/>
                <a:gd name="connsiteX146" fmla="*/ 2350 w 10000"/>
                <a:gd name="connsiteY146" fmla="*/ 7768 h 9944"/>
                <a:gd name="connsiteX147" fmla="*/ 2491 w 10000"/>
                <a:gd name="connsiteY147" fmla="*/ 7876 h 9944"/>
                <a:gd name="connsiteX148" fmla="*/ 2617 w 10000"/>
                <a:gd name="connsiteY148" fmla="*/ 7984 h 9944"/>
                <a:gd name="connsiteX149" fmla="*/ 2765 w 10000"/>
                <a:gd name="connsiteY149" fmla="*/ 8087 h 9944"/>
                <a:gd name="connsiteX150" fmla="*/ 2906 w 10000"/>
                <a:gd name="connsiteY150" fmla="*/ 8189 h 9944"/>
                <a:gd name="connsiteX151" fmla="*/ 3054 w 10000"/>
                <a:gd name="connsiteY151" fmla="*/ 8292 h 9944"/>
                <a:gd name="connsiteX152" fmla="*/ 3210 w 10000"/>
                <a:gd name="connsiteY152" fmla="*/ 8392 h 9944"/>
                <a:gd name="connsiteX153" fmla="*/ 3358 w 10000"/>
                <a:gd name="connsiteY153" fmla="*/ 8489 h 9944"/>
                <a:gd name="connsiteX154" fmla="*/ 3514 w 10000"/>
                <a:gd name="connsiteY154" fmla="*/ 8587 h 9944"/>
                <a:gd name="connsiteX155" fmla="*/ 3677 w 10000"/>
                <a:gd name="connsiteY155" fmla="*/ 8681 h 9944"/>
                <a:gd name="connsiteX156" fmla="*/ 3840 w 10000"/>
                <a:gd name="connsiteY156" fmla="*/ 8770 h 9944"/>
                <a:gd name="connsiteX157" fmla="*/ 4010 w 10000"/>
                <a:gd name="connsiteY157" fmla="*/ 8862 h 9944"/>
                <a:gd name="connsiteX158" fmla="*/ 4181 w 10000"/>
                <a:gd name="connsiteY158" fmla="*/ 8943 h 9944"/>
                <a:gd name="connsiteX159" fmla="*/ 4351 w 10000"/>
                <a:gd name="connsiteY159" fmla="*/ 9030 h 9944"/>
                <a:gd name="connsiteX160" fmla="*/ 4522 w 10000"/>
                <a:gd name="connsiteY160" fmla="*/ 9111 h 9944"/>
                <a:gd name="connsiteX161" fmla="*/ 4700 w 10000"/>
                <a:gd name="connsiteY161" fmla="*/ 9196 h 9944"/>
                <a:gd name="connsiteX162" fmla="*/ 4878 w 10000"/>
                <a:gd name="connsiteY162" fmla="*/ 9275 h 9944"/>
                <a:gd name="connsiteX163" fmla="*/ 5063 w 10000"/>
                <a:gd name="connsiteY163" fmla="*/ 9350 h 9944"/>
                <a:gd name="connsiteX164" fmla="*/ 5248 w 10000"/>
                <a:gd name="connsiteY164" fmla="*/ 9429 h 9944"/>
                <a:gd name="connsiteX165" fmla="*/ 5426 w 10000"/>
                <a:gd name="connsiteY165" fmla="*/ 9499 h 9944"/>
                <a:gd name="connsiteX166" fmla="*/ 5619 w 10000"/>
                <a:gd name="connsiteY166" fmla="*/ 9569 h 9944"/>
                <a:gd name="connsiteX167" fmla="*/ 5812 w 10000"/>
                <a:gd name="connsiteY167" fmla="*/ 9639 h 9944"/>
                <a:gd name="connsiteX168" fmla="*/ 6004 w 10000"/>
                <a:gd name="connsiteY168" fmla="*/ 9703 h 9944"/>
                <a:gd name="connsiteX169" fmla="*/ 6205 w 10000"/>
                <a:gd name="connsiteY169" fmla="*/ 9771 h 9944"/>
                <a:gd name="connsiteX170" fmla="*/ 6397 w 10000"/>
                <a:gd name="connsiteY170" fmla="*/ 9832 h 9944"/>
                <a:gd name="connsiteX171" fmla="*/ 6605 w 10000"/>
                <a:gd name="connsiteY171" fmla="*/ 9887 h 9944"/>
                <a:gd name="connsiteX172" fmla="*/ 6805 w 10000"/>
                <a:gd name="connsiteY172" fmla="*/ 9944 h 9944"/>
                <a:gd name="connsiteX173" fmla="*/ 7539 w 10000"/>
                <a:gd name="connsiteY173" fmla="*/ 7899 h 9944"/>
                <a:gd name="connsiteX174" fmla="*/ 10000 w 10000"/>
                <a:gd name="connsiteY174" fmla="*/ 6253 h 9944"/>
                <a:gd name="connsiteX0" fmla="*/ 10000 w 10000"/>
                <a:gd name="connsiteY0" fmla="*/ 6288 h 9943"/>
                <a:gd name="connsiteX1" fmla="*/ 10000 w 10000"/>
                <a:gd name="connsiteY1" fmla="*/ 6288 h 9943"/>
                <a:gd name="connsiteX2" fmla="*/ 9911 w 10000"/>
                <a:gd name="connsiteY2" fmla="*/ 6273 h 9943"/>
                <a:gd name="connsiteX3" fmla="*/ 9815 w 10000"/>
                <a:gd name="connsiteY3" fmla="*/ 6255 h 9943"/>
                <a:gd name="connsiteX4" fmla="*/ 9726 w 10000"/>
                <a:gd name="connsiteY4" fmla="*/ 6237 h 9943"/>
                <a:gd name="connsiteX5" fmla="*/ 9637 w 10000"/>
                <a:gd name="connsiteY5" fmla="*/ 6213 h 9943"/>
                <a:gd name="connsiteX6" fmla="*/ 9548 w 10000"/>
                <a:gd name="connsiteY6" fmla="*/ 6194 h 9943"/>
                <a:gd name="connsiteX7" fmla="*/ 9466 w 10000"/>
                <a:gd name="connsiteY7" fmla="*/ 6171 h 9943"/>
                <a:gd name="connsiteX8" fmla="*/ 9377 w 10000"/>
                <a:gd name="connsiteY8" fmla="*/ 6147 h 9943"/>
                <a:gd name="connsiteX9" fmla="*/ 9288 w 10000"/>
                <a:gd name="connsiteY9" fmla="*/ 6124 h 9943"/>
                <a:gd name="connsiteX10" fmla="*/ 9118 w 10000"/>
                <a:gd name="connsiteY10" fmla="*/ 6071 h 9943"/>
                <a:gd name="connsiteX11" fmla="*/ 8955 w 10000"/>
                <a:gd name="connsiteY11" fmla="*/ 6015 h 9943"/>
                <a:gd name="connsiteX12" fmla="*/ 8792 w 10000"/>
                <a:gd name="connsiteY12" fmla="*/ 5955 h 9943"/>
                <a:gd name="connsiteX13" fmla="*/ 8636 w 10000"/>
                <a:gd name="connsiteY13" fmla="*/ 5889 h 9943"/>
                <a:gd name="connsiteX14" fmla="*/ 8480 w 10000"/>
                <a:gd name="connsiteY14" fmla="*/ 5822 h 9943"/>
                <a:gd name="connsiteX15" fmla="*/ 8340 w 10000"/>
                <a:gd name="connsiteY15" fmla="*/ 5753 h 9943"/>
                <a:gd name="connsiteX16" fmla="*/ 8199 w 10000"/>
                <a:gd name="connsiteY16" fmla="*/ 5677 h 9943"/>
                <a:gd name="connsiteX17" fmla="*/ 8058 w 10000"/>
                <a:gd name="connsiteY17" fmla="*/ 5596 h 9943"/>
                <a:gd name="connsiteX18" fmla="*/ 7924 w 10000"/>
                <a:gd name="connsiteY18" fmla="*/ 5514 h 9943"/>
                <a:gd name="connsiteX19" fmla="*/ 7798 w 10000"/>
                <a:gd name="connsiteY19" fmla="*/ 5426 h 9943"/>
                <a:gd name="connsiteX20" fmla="*/ 7672 w 10000"/>
                <a:gd name="connsiteY20" fmla="*/ 5338 h 9943"/>
                <a:gd name="connsiteX21" fmla="*/ 7554 w 10000"/>
                <a:gd name="connsiteY21" fmla="*/ 5248 h 9943"/>
                <a:gd name="connsiteX22" fmla="*/ 7450 w 10000"/>
                <a:gd name="connsiteY22" fmla="*/ 5150 h 9943"/>
                <a:gd name="connsiteX23" fmla="*/ 7346 w 10000"/>
                <a:gd name="connsiteY23" fmla="*/ 5051 h 9943"/>
                <a:gd name="connsiteX24" fmla="*/ 7250 w 10000"/>
                <a:gd name="connsiteY24" fmla="*/ 4953 h 9943"/>
                <a:gd name="connsiteX25" fmla="*/ 7161 w 10000"/>
                <a:gd name="connsiteY25" fmla="*/ 4850 h 9943"/>
                <a:gd name="connsiteX26" fmla="*/ 7072 w 10000"/>
                <a:gd name="connsiteY26" fmla="*/ 4745 h 9943"/>
                <a:gd name="connsiteX27" fmla="*/ 6990 w 10000"/>
                <a:gd name="connsiteY27" fmla="*/ 4633 h 9943"/>
                <a:gd name="connsiteX28" fmla="*/ 6953 w 10000"/>
                <a:gd name="connsiteY28" fmla="*/ 4582 h 9943"/>
                <a:gd name="connsiteX29" fmla="*/ 6916 w 10000"/>
                <a:gd name="connsiteY29" fmla="*/ 4523 h 9943"/>
                <a:gd name="connsiteX30" fmla="*/ 6887 w 10000"/>
                <a:gd name="connsiteY30" fmla="*/ 4468 h 9943"/>
                <a:gd name="connsiteX31" fmla="*/ 6850 w 10000"/>
                <a:gd name="connsiteY31" fmla="*/ 4413 h 9943"/>
                <a:gd name="connsiteX32" fmla="*/ 6820 w 10000"/>
                <a:gd name="connsiteY32" fmla="*/ 4356 h 9943"/>
                <a:gd name="connsiteX33" fmla="*/ 6790 w 10000"/>
                <a:gd name="connsiteY33" fmla="*/ 4298 h 9943"/>
                <a:gd name="connsiteX34" fmla="*/ 6768 w 10000"/>
                <a:gd name="connsiteY34" fmla="*/ 4238 h 9943"/>
                <a:gd name="connsiteX35" fmla="*/ 6738 w 10000"/>
                <a:gd name="connsiteY35" fmla="*/ 4182 h 9943"/>
                <a:gd name="connsiteX36" fmla="*/ 6723 w 10000"/>
                <a:gd name="connsiteY36" fmla="*/ 4120 h 9943"/>
                <a:gd name="connsiteX37" fmla="*/ 6694 w 10000"/>
                <a:gd name="connsiteY37" fmla="*/ 4063 h 9943"/>
                <a:gd name="connsiteX38" fmla="*/ 6679 w 10000"/>
                <a:gd name="connsiteY38" fmla="*/ 4002 h 9943"/>
                <a:gd name="connsiteX39" fmla="*/ 6664 w 10000"/>
                <a:gd name="connsiteY39" fmla="*/ 3941 h 9943"/>
                <a:gd name="connsiteX40" fmla="*/ 6649 w 10000"/>
                <a:gd name="connsiteY40" fmla="*/ 3880 h 9943"/>
                <a:gd name="connsiteX41" fmla="*/ 6635 w 10000"/>
                <a:gd name="connsiteY41" fmla="*/ 3823 h 9943"/>
                <a:gd name="connsiteX42" fmla="*/ 6620 w 10000"/>
                <a:gd name="connsiteY42" fmla="*/ 3762 h 9943"/>
                <a:gd name="connsiteX43" fmla="*/ 6612 w 10000"/>
                <a:gd name="connsiteY43" fmla="*/ 3702 h 9943"/>
                <a:gd name="connsiteX44" fmla="*/ 6605 w 10000"/>
                <a:gd name="connsiteY44" fmla="*/ 3639 h 9943"/>
                <a:gd name="connsiteX45" fmla="*/ 6597 w 10000"/>
                <a:gd name="connsiteY45" fmla="*/ 3574 h 9943"/>
                <a:gd name="connsiteX46" fmla="*/ 6597 w 10000"/>
                <a:gd name="connsiteY46" fmla="*/ 3514 h 9943"/>
                <a:gd name="connsiteX47" fmla="*/ 6590 w 10000"/>
                <a:gd name="connsiteY47" fmla="*/ 3448 h 9943"/>
                <a:gd name="connsiteX48" fmla="*/ 6597 w 10000"/>
                <a:gd name="connsiteY48" fmla="*/ 3386 h 9943"/>
                <a:gd name="connsiteX49" fmla="*/ 6605 w 10000"/>
                <a:gd name="connsiteY49" fmla="*/ 3317 h 9943"/>
                <a:gd name="connsiteX50" fmla="*/ 6605 w 10000"/>
                <a:gd name="connsiteY50" fmla="*/ 3250 h 9943"/>
                <a:gd name="connsiteX51" fmla="*/ 6612 w 10000"/>
                <a:gd name="connsiteY51" fmla="*/ 3182 h 9943"/>
                <a:gd name="connsiteX52" fmla="*/ 6620 w 10000"/>
                <a:gd name="connsiteY52" fmla="*/ 3117 h 9943"/>
                <a:gd name="connsiteX53" fmla="*/ 6635 w 10000"/>
                <a:gd name="connsiteY53" fmla="*/ 3058 h 9943"/>
                <a:gd name="connsiteX54" fmla="*/ 6649 w 10000"/>
                <a:gd name="connsiteY54" fmla="*/ 2991 h 9943"/>
                <a:gd name="connsiteX55" fmla="*/ 6664 w 10000"/>
                <a:gd name="connsiteY55" fmla="*/ 2929 h 9943"/>
                <a:gd name="connsiteX56" fmla="*/ 6686 w 10000"/>
                <a:gd name="connsiteY56" fmla="*/ 2865 h 9943"/>
                <a:gd name="connsiteX57" fmla="*/ 6709 w 10000"/>
                <a:gd name="connsiteY57" fmla="*/ 2803 h 9943"/>
                <a:gd name="connsiteX58" fmla="*/ 6731 w 10000"/>
                <a:gd name="connsiteY58" fmla="*/ 2741 h 9943"/>
                <a:gd name="connsiteX59" fmla="*/ 6753 w 10000"/>
                <a:gd name="connsiteY59" fmla="*/ 2676 h 9943"/>
                <a:gd name="connsiteX60" fmla="*/ 6783 w 10000"/>
                <a:gd name="connsiteY60" fmla="*/ 2621 h 9943"/>
                <a:gd name="connsiteX61" fmla="*/ 6812 w 10000"/>
                <a:gd name="connsiteY61" fmla="*/ 2558 h 9943"/>
                <a:gd name="connsiteX62" fmla="*/ 6842 w 10000"/>
                <a:gd name="connsiteY62" fmla="*/ 2496 h 9943"/>
                <a:gd name="connsiteX63" fmla="*/ 6879 w 10000"/>
                <a:gd name="connsiteY63" fmla="*/ 2437 h 9943"/>
                <a:gd name="connsiteX64" fmla="*/ 6909 w 10000"/>
                <a:gd name="connsiteY64" fmla="*/ 2380 h 9943"/>
                <a:gd name="connsiteX65" fmla="*/ 6946 w 10000"/>
                <a:gd name="connsiteY65" fmla="*/ 2317 h 9943"/>
                <a:gd name="connsiteX66" fmla="*/ 6990 w 10000"/>
                <a:gd name="connsiteY66" fmla="*/ 2262 h 9943"/>
                <a:gd name="connsiteX67" fmla="*/ 7027 w 10000"/>
                <a:gd name="connsiteY67" fmla="*/ 2205 h 9943"/>
                <a:gd name="connsiteX68" fmla="*/ 7072 w 10000"/>
                <a:gd name="connsiteY68" fmla="*/ 2150 h 9943"/>
                <a:gd name="connsiteX69" fmla="*/ 7109 w 10000"/>
                <a:gd name="connsiteY69" fmla="*/ 2092 h 9943"/>
                <a:gd name="connsiteX70" fmla="*/ 7161 w 10000"/>
                <a:gd name="connsiteY70" fmla="*/ 2041 h 9943"/>
                <a:gd name="connsiteX71" fmla="*/ 7213 w 10000"/>
                <a:gd name="connsiteY71" fmla="*/ 1985 h 9943"/>
                <a:gd name="connsiteX72" fmla="*/ 7257 w 10000"/>
                <a:gd name="connsiteY72" fmla="*/ 1930 h 9943"/>
                <a:gd name="connsiteX73" fmla="*/ 7309 w 10000"/>
                <a:gd name="connsiteY73" fmla="*/ 1876 h 9943"/>
                <a:gd name="connsiteX74" fmla="*/ 7361 w 10000"/>
                <a:gd name="connsiteY74" fmla="*/ 1823 h 9943"/>
                <a:gd name="connsiteX75" fmla="*/ 7413 w 10000"/>
                <a:gd name="connsiteY75" fmla="*/ 1773 h 9943"/>
                <a:gd name="connsiteX76" fmla="*/ 7472 w 10000"/>
                <a:gd name="connsiteY76" fmla="*/ 1722 h 9943"/>
                <a:gd name="connsiteX77" fmla="*/ 7524 w 10000"/>
                <a:gd name="connsiteY77" fmla="*/ 1674 h 9943"/>
                <a:gd name="connsiteX78" fmla="*/ 7583 w 10000"/>
                <a:gd name="connsiteY78" fmla="*/ 1625 h 9943"/>
                <a:gd name="connsiteX79" fmla="*/ 7610 w 10000"/>
                <a:gd name="connsiteY79" fmla="*/ 1596 h 9943"/>
                <a:gd name="connsiteX80" fmla="*/ 5390 w 10000"/>
                <a:gd name="connsiteY80" fmla="*/ 6 h 9943"/>
                <a:gd name="connsiteX81" fmla="*/ 1401 w 10000"/>
                <a:gd name="connsiteY81" fmla="*/ 0 h 9943"/>
                <a:gd name="connsiteX82" fmla="*/ 1305 w 10000"/>
                <a:gd name="connsiteY82" fmla="*/ 119 h 9943"/>
                <a:gd name="connsiteX83" fmla="*/ 1223 w 10000"/>
                <a:gd name="connsiteY83" fmla="*/ 211 h 9943"/>
                <a:gd name="connsiteX84" fmla="*/ 1149 w 10000"/>
                <a:gd name="connsiteY84" fmla="*/ 309 h 9943"/>
                <a:gd name="connsiteX85" fmla="*/ 1067 w 10000"/>
                <a:gd name="connsiteY85" fmla="*/ 409 h 9943"/>
                <a:gd name="connsiteX86" fmla="*/ 1001 w 10000"/>
                <a:gd name="connsiteY86" fmla="*/ 508 h 9943"/>
                <a:gd name="connsiteX87" fmla="*/ 927 w 10000"/>
                <a:gd name="connsiteY87" fmla="*/ 607 h 9943"/>
                <a:gd name="connsiteX88" fmla="*/ 860 w 10000"/>
                <a:gd name="connsiteY88" fmla="*/ 710 h 9943"/>
                <a:gd name="connsiteX89" fmla="*/ 793 w 10000"/>
                <a:gd name="connsiteY89" fmla="*/ 815 h 9943"/>
                <a:gd name="connsiteX90" fmla="*/ 734 w 10000"/>
                <a:gd name="connsiteY90" fmla="*/ 912 h 9943"/>
                <a:gd name="connsiteX91" fmla="*/ 675 w 10000"/>
                <a:gd name="connsiteY91" fmla="*/ 1017 h 9943"/>
                <a:gd name="connsiteX92" fmla="*/ 615 w 10000"/>
                <a:gd name="connsiteY92" fmla="*/ 1119 h 9943"/>
                <a:gd name="connsiteX93" fmla="*/ 556 w 10000"/>
                <a:gd name="connsiteY93" fmla="*/ 1228 h 9943"/>
                <a:gd name="connsiteX94" fmla="*/ 504 w 10000"/>
                <a:gd name="connsiteY94" fmla="*/ 1326 h 9943"/>
                <a:gd name="connsiteX95" fmla="*/ 452 w 10000"/>
                <a:gd name="connsiteY95" fmla="*/ 1433 h 9943"/>
                <a:gd name="connsiteX96" fmla="*/ 408 w 10000"/>
                <a:gd name="connsiteY96" fmla="*/ 1538 h 9943"/>
                <a:gd name="connsiteX97" fmla="*/ 363 w 10000"/>
                <a:gd name="connsiteY97" fmla="*/ 1645 h 9943"/>
                <a:gd name="connsiteX98" fmla="*/ 319 w 10000"/>
                <a:gd name="connsiteY98" fmla="*/ 1754 h 9943"/>
                <a:gd name="connsiteX99" fmla="*/ 282 w 10000"/>
                <a:gd name="connsiteY99" fmla="*/ 1862 h 9943"/>
                <a:gd name="connsiteX100" fmla="*/ 237 w 10000"/>
                <a:gd name="connsiteY100" fmla="*/ 1976 h 9943"/>
                <a:gd name="connsiteX101" fmla="*/ 208 w 10000"/>
                <a:gd name="connsiteY101" fmla="*/ 2083 h 9943"/>
                <a:gd name="connsiteX102" fmla="*/ 170 w 10000"/>
                <a:gd name="connsiteY102" fmla="*/ 2196 h 9943"/>
                <a:gd name="connsiteX103" fmla="*/ 148 w 10000"/>
                <a:gd name="connsiteY103" fmla="*/ 2308 h 9943"/>
                <a:gd name="connsiteX104" fmla="*/ 119 w 10000"/>
                <a:gd name="connsiteY104" fmla="*/ 2417 h 9943"/>
                <a:gd name="connsiteX105" fmla="*/ 96 w 10000"/>
                <a:gd name="connsiteY105" fmla="*/ 2528 h 9943"/>
                <a:gd name="connsiteX106" fmla="*/ 74 w 10000"/>
                <a:gd name="connsiteY106" fmla="*/ 2644 h 9943"/>
                <a:gd name="connsiteX107" fmla="*/ 52 w 10000"/>
                <a:gd name="connsiteY107" fmla="*/ 2760 h 9943"/>
                <a:gd name="connsiteX108" fmla="*/ 37 w 10000"/>
                <a:gd name="connsiteY108" fmla="*/ 2874 h 9943"/>
                <a:gd name="connsiteX109" fmla="*/ 22 w 10000"/>
                <a:gd name="connsiteY109" fmla="*/ 2986 h 9943"/>
                <a:gd name="connsiteX110" fmla="*/ 15 w 10000"/>
                <a:gd name="connsiteY110" fmla="*/ 3099 h 9943"/>
                <a:gd name="connsiteX111" fmla="*/ 7 w 10000"/>
                <a:gd name="connsiteY111" fmla="*/ 3217 h 9943"/>
                <a:gd name="connsiteX112" fmla="*/ 0 w 10000"/>
                <a:gd name="connsiteY112" fmla="*/ 3330 h 9943"/>
                <a:gd name="connsiteX113" fmla="*/ 0 w 10000"/>
                <a:gd name="connsiteY113" fmla="*/ 3448 h 9943"/>
                <a:gd name="connsiteX114" fmla="*/ 7 w 10000"/>
                <a:gd name="connsiteY114" fmla="*/ 3598 h 9943"/>
                <a:gd name="connsiteX115" fmla="*/ 7 w 10000"/>
                <a:gd name="connsiteY115" fmla="*/ 3748 h 9943"/>
                <a:gd name="connsiteX116" fmla="*/ 22 w 10000"/>
                <a:gd name="connsiteY116" fmla="*/ 3890 h 9943"/>
                <a:gd name="connsiteX117" fmla="*/ 37 w 10000"/>
                <a:gd name="connsiteY117" fmla="*/ 4036 h 9943"/>
                <a:gd name="connsiteX118" fmla="*/ 59 w 10000"/>
                <a:gd name="connsiteY118" fmla="*/ 4182 h 9943"/>
                <a:gd name="connsiteX119" fmla="*/ 89 w 10000"/>
                <a:gd name="connsiteY119" fmla="*/ 4327 h 9943"/>
                <a:gd name="connsiteX120" fmla="*/ 119 w 10000"/>
                <a:gd name="connsiteY120" fmla="*/ 4472 h 9943"/>
                <a:gd name="connsiteX121" fmla="*/ 148 w 10000"/>
                <a:gd name="connsiteY121" fmla="*/ 4619 h 9943"/>
                <a:gd name="connsiteX122" fmla="*/ 193 w 10000"/>
                <a:gd name="connsiteY122" fmla="*/ 4761 h 9943"/>
                <a:gd name="connsiteX123" fmla="*/ 237 w 10000"/>
                <a:gd name="connsiteY123" fmla="*/ 4900 h 9943"/>
                <a:gd name="connsiteX124" fmla="*/ 282 w 10000"/>
                <a:gd name="connsiteY124" fmla="*/ 5042 h 9943"/>
                <a:gd name="connsiteX125" fmla="*/ 334 w 10000"/>
                <a:gd name="connsiteY125" fmla="*/ 5182 h 9943"/>
                <a:gd name="connsiteX126" fmla="*/ 393 w 10000"/>
                <a:gd name="connsiteY126" fmla="*/ 5320 h 9943"/>
                <a:gd name="connsiteX127" fmla="*/ 452 w 10000"/>
                <a:gd name="connsiteY127" fmla="*/ 5456 h 9943"/>
                <a:gd name="connsiteX128" fmla="*/ 519 w 10000"/>
                <a:gd name="connsiteY128" fmla="*/ 5592 h 9943"/>
                <a:gd name="connsiteX129" fmla="*/ 586 w 10000"/>
                <a:gd name="connsiteY129" fmla="*/ 5730 h 9943"/>
                <a:gd name="connsiteX130" fmla="*/ 660 w 10000"/>
                <a:gd name="connsiteY130" fmla="*/ 5860 h 9943"/>
                <a:gd name="connsiteX131" fmla="*/ 741 w 10000"/>
                <a:gd name="connsiteY131" fmla="*/ 5992 h 9943"/>
                <a:gd name="connsiteX132" fmla="*/ 823 w 10000"/>
                <a:gd name="connsiteY132" fmla="*/ 6128 h 9943"/>
                <a:gd name="connsiteX133" fmla="*/ 904 w 10000"/>
                <a:gd name="connsiteY133" fmla="*/ 6255 h 9943"/>
                <a:gd name="connsiteX134" fmla="*/ 993 w 10000"/>
                <a:gd name="connsiteY134" fmla="*/ 6383 h 9943"/>
                <a:gd name="connsiteX135" fmla="*/ 1090 w 10000"/>
                <a:gd name="connsiteY135" fmla="*/ 6504 h 9943"/>
                <a:gd name="connsiteX136" fmla="*/ 1186 w 10000"/>
                <a:gd name="connsiteY136" fmla="*/ 6632 h 9943"/>
                <a:gd name="connsiteX137" fmla="*/ 1290 w 10000"/>
                <a:gd name="connsiteY137" fmla="*/ 6758 h 9943"/>
                <a:gd name="connsiteX138" fmla="*/ 1386 w 10000"/>
                <a:gd name="connsiteY138" fmla="*/ 6882 h 9943"/>
                <a:gd name="connsiteX139" fmla="*/ 1497 w 10000"/>
                <a:gd name="connsiteY139" fmla="*/ 7004 h 9943"/>
                <a:gd name="connsiteX140" fmla="*/ 1609 w 10000"/>
                <a:gd name="connsiteY140" fmla="*/ 7121 h 9943"/>
                <a:gd name="connsiteX141" fmla="*/ 1727 w 10000"/>
                <a:gd name="connsiteY141" fmla="*/ 7243 h 9943"/>
                <a:gd name="connsiteX142" fmla="*/ 1846 w 10000"/>
                <a:gd name="connsiteY142" fmla="*/ 7360 h 9943"/>
                <a:gd name="connsiteX143" fmla="*/ 1964 w 10000"/>
                <a:gd name="connsiteY143" fmla="*/ 7474 h 9943"/>
                <a:gd name="connsiteX144" fmla="*/ 2090 w 10000"/>
                <a:gd name="connsiteY144" fmla="*/ 7585 h 9943"/>
                <a:gd name="connsiteX145" fmla="*/ 2224 w 10000"/>
                <a:gd name="connsiteY145" fmla="*/ 7700 h 9943"/>
                <a:gd name="connsiteX146" fmla="*/ 2350 w 10000"/>
                <a:gd name="connsiteY146" fmla="*/ 7812 h 9943"/>
                <a:gd name="connsiteX147" fmla="*/ 2491 w 10000"/>
                <a:gd name="connsiteY147" fmla="*/ 7920 h 9943"/>
                <a:gd name="connsiteX148" fmla="*/ 2617 w 10000"/>
                <a:gd name="connsiteY148" fmla="*/ 8029 h 9943"/>
                <a:gd name="connsiteX149" fmla="*/ 2765 w 10000"/>
                <a:gd name="connsiteY149" fmla="*/ 8133 h 9943"/>
                <a:gd name="connsiteX150" fmla="*/ 2906 w 10000"/>
                <a:gd name="connsiteY150" fmla="*/ 8235 h 9943"/>
                <a:gd name="connsiteX151" fmla="*/ 3054 w 10000"/>
                <a:gd name="connsiteY151" fmla="*/ 8339 h 9943"/>
                <a:gd name="connsiteX152" fmla="*/ 3210 w 10000"/>
                <a:gd name="connsiteY152" fmla="*/ 8439 h 9943"/>
                <a:gd name="connsiteX153" fmla="*/ 3358 w 10000"/>
                <a:gd name="connsiteY153" fmla="*/ 8537 h 9943"/>
                <a:gd name="connsiteX154" fmla="*/ 3514 w 10000"/>
                <a:gd name="connsiteY154" fmla="*/ 8635 h 9943"/>
                <a:gd name="connsiteX155" fmla="*/ 3677 w 10000"/>
                <a:gd name="connsiteY155" fmla="*/ 8730 h 9943"/>
                <a:gd name="connsiteX156" fmla="*/ 3840 w 10000"/>
                <a:gd name="connsiteY156" fmla="*/ 8819 h 9943"/>
                <a:gd name="connsiteX157" fmla="*/ 4010 w 10000"/>
                <a:gd name="connsiteY157" fmla="*/ 8912 h 9943"/>
                <a:gd name="connsiteX158" fmla="*/ 4181 w 10000"/>
                <a:gd name="connsiteY158" fmla="*/ 8993 h 9943"/>
                <a:gd name="connsiteX159" fmla="*/ 4351 w 10000"/>
                <a:gd name="connsiteY159" fmla="*/ 9081 h 9943"/>
                <a:gd name="connsiteX160" fmla="*/ 4522 w 10000"/>
                <a:gd name="connsiteY160" fmla="*/ 9162 h 9943"/>
                <a:gd name="connsiteX161" fmla="*/ 4700 w 10000"/>
                <a:gd name="connsiteY161" fmla="*/ 9248 h 9943"/>
                <a:gd name="connsiteX162" fmla="*/ 4878 w 10000"/>
                <a:gd name="connsiteY162" fmla="*/ 9327 h 9943"/>
                <a:gd name="connsiteX163" fmla="*/ 5063 w 10000"/>
                <a:gd name="connsiteY163" fmla="*/ 9403 h 9943"/>
                <a:gd name="connsiteX164" fmla="*/ 5248 w 10000"/>
                <a:gd name="connsiteY164" fmla="*/ 9482 h 9943"/>
                <a:gd name="connsiteX165" fmla="*/ 5426 w 10000"/>
                <a:gd name="connsiteY165" fmla="*/ 9552 h 9943"/>
                <a:gd name="connsiteX166" fmla="*/ 5619 w 10000"/>
                <a:gd name="connsiteY166" fmla="*/ 9623 h 9943"/>
                <a:gd name="connsiteX167" fmla="*/ 5812 w 10000"/>
                <a:gd name="connsiteY167" fmla="*/ 9693 h 9943"/>
                <a:gd name="connsiteX168" fmla="*/ 6004 w 10000"/>
                <a:gd name="connsiteY168" fmla="*/ 9758 h 9943"/>
                <a:gd name="connsiteX169" fmla="*/ 6205 w 10000"/>
                <a:gd name="connsiteY169" fmla="*/ 9826 h 9943"/>
                <a:gd name="connsiteX170" fmla="*/ 6397 w 10000"/>
                <a:gd name="connsiteY170" fmla="*/ 9887 h 9943"/>
                <a:gd name="connsiteX171" fmla="*/ 6605 w 10000"/>
                <a:gd name="connsiteY171" fmla="*/ 9943 h 9943"/>
                <a:gd name="connsiteX172" fmla="*/ 7539 w 10000"/>
                <a:gd name="connsiteY172" fmla="*/ 7943 h 9943"/>
                <a:gd name="connsiteX173" fmla="*/ 10000 w 10000"/>
                <a:gd name="connsiteY173" fmla="*/ 6288 h 9943"/>
                <a:gd name="connsiteX0" fmla="*/ 10000 w 10000"/>
                <a:gd name="connsiteY0" fmla="*/ 6324 h 9944"/>
                <a:gd name="connsiteX1" fmla="*/ 10000 w 10000"/>
                <a:gd name="connsiteY1" fmla="*/ 6324 h 9944"/>
                <a:gd name="connsiteX2" fmla="*/ 9911 w 10000"/>
                <a:gd name="connsiteY2" fmla="*/ 6309 h 9944"/>
                <a:gd name="connsiteX3" fmla="*/ 9815 w 10000"/>
                <a:gd name="connsiteY3" fmla="*/ 6291 h 9944"/>
                <a:gd name="connsiteX4" fmla="*/ 9726 w 10000"/>
                <a:gd name="connsiteY4" fmla="*/ 6273 h 9944"/>
                <a:gd name="connsiteX5" fmla="*/ 9637 w 10000"/>
                <a:gd name="connsiteY5" fmla="*/ 6249 h 9944"/>
                <a:gd name="connsiteX6" fmla="*/ 9548 w 10000"/>
                <a:gd name="connsiteY6" fmla="*/ 6230 h 9944"/>
                <a:gd name="connsiteX7" fmla="*/ 9466 w 10000"/>
                <a:gd name="connsiteY7" fmla="*/ 6206 h 9944"/>
                <a:gd name="connsiteX8" fmla="*/ 9377 w 10000"/>
                <a:gd name="connsiteY8" fmla="*/ 6182 h 9944"/>
                <a:gd name="connsiteX9" fmla="*/ 9288 w 10000"/>
                <a:gd name="connsiteY9" fmla="*/ 6159 h 9944"/>
                <a:gd name="connsiteX10" fmla="*/ 9118 w 10000"/>
                <a:gd name="connsiteY10" fmla="*/ 6106 h 9944"/>
                <a:gd name="connsiteX11" fmla="*/ 8955 w 10000"/>
                <a:gd name="connsiteY11" fmla="*/ 6049 h 9944"/>
                <a:gd name="connsiteX12" fmla="*/ 8792 w 10000"/>
                <a:gd name="connsiteY12" fmla="*/ 5989 h 9944"/>
                <a:gd name="connsiteX13" fmla="*/ 8636 w 10000"/>
                <a:gd name="connsiteY13" fmla="*/ 5923 h 9944"/>
                <a:gd name="connsiteX14" fmla="*/ 8480 w 10000"/>
                <a:gd name="connsiteY14" fmla="*/ 5855 h 9944"/>
                <a:gd name="connsiteX15" fmla="*/ 8340 w 10000"/>
                <a:gd name="connsiteY15" fmla="*/ 5786 h 9944"/>
                <a:gd name="connsiteX16" fmla="*/ 8199 w 10000"/>
                <a:gd name="connsiteY16" fmla="*/ 5710 h 9944"/>
                <a:gd name="connsiteX17" fmla="*/ 8058 w 10000"/>
                <a:gd name="connsiteY17" fmla="*/ 5628 h 9944"/>
                <a:gd name="connsiteX18" fmla="*/ 7924 w 10000"/>
                <a:gd name="connsiteY18" fmla="*/ 5546 h 9944"/>
                <a:gd name="connsiteX19" fmla="*/ 7798 w 10000"/>
                <a:gd name="connsiteY19" fmla="*/ 5457 h 9944"/>
                <a:gd name="connsiteX20" fmla="*/ 7672 w 10000"/>
                <a:gd name="connsiteY20" fmla="*/ 5369 h 9944"/>
                <a:gd name="connsiteX21" fmla="*/ 7554 w 10000"/>
                <a:gd name="connsiteY21" fmla="*/ 5278 h 9944"/>
                <a:gd name="connsiteX22" fmla="*/ 7450 w 10000"/>
                <a:gd name="connsiteY22" fmla="*/ 5180 h 9944"/>
                <a:gd name="connsiteX23" fmla="*/ 7346 w 10000"/>
                <a:gd name="connsiteY23" fmla="*/ 5080 h 9944"/>
                <a:gd name="connsiteX24" fmla="*/ 7250 w 10000"/>
                <a:gd name="connsiteY24" fmla="*/ 4981 h 9944"/>
                <a:gd name="connsiteX25" fmla="*/ 7161 w 10000"/>
                <a:gd name="connsiteY25" fmla="*/ 4878 h 9944"/>
                <a:gd name="connsiteX26" fmla="*/ 7072 w 10000"/>
                <a:gd name="connsiteY26" fmla="*/ 4772 h 9944"/>
                <a:gd name="connsiteX27" fmla="*/ 6990 w 10000"/>
                <a:gd name="connsiteY27" fmla="*/ 4660 h 9944"/>
                <a:gd name="connsiteX28" fmla="*/ 6953 w 10000"/>
                <a:gd name="connsiteY28" fmla="*/ 4608 h 9944"/>
                <a:gd name="connsiteX29" fmla="*/ 6916 w 10000"/>
                <a:gd name="connsiteY29" fmla="*/ 4549 h 9944"/>
                <a:gd name="connsiteX30" fmla="*/ 6887 w 10000"/>
                <a:gd name="connsiteY30" fmla="*/ 4494 h 9944"/>
                <a:gd name="connsiteX31" fmla="*/ 6850 w 10000"/>
                <a:gd name="connsiteY31" fmla="*/ 4438 h 9944"/>
                <a:gd name="connsiteX32" fmla="*/ 6820 w 10000"/>
                <a:gd name="connsiteY32" fmla="*/ 4381 h 9944"/>
                <a:gd name="connsiteX33" fmla="*/ 6790 w 10000"/>
                <a:gd name="connsiteY33" fmla="*/ 4323 h 9944"/>
                <a:gd name="connsiteX34" fmla="*/ 6768 w 10000"/>
                <a:gd name="connsiteY34" fmla="*/ 4262 h 9944"/>
                <a:gd name="connsiteX35" fmla="*/ 6738 w 10000"/>
                <a:gd name="connsiteY35" fmla="*/ 4206 h 9944"/>
                <a:gd name="connsiteX36" fmla="*/ 6723 w 10000"/>
                <a:gd name="connsiteY36" fmla="*/ 4144 h 9944"/>
                <a:gd name="connsiteX37" fmla="*/ 6694 w 10000"/>
                <a:gd name="connsiteY37" fmla="*/ 4086 h 9944"/>
                <a:gd name="connsiteX38" fmla="*/ 6679 w 10000"/>
                <a:gd name="connsiteY38" fmla="*/ 4025 h 9944"/>
                <a:gd name="connsiteX39" fmla="*/ 6664 w 10000"/>
                <a:gd name="connsiteY39" fmla="*/ 3964 h 9944"/>
                <a:gd name="connsiteX40" fmla="*/ 6649 w 10000"/>
                <a:gd name="connsiteY40" fmla="*/ 3902 h 9944"/>
                <a:gd name="connsiteX41" fmla="*/ 6635 w 10000"/>
                <a:gd name="connsiteY41" fmla="*/ 3845 h 9944"/>
                <a:gd name="connsiteX42" fmla="*/ 6620 w 10000"/>
                <a:gd name="connsiteY42" fmla="*/ 3784 h 9944"/>
                <a:gd name="connsiteX43" fmla="*/ 6612 w 10000"/>
                <a:gd name="connsiteY43" fmla="*/ 3723 h 9944"/>
                <a:gd name="connsiteX44" fmla="*/ 6605 w 10000"/>
                <a:gd name="connsiteY44" fmla="*/ 3660 h 9944"/>
                <a:gd name="connsiteX45" fmla="*/ 6597 w 10000"/>
                <a:gd name="connsiteY45" fmla="*/ 3594 h 9944"/>
                <a:gd name="connsiteX46" fmla="*/ 6597 w 10000"/>
                <a:gd name="connsiteY46" fmla="*/ 3534 h 9944"/>
                <a:gd name="connsiteX47" fmla="*/ 6590 w 10000"/>
                <a:gd name="connsiteY47" fmla="*/ 3468 h 9944"/>
                <a:gd name="connsiteX48" fmla="*/ 6597 w 10000"/>
                <a:gd name="connsiteY48" fmla="*/ 3405 h 9944"/>
                <a:gd name="connsiteX49" fmla="*/ 6605 w 10000"/>
                <a:gd name="connsiteY49" fmla="*/ 3336 h 9944"/>
                <a:gd name="connsiteX50" fmla="*/ 6605 w 10000"/>
                <a:gd name="connsiteY50" fmla="*/ 3269 h 9944"/>
                <a:gd name="connsiteX51" fmla="*/ 6612 w 10000"/>
                <a:gd name="connsiteY51" fmla="*/ 3200 h 9944"/>
                <a:gd name="connsiteX52" fmla="*/ 6620 w 10000"/>
                <a:gd name="connsiteY52" fmla="*/ 3135 h 9944"/>
                <a:gd name="connsiteX53" fmla="*/ 6635 w 10000"/>
                <a:gd name="connsiteY53" fmla="*/ 3076 h 9944"/>
                <a:gd name="connsiteX54" fmla="*/ 6649 w 10000"/>
                <a:gd name="connsiteY54" fmla="*/ 3008 h 9944"/>
                <a:gd name="connsiteX55" fmla="*/ 6664 w 10000"/>
                <a:gd name="connsiteY55" fmla="*/ 2946 h 9944"/>
                <a:gd name="connsiteX56" fmla="*/ 6686 w 10000"/>
                <a:gd name="connsiteY56" fmla="*/ 2881 h 9944"/>
                <a:gd name="connsiteX57" fmla="*/ 6709 w 10000"/>
                <a:gd name="connsiteY57" fmla="*/ 2819 h 9944"/>
                <a:gd name="connsiteX58" fmla="*/ 6731 w 10000"/>
                <a:gd name="connsiteY58" fmla="*/ 2757 h 9944"/>
                <a:gd name="connsiteX59" fmla="*/ 6753 w 10000"/>
                <a:gd name="connsiteY59" fmla="*/ 2691 h 9944"/>
                <a:gd name="connsiteX60" fmla="*/ 6783 w 10000"/>
                <a:gd name="connsiteY60" fmla="*/ 2636 h 9944"/>
                <a:gd name="connsiteX61" fmla="*/ 6812 w 10000"/>
                <a:gd name="connsiteY61" fmla="*/ 2573 h 9944"/>
                <a:gd name="connsiteX62" fmla="*/ 6842 w 10000"/>
                <a:gd name="connsiteY62" fmla="*/ 2510 h 9944"/>
                <a:gd name="connsiteX63" fmla="*/ 6879 w 10000"/>
                <a:gd name="connsiteY63" fmla="*/ 2451 h 9944"/>
                <a:gd name="connsiteX64" fmla="*/ 6909 w 10000"/>
                <a:gd name="connsiteY64" fmla="*/ 2394 h 9944"/>
                <a:gd name="connsiteX65" fmla="*/ 6946 w 10000"/>
                <a:gd name="connsiteY65" fmla="*/ 2330 h 9944"/>
                <a:gd name="connsiteX66" fmla="*/ 6990 w 10000"/>
                <a:gd name="connsiteY66" fmla="*/ 2275 h 9944"/>
                <a:gd name="connsiteX67" fmla="*/ 7027 w 10000"/>
                <a:gd name="connsiteY67" fmla="*/ 2218 h 9944"/>
                <a:gd name="connsiteX68" fmla="*/ 7072 w 10000"/>
                <a:gd name="connsiteY68" fmla="*/ 2162 h 9944"/>
                <a:gd name="connsiteX69" fmla="*/ 7109 w 10000"/>
                <a:gd name="connsiteY69" fmla="*/ 2104 h 9944"/>
                <a:gd name="connsiteX70" fmla="*/ 7161 w 10000"/>
                <a:gd name="connsiteY70" fmla="*/ 2053 h 9944"/>
                <a:gd name="connsiteX71" fmla="*/ 7213 w 10000"/>
                <a:gd name="connsiteY71" fmla="*/ 1996 h 9944"/>
                <a:gd name="connsiteX72" fmla="*/ 7257 w 10000"/>
                <a:gd name="connsiteY72" fmla="*/ 1941 h 9944"/>
                <a:gd name="connsiteX73" fmla="*/ 7309 w 10000"/>
                <a:gd name="connsiteY73" fmla="*/ 1887 h 9944"/>
                <a:gd name="connsiteX74" fmla="*/ 7361 w 10000"/>
                <a:gd name="connsiteY74" fmla="*/ 1833 h 9944"/>
                <a:gd name="connsiteX75" fmla="*/ 7413 w 10000"/>
                <a:gd name="connsiteY75" fmla="*/ 1783 h 9944"/>
                <a:gd name="connsiteX76" fmla="*/ 7472 w 10000"/>
                <a:gd name="connsiteY76" fmla="*/ 1732 h 9944"/>
                <a:gd name="connsiteX77" fmla="*/ 7524 w 10000"/>
                <a:gd name="connsiteY77" fmla="*/ 1684 h 9944"/>
                <a:gd name="connsiteX78" fmla="*/ 7583 w 10000"/>
                <a:gd name="connsiteY78" fmla="*/ 1634 h 9944"/>
                <a:gd name="connsiteX79" fmla="*/ 7610 w 10000"/>
                <a:gd name="connsiteY79" fmla="*/ 1605 h 9944"/>
                <a:gd name="connsiteX80" fmla="*/ 5390 w 10000"/>
                <a:gd name="connsiteY80" fmla="*/ 6 h 9944"/>
                <a:gd name="connsiteX81" fmla="*/ 1401 w 10000"/>
                <a:gd name="connsiteY81" fmla="*/ 0 h 9944"/>
                <a:gd name="connsiteX82" fmla="*/ 1305 w 10000"/>
                <a:gd name="connsiteY82" fmla="*/ 120 h 9944"/>
                <a:gd name="connsiteX83" fmla="*/ 1223 w 10000"/>
                <a:gd name="connsiteY83" fmla="*/ 212 h 9944"/>
                <a:gd name="connsiteX84" fmla="*/ 1149 w 10000"/>
                <a:gd name="connsiteY84" fmla="*/ 311 h 9944"/>
                <a:gd name="connsiteX85" fmla="*/ 1067 w 10000"/>
                <a:gd name="connsiteY85" fmla="*/ 411 h 9944"/>
                <a:gd name="connsiteX86" fmla="*/ 1001 w 10000"/>
                <a:gd name="connsiteY86" fmla="*/ 511 h 9944"/>
                <a:gd name="connsiteX87" fmla="*/ 927 w 10000"/>
                <a:gd name="connsiteY87" fmla="*/ 610 h 9944"/>
                <a:gd name="connsiteX88" fmla="*/ 860 w 10000"/>
                <a:gd name="connsiteY88" fmla="*/ 714 h 9944"/>
                <a:gd name="connsiteX89" fmla="*/ 793 w 10000"/>
                <a:gd name="connsiteY89" fmla="*/ 820 h 9944"/>
                <a:gd name="connsiteX90" fmla="*/ 734 w 10000"/>
                <a:gd name="connsiteY90" fmla="*/ 917 h 9944"/>
                <a:gd name="connsiteX91" fmla="*/ 675 w 10000"/>
                <a:gd name="connsiteY91" fmla="*/ 1023 h 9944"/>
                <a:gd name="connsiteX92" fmla="*/ 615 w 10000"/>
                <a:gd name="connsiteY92" fmla="*/ 1125 h 9944"/>
                <a:gd name="connsiteX93" fmla="*/ 556 w 10000"/>
                <a:gd name="connsiteY93" fmla="*/ 1235 h 9944"/>
                <a:gd name="connsiteX94" fmla="*/ 504 w 10000"/>
                <a:gd name="connsiteY94" fmla="*/ 1334 h 9944"/>
                <a:gd name="connsiteX95" fmla="*/ 452 w 10000"/>
                <a:gd name="connsiteY95" fmla="*/ 1441 h 9944"/>
                <a:gd name="connsiteX96" fmla="*/ 408 w 10000"/>
                <a:gd name="connsiteY96" fmla="*/ 1547 h 9944"/>
                <a:gd name="connsiteX97" fmla="*/ 363 w 10000"/>
                <a:gd name="connsiteY97" fmla="*/ 1654 h 9944"/>
                <a:gd name="connsiteX98" fmla="*/ 319 w 10000"/>
                <a:gd name="connsiteY98" fmla="*/ 1764 h 9944"/>
                <a:gd name="connsiteX99" fmla="*/ 282 w 10000"/>
                <a:gd name="connsiteY99" fmla="*/ 1873 h 9944"/>
                <a:gd name="connsiteX100" fmla="*/ 237 w 10000"/>
                <a:gd name="connsiteY100" fmla="*/ 1987 h 9944"/>
                <a:gd name="connsiteX101" fmla="*/ 208 w 10000"/>
                <a:gd name="connsiteY101" fmla="*/ 2095 h 9944"/>
                <a:gd name="connsiteX102" fmla="*/ 170 w 10000"/>
                <a:gd name="connsiteY102" fmla="*/ 2209 h 9944"/>
                <a:gd name="connsiteX103" fmla="*/ 148 w 10000"/>
                <a:gd name="connsiteY103" fmla="*/ 2321 h 9944"/>
                <a:gd name="connsiteX104" fmla="*/ 119 w 10000"/>
                <a:gd name="connsiteY104" fmla="*/ 2431 h 9944"/>
                <a:gd name="connsiteX105" fmla="*/ 96 w 10000"/>
                <a:gd name="connsiteY105" fmla="*/ 2542 h 9944"/>
                <a:gd name="connsiteX106" fmla="*/ 74 w 10000"/>
                <a:gd name="connsiteY106" fmla="*/ 2659 h 9944"/>
                <a:gd name="connsiteX107" fmla="*/ 52 w 10000"/>
                <a:gd name="connsiteY107" fmla="*/ 2776 h 9944"/>
                <a:gd name="connsiteX108" fmla="*/ 37 w 10000"/>
                <a:gd name="connsiteY108" fmla="*/ 2890 h 9944"/>
                <a:gd name="connsiteX109" fmla="*/ 22 w 10000"/>
                <a:gd name="connsiteY109" fmla="*/ 3003 h 9944"/>
                <a:gd name="connsiteX110" fmla="*/ 15 w 10000"/>
                <a:gd name="connsiteY110" fmla="*/ 3117 h 9944"/>
                <a:gd name="connsiteX111" fmla="*/ 7 w 10000"/>
                <a:gd name="connsiteY111" fmla="*/ 3235 h 9944"/>
                <a:gd name="connsiteX112" fmla="*/ 0 w 10000"/>
                <a:gd name="connsiteY112" fmla="*/ 3349 h 9944"/>
                <a:gd name="connsiteX113" fmla="*/ 0 w 10000"/>
                <a:gd name="connsiteY113" fmla="*/ 3468 h 9944"/>
                <a:gd name="connsiteX114" fmla="*/ 7 w 10000"/>
                <a:gd name="connsiteY114" fmla="*/ 3619 h 9944"/>
                <a:gd name="connsiteX115" fmla="*/ 7 w 10000"/>
                <a:gd name="connsiteY115" fmla="*/ 3769 h 9944"/>
                <a:gd name="connsiteX116" fmla="*/ 22 w 10000"/>
                <a:gd name="connsiteY116" fmla="*/ 3912 h 9944"/>
                <a:gd name="connsiteX117" fmla="*/ 37 w 10000"/>
                <a:gd name="connsiteY117" fmla="*/ 4059 h 9944"/>
                <a:gd name="connsiteX118" fmla="*/ 59 w 10000"/>
                <a:gd name="connsiteY118" fmla="*/ 4206 h 9944"/>
                <a:gd name="connsiteX119" fmla="*/ 89 w 10000"/>
                <a:gd name="connsiteY119" fmla="*/ 4352 h 9944"/>
                <a:gd name="connsiteX120" fmla="*/ 119 w 10000"/>
                <a:gd name="connsiteY120" fmla="*/ 4498 h 9944"/>
                <a:gd name="connsiteX121" fmla="*/ 148 w 10000"/>
                <a:gd name="connsiteY121" fmla="*/ 4645 h 9944"/>
                <a:gd name="connsiteX122" fmla="*/ 193 w 10000"/>
                <a:gd name="connsiteY122" fmla="*/ 4788 h 9944"/>
                <a:gd name="connsiteX123" fmla="*/ 237 w 10000"/>
                <a:gd name="connsiteY123" fmla="*/ 4928 h 9944"/>
                <a:gd name="connsiteX124" fmla="*/ 282 w 10000"/>
                <a:gd name="connsiteY124" fmla="*/ 5071 h 9944"/>
                <a:gd name="connsiteX125" fmla="*/ 334 w 10000"/>
                <a:gd name="connsiteY125" fmla="*/ 5212 h 9944"/>
                <a:gd name="connsiteX126" fmla="*/ 393 w 10000"/>
                <a:gd name="connsiteY126" fmla="*/ 5350 h 9944"/>
                <a:gd name="connsiteX127" fmla="*/ 452 w 10000"/>
                <a:gd name="connsiteY127" fmla="*/ 5487 h 9944"/>
                <a:gd name="connsiteX128" fmla="*/ 519 w 10000"/>
                <a:gd name="connsiteY128" fmla="*/ 5624 h 9944"/>
                <a:gd name="connsiteX129" fmla="*/ 586 w 10000"/>
                <a:gd name="connsiteY129" fmla="*/ 5763 h 9944"/>
                <a:gd name="connsiteX130" fmla="*/ 660 w 10000"/>
                <a:gd name="connsiteY130" fmla="*/ 5894 h 9944"/>
                <a:gd name="connsiteX131" fmla="*/ 741 w 10000"/>
                <a:gd name="connsiteY131" fmla="*/ 6026 h 9944"/>
                <a:gd name="connsiteX132" fmla="*/ 823 w 10000"/>
                <a:gd name="connsiteY132" fmla="*/ 6163 h 9944"/>
                <a:gd name="connsiteX133" fmla="*/ 904 w 10000"/>
                <a:gd name="connsiteY133" fmla="*/ 6291 h 9944"/>
                <a:gd name="connsiteX134" fmla="*/ 993 w 10000"/>
                <a:gd name="connsiteY134" fmla="*/ 6420 h 9944"/>
                <a:gd name="connsiteX135" fmla="*/ 1090 w 10000"/>
                <a:gd name="connsiteY135" fmla="*/ 6541 h 9944"/>
                <a:gd name="connsiteX136" fmla="*/ 1186 w 10000"/>
                <a:gd name="connsiteY136" fmla="*/ 6670 h 9944"/>
                <a:gd name="connsiteX137" fmla="*/ 1290 w 10000"/>
                <a:gd name="connsiteY137" fmla="*/ 6797 h 9944"/>
                <a:gd name="connsiteX138" fmla="*/ 1386 w 10000"/>
                <a:gd name="connsiteY138" fmla="*/ 6921 h 9944"/>
                <a:gd name="connsiteX139" fmla="*/ 1497 w 10000"/>
                <a:gd name="connsiteY139" fmla="*/ 7044 h 9944"/>
                <a:gd name="connsiteX140" fmla="*/ 1609 w 10000"/>
                <a:gd name="connsiteY140" fmla="*/ 7162 h 9944"/>
                <a:gd name="connsiteX141" fmla="*/ 1727 w 10000"/>
                <a:gd name="connsiteY141" fmla="*/ 7285 h 9944"/>
                <a:gd name="connsiteX142" fmla="*/ 1846 w 10000"/>
                <a:gd name="connsiteY142" fmla="*/ 7402 h 9944"/>
                <a:gd name="connsiteX143" fmla="*/ 1964 w 10000"/>
                <a:gd name="connsiteY143" fmla="*/ 7517 h 9944"/>
                <a:gd name="connsiteX144" fmla="*/ 2090 w 10000"/>
                <a:gd name="connsiteY144" fmla="*/ 7628 h 9944"/>
                <a:gd name="connsiteX145" fmla="*/ 2224 w 10000"/>
                <a:gd name="connsiteY145" fmla="*/ 7744 h 9944"/>
                <a:gd name="connsiteX146" fmla="*/ 2350 w 10000"/>
                <a:gd name="connsiteY146" fmla="*/ 7857 h 9944"/>
                <a:gd name="connsiteX147" fmla="*/ 2491 w 10000"/>
                <a:gd name="connsiteY147" fmla="*/ 7965 h 9944"/>
                <a:gd name="connsiteX148" fmla="*/ 2617 w 10000"/>
                <a:gd name="connsiteY148" fmla="*/ 8075 h 9944"/>
                <a:gd name="connsiteX149" fmla="*/ 2765 w 10000"/>
                <a:gd name="connsiteY149" fmla="*/ 8180 h 9944"/>
                <a:gd name="connsiteX150" fmla="*/ 2906 w 10000"/>
                <a:gd name="connsiteY150" fmla="*/ 8282 h 9944"/>
                <a:gd name="connsiteX151" fmla="*/ 3054 w 10000"/>
                <a:gd name="connsiteY151" fmla="*/ 8387 h 9944"/>
                <a:gd name="connsiteX152" fmla="*/ 3210 w 10000"/>
                <a:gd name="connsiteY152" fmla="*/ 8487 h 9944"/>
                <a:gd name="connsiteX153" fmla="*/ 3358 w 10000"/>
                <a:gd name="connsiteY153" fmla="*/ 8586 h 9944"/>
                <a:gd name="connsiteX154" fmla="*/ 3514 w 10000"/>
                <a:gd name="connsiteY154" fmla="*/ 8685 h 9944"/>
                <a:gd name="connsiteX155" fmla="*/ 3677 w 10000"/>
                <a:gd name="connsiteY155" fmla="*/ 8780 h 9944"/>
                <a:gd name="connsiteX156" fmla="*/ 3840 w 10000"/>
                <a:gd name="connsiteY156" fmla="*/ 8870 h 9944"/>
                <a:gd name="connsiteX157" fmla="*/ 4010 w 10000"/>
                <a:gd name="connsiteY157" fmla="*/ 8963 h 9944"/>
                <a:gd name="connsiteX158" fmla="*/ 4181 w 10000"/>
                <a:gd name="connsiteY158" fmla="*/ 9045 h 9944"/>
                <a:gd name="connsiteX159" fmla="*/ 4351 w 10000"/>
                <a:gd name="connsiteY159" fmla="*/ 9133 h 9944"/>
                <a:gd name="connsiteX160" fmla="*/ 4522 w 10000"/>
                <a:gd name="connsiteY160" fmla="*/ 9215 h 9944"/>
                <a:gd name="connsiteX161" fmla="*/ 4700 w 10000"/>
                <a:gd name="connsiteY161" fmla="*/ 9301 h 9944"/>
                <a:gd name="connsiteX162" fmla="*/ 4878 w 10000"/>
                <a:gd name="connsiteY162" fmla="*/ 9380 h 9944"/>
                <a:gd name="connsiteX163" fmla="*/ 5063 w 10000"/>
                <a:gd name="connsiteY163" fmla="*/ 9457 h 9944"/>
                <a:gd name="connsiteX164" fmla="*/ 5248 w 10000"/>
                <a:gd name="connsiteY164" fmla="*/ 9536 h 9944"/>
                <a:gd name="connsiteX165" fmla="*/ 5426 w 10000"/>
                <a:gd name="connsiteY165" fmla="*/ 9607 h 9944"/>
                <a:gd name="connsiteX166" fmla="*/ 5619 w 10000"/>
                <a:gd name="connsiteY166" fmla="*/ 9678 h 9944"/>
                <a:gd name="connsiteX167" fmla="*/ 5812 w 10000"/>
                <a:gd name="connsiteY167" fmla="*/ 9749 h 9944"/>
                <a:gd name="connsiteX168" fmla="*/ 6004 w 10000"/>
                <a:gd name="connsiteY168" fmla="*/ 9814 h 9944"/>
                <a:gd name="connsiteX169" fmla="*/ 6205 w 10000"/>
                <a:gd name="connsiteY169" fmla="*/ 9882 h 9944"/>
                <a:gd name="connsiteX170" fmla="*/ 6397 w 10000"/>
                <a:gd name="connsiteY170" fmla="*/ 9944 h 9944"/>
                <a:gd name="connsiteX171" fmla="*/ 7539 w 10000"/>
                <a:gd name="connsiteY171" fmla="*/ 7989 h 9944"/>
                <a:gd name="connsiteX172" fmla="*/ 10000 w 10000"/>
                <a:gd name="connsiteY172" fmla="*/ 6324 h 9944"/>
                <a:gd name="connsiteX0" fmla="*/ 10000 w 10000"/>
                <a:gd name="connsiteY0" fmla="*/ 6360 h 10000"/>
                <a:gd name="connsiteX1" fmla="*/ 10000 w 10000"/>
                <a:gd name="connsiteY1" fmla="*/ 6360 h 10000"/>
                <a:gd name="connsiteX2" fmla="*/ 9911 w 10000"/>
                <a:gd name="connsiteY2" fmla="*/ 6345 h 10000"/>
                <a:gd name="connsiteX3" fmla="*/ 9815 w 10000"/>
                <a:gd name="connsiteY3" fmla="*/ 6326 h 10000"/>
                <a:gd name="connsiteX4" fmla="*/ 9726 w 10000"/>
                <a:gd name="connsiteY4" fmla="*/ 6308 h 10000"/>
                <a:gd name="connsiteX5" fmla="*/ 9637 w 10000"/>
                <a:gd name="connsiteY5" fmla="*/ 6284 h 10000"/>
                <a:gd name="connsiteX6" fmla="*/ 9548 w 10000"/>
                <a:gd name="connsiteY6" fmla="*/ 6265 h 10000"/>
                <a:gd name="connsiteX7" fmla="*/ 9466 w 10000"/>
                <a:gd name="connsiteY7" fmla="*/ 6241 h 10000"/>
                <a:gd name="connsiteX8" fmla="*/ 9377 w 10000"/>
                <a:gd name="connsiteY8" fmla="*/ 6217 h 10000"/>
                <a:gd name="connsiteX9" fmla="*/ 9288 w 10000"/>
                <a:gd name="connsiteY9" fmla="*/ 6194 h 10000"/>
                <a:gd name="connsiteX10" fmla="*/ 9118 w 10000"/>
                <a:gd name="connsiteY10" fmla="*/ 6140 h 10000"/>
                <a:gd name="connsiteX11" fmla="*/ 8955 w 10000"/>
                <a:gd name="connsiteY11" fmla="*/ 6083 h 10000"/>
                <a:gd name="connsiteX12" fmla="*/ 8792 w 10000"/>
                <a:gd name="connsiteY12" fmla="*/ 6023 h 10000"/>
                <a:gd name="connsiteX13" fmla="*/ 8636 w 10000"/>
                <a:gd name="connsiteY13" fmla="*/ 5956 h 10000"/>
                <a:gd name="connsiteX14" fmla="*/ 8480 w 10000"/>
                <a:gd name="connsiteY14" fmla="*/ 5888 h 10000"/>
                <a:gd name="connsiteX15" fmla="*/ 8340 w 10000"/>
                <a:gd name="connsiteY15" fmla="*/ 5819 h 10000"/>
                <a:gd name="connsiteX16" fmla="*/ 8199 w 10000"/>
                <a:gd name="connsiteY16" fmla="*/ 5742 h 10000"/>
                <a:gd name="connsiteX17" fmla="*/ 8058 w 10000"/>
                <a:gd name="connsiteY17" fmla="*/ 5660 h 10000"/>
                <a:gd name="connsiteX18" fmla="*/ 7924 w 10000"/>
                <a:gd name="connsiteY18" fmla="*/ 5577 h 10000"/>
                <a:gd name="connsiteX19" fmla="*/ 7798 w 10000"/>
                <a:gd name="connsiteY19" fmla="*/ 5488 h 10000"/>
                <a:gd name="connsiteX20" fmla="*/ 7672 w 10000"/>
                <a:gd name="connsiteY20" fmla="*/ 5399 h 10000"/>
                <a:gd name="connsiteX21" fmla="*/ 7554 w 10000"/>
                <a:gd name="connsiteY21" fmla="*/ 5308 h 10000"/>
                <a:gd name="connsiteX22" fmla="*/ 7450 w 10000"/>
                <a:gd name="connsiteY22" fmla="*/ 5209 h 10000"/>
                <a:gd name="connsiteX23" fmla="*/ 7346 w 10000"/>
                <a:gd name="connsiteY23" fmla="*/ 5109 h 10000"/>
                <a:gd name="connsiteX24" fmla="*/ 7250 w 10000"/>
                <a:gd name="connsiteY24" fmla="*/ 5009 h 10000"/>
                <a:gd name="connsiteX25" fmla="*/ 7161 w 10000"/>
                <a:gd name="connsiteY25" fmla="*/ 4905 h 10000"/>
                <a:gd name="connsiteX26" fmla="*/ 7072 w 10000"/>
                <a:gd name="connsiteY26" fmla="*/ 4799 h 10000"/>
                <a:gd name="connsiteX27" fmla="*/ 6990 w 10000"/>
                <a:gd name="connsiteY27" fmla="*/ 4686 h 10000"/>
                <a:gd name="connsiteX28" fmla="*/ 6953 w 10000"/>
                <a:gd name="connsiteY28" fmla="*/ 4634 h 10000"/>
                <a:gd name="connsiteX29" fmla="*/ 6916 w 10000"/>
                <a:gd name="connsiteY29" fmla="*/ 4575 h 10000"/>
                <a:gd name="connsiteX30" fmla="*/ 6887 w 10000"/>
                <a:gd name="connsiteY30" fmla="*/ 4519 h 10000"/>
                <a:gd name="connsiteX31" fmla="*/ 6850 w 10000"/>
                <a:gd name="connsiteY31" fmla="*/ 4463 h 10000"/>
                <a:gd name="connsiteX32" fmla="*/ 6820 w 10000"/>
                <a:gd name="connsiteY32" fmla="*/ 4406 h 10000"/>
                <a:gd name="connsiteX33" fmla="*/ 6790 w 10000"/>
                <a:gd name="connsiteY33" fmla="*/ 4347 h 10000"/>
                <a:gd name="connsiteX34" fmla="*/ 6768 w 10000"/>
                <a:gd name="connsiteY34" fmla="*/ 4286 h 10000"/>
                <a:gd name="connsiteX35" fmla="*/ 6738 w 10000"/>
                <a:gd name="connsiteY35" fmla="*/ 4230 h 10000"/>
                <a:gd name="connsiteX36" fmla="*/ 6723 w 10000"/>
                <a:gd name="connsiteY36" fmla="*/ 4167 h 10000"/>
                <a:gd name="connsiteX37" fmla="*/ 6694 w 10000"/>
                <a:gd name="connsiteY37" fmla="*/ 4109 h 10000"/>
                <a:gd name="connsiteX38" fmla="*/ 6679 w 10000"/>
                <a:gd name="connsiteY38" fmla="*/ 4048 h 10000"/>
                <a:gd name="connsiteX39" fmla="*/ 6664 w 10000"/>
                <a:gd name="connsiteY39" fmla="*/ 3986 h 10000"/>
                <a:gd name="connsiteX40" fmla="*/ 6649 w 10000"/>
                <a:gd name="connsiteY40" fmla="*/ 3924 h 10000"/>
                <a:gd name="connsiteX41" fmla="*/ 6635 w 10000"/>
                <a:gd name="connsiteY41" fmla="*/ 3867 h 10000"/>
                <a:gd name="connsiteX42" fmla="*/ 6620 w 10000"/>
                <a:gd name="connsiteY42" fmla="*/ 3805 h 10000"/>
                <a:gd name="connsiteX43" fmla="*/ 6612 w 10000"/>
                <a:gd name="connsiteY43" fmla="*/ 3744 h 10000"/>
                <a:gd name="connsiteX44" fmla="*/ 6605 w 10000"/>
                <a:gd name="connsiteY44" fmla="*/ 3681 h 10000"/>
                <a:gd name="connsiteX45" fmla="*/ 6597 w 10000"/>
                <a:gd name="connsiteY45" fmla="*/ 3614 h 10000"/>
                <a:gd name="connsiteX46" fmla="*/ 6597 w 10000"/>
                <a:gd name="connsiteY46" fmla="*/ 3554 h 10000"/>
                <a:gd name="connsiteX47" fmla="*/ 6590 w 10000"/>
                <a:gd name="connsiteY47" fmla="*/ 3488 h 10000"/>
                <a:gd name="connsiteX48" fmla="*/ 6597 w 10000"/>
                <a:gd name="connsiteY48" fmla="*/ 3424 h 10000"/>
                <a:gd name="connsiteX49" fmla="*/ 6605 w 10000"/>
                <a:gd name="connsiteY49" fmla="*/ 3355 h 10000"/>
                <a:gd name="connsiteX50" fmla="*/ 6605 w 10000"/>
                <a:gd name="connsiteY50" fmla="*/ 3287 h 10000"/>
                <a:gd name="connsiteX51" fmla="*/ 6612 w 10000"/>
                <a:gd name="connsiteY51" fmla="*/ 3218 h 10000"/>
                <a:gd name="connsiteX52" fmla="*/ 6620 w 10000"/>
                <a:gd name="connsiteY52" fmla="*/ 3153 h 10000"/>
                <a:gd name="connsiteX53" fmla="*/ 6635 w 10000"/>
                <a:gd name="connsiteY53" fmla="*/ 3093 h 10000"/>
                <a:gd name="connsiteX54" fmla="*/ 6649 w 10000"/>
                <a:gd name="connsiteY54" fmla="*/ 3025 h 10000"/>
                <a:gd name="connsiteX55" fmla="*/ 6664 w 10000"/>
                <a:gd name="connsiteY55" fmla="*/ 2963 h 10000"/>
                <a:gd name="connsiteX56" fmla="*/ 6686 w 10000"/>
                <a:gd name="connsiteY56" fmla="*/ 2897 h 10000"/>
                <a:gd name="connsiteX57" fmla="*/ 6709 w 10000"/>
                <a:gd name="connsiteY57" fmla="*/ 2835 h 10000"/>
                <a:gd name="connsiteX58" fmla="*/ 6731 w 10000"/>
                <a:gd name="connsiteY58" fmla="*/ 2773 h 10000"/>
                <a:gd name="connsiteX59" fmla="*/ 6753 w 10000"/>
                <a:gd name="connsiteY59" fmla="*/ 2706 h 10000"/>
                <a:gd name="connsiteX60" fmla="*/ 6783 w 10000"/>
                <a:gd name="connsiteY60" fmla="*/ 2651 h 10000"/>
                <a:gd name="connsiteX61" fmla="*/ 6812 w 10000"/>
                <a:gd name="connsiteY61" fmla="*/ 2587 h 10000"/>
                <a:gd name="connsiteX62" fmla="*/ 6842 w 10000"/>
                <a:gd name="connsiteY62" fmla="*/ 2524 h 10000"/>
                <a:gd name="connsiteX63" fmla="*/ 6879 w 10000"/>
                <a:gd name="connsiteY63" fmla="*/ 2465 h 10000"/>
                <a:gd name="connsiteX64" fmla="*/ 6909 w 10000"/>
                <a:gd name="connsiteY64" fmla="*/ 2407 h 10000"/>
                <a:gd name="connsiteX65" fmla="*/ 6946 w 10000"/>
                <a:gd name="connsiteY65" fmla="*/ 2343 h 10000"/>
                <a:gd name="connsiteX66" fmla="*/ 6990 w 10000"/>
                <a:gd name="connsiteY66" fmla="*/ 2288 h 10000"/>
                <a:gd name="connsiteX67" fmla="*/ 7027 w 10000"/>
                <a:gd name="connsiteY67" fmla="*/ 2230 h 10000"/>
                <a:gd name="connsiteX68" fmla="*/ 7072 w 10000"/>
                <a:gd name="connsiteY68" fmla="*/ 2174 h 10000"/>
                <a:gd name="connsiteX69" fmla="*/ 7109 w 10000"/>
                <a:gd name="connsiteY69" fmla="*/ 2116 h 10000"/>
                <a:gd name="connsiteX70" fmla="*/ 7161 w 10000"/>
                <a:gd name="connsiteY70" fmla="*/ 2065 h 10000"/>
                <a:gd name="connsiteX71" fmla="*/ 7213 w 10000"/>
                <a:gd name="connsiteY71" fmla="*/ 2007 h 10000"/>
                <a:gd name="connsiteX72" fmla="*/ 7257 w 10000"/>
                <a:gd name="connsiteY72" fmla="*/ 1952 h 10000"/>
                <a:gd name="connsiteX73" fmla="*/ 7309 w 10000"/>
                <a:gd name="connsiteY73" fmla="*/ 1898 h 10000"/>
                <a:gd name="connsiteX74" fmla="*/ 7361 w 10000"/>
                <a:gd name="connsiteY74" fmla="*/ 1843 h 10000"/>
                <a:gd name="connsiteX75" fmla="*/ 7413 w 10000"/>
                <a:gd name="connsiteY75" fmla="*/ 1793 h 10000"/>
                <a:gd name="connsiteX76" fmla="*/ 7472 w 10000"/>
                <a:gd name="connsiteY76" fmla="*/ 1742 h 10000"/>
                <a:gd name="connsiteX77" fmla="*/ 7524 w 10000"/>
                <a:gd name="connsiteY77" fmla="*/ 1693 h 10000"/>
                <a:gd name="connsiteX78" fmla="*/ 7583 w 10000"/>
                <a:gd name="connsiteY78" fmla="*/ 1643 h 10000"/>
                <a:gd name="connsiteX79" fmla="*/ 7610 w 10000"/>
                <a:gd name="connsiteY79" fmla="*/ 1614 h 10000"/>
                <a:gd name="connsiteX80" fmla="*/ 5390 w 10000"/>
                <a:gd name="connsiteY80" fmla="*/ 6 h 10000"/>
                <a:gd name="connsiteX81" fmla="*/ 1401 w 10000"/>
                <a:gd name="connsiteY81" fmla="*/ 0 h 10000"/>
                <a:gd name="connsiteX82" fmla="*/ 1305 w 10000"/>
                <a:gd name="connsiteY82" fmla="*/ 121 h 10000"/>
                <a:gd name="connsiteX83" fmla="*/ 1223 w 10000"/>
                <a:gd name="connsiteY83" fmla="*/ 213 h 10000"/>
                <a:gd name="connsiteX84" fmla="*/ 1149 w 10000"/>
                <a:gd name="connsiteY84" fmla="*/ 313 h 10000"/>
                <a:gd name="connsiteX85" fmla="*/ 1067 w 10000"/>
                <a:gd name="connsiteY85" fmla="*/ 413 h 10000"/>
                <a:gd name="connsiteX86" fmla="*/ 1001 w 10000"/>
                <a:gd name="connsiteY86" fmla="*/ 514 h 10000"/>
                <a:gd name="connsiteX87" fmla="*/ 927 w 10000"/>
                <a:gd name="connsiteY87" fmla="*/ 613 h 10000"/>
                <a:gd name="connsiteX88" fmla="*/ 860 w 10000"/>
                <a:gd name="connsiteY88" fmla="*/ 718 h 10000"/>
                <a:gd name="connsiteX89" fmla="*/ 793 w 10000"/>
                <a:gd name="connsiteY89" fmla="*/ 825 h 10000"/>
                <a:gd name="connsiteX90" fmla="*/ 734 w 10000"/>
                <a:gd name="connsiteY90" fmla="*/ 922 h 10000"/>
                <a:gd name="connsiteX91" fmla="*/ 675 w 10000"/>
                <a:gd name="connsiteY91" fmla="*/ 1029 h 10000"/>
                <a:gd name="connsiteX92" fmla="*/ 615 w 10000"/>
                <a:gd name="connsiteY92" fmla="*/ 1131 h 10000"/>
                <a:gd name="connsiteX93" fmla="*/ 556 w 10000"/>
                <a:gd name="connsiteY93" fmla="*/ 1242 h 10000"/>
                <a:gd name="connsiteX94" fmla="*/ 504 w 10000"/>
                <a:gd name="connsiteY94" fmla="*/ 1342 h 10000"/>
                <a:gd name="connsiteX95" fmla="*/ 452 w 10000"/>
                <a:gd name="connsiteY95" fmla="*/ 1449 h 10000"/>
                <a:gd name="connsiteX96" fmla="*/ 408 w 10000"/>
                <a:gd name="connsiteY96" fmla="*/ 1556 h 10000"/>
                <a:gd name="connsiteX97" fmla="*/ 363 w 10000"/>
                <a:gd name="connsiteY97" fmla="*/ 1663 h 10000"/>
                <a:gd name="connsiteX98" fmla="*/ 319 w 10000"/>
                <a:gd name="connsiteY98" fmla="*/ 1774 h 10000"/>
                <a:gd name="connsiteX99" fmla="*/ 282 w 10000"/>
                <a:gd name="connsiteY99" fmla="*/ 1884 h 10000"/>
                <a:gd name="connsiteX100" fmla="*/ 237 w 10000"/>
                <a:gd name="connsiteY100" fmla="*/ 1998 h 10000"/>
                <a:gd name="connsiteX101" fmla="*/ 208 w 10000"/>
                <a:gd name="connsiteY101" fmla="*/ 2107 h 10000"/>
                <a:gd name="connsiteX102" fmla="*/ 170 w 10000"/>
                <a:gd name="connsiteY102" fmla="*/ 2221 h 10000"/>
                <a:gd name="connsiteX103" fmla="*/ 148 w 10000"/>
                <a:gd name="connsiteY103" fmla="*/ 2334 h 10000"/>
                <a:gd name="connsiteX104" fmla="*/ 119 w 10000"/>
                <a:gd name="connsiteY104" fmla="*/ 2445 h 10000"/>
                <a:gd name="connsiteX105" fmla="*/ 96 w 10000"/>
                <a:gd name="connsiteY105" fmla="*/ 2556 h 10000"/>
                <a:gd name="connsiteX106" fmla="*/ 74 w 10000"/>
                <a:gd name="connsiteY106" fmla="*/ 2674 h 10000"/>
                <a:gd name="connsiteX107" fmla="*/ 52 w 10000"/>
                <a:gd name="connsiteY107" fmla="*/ 2792 h 10000"/>
                <a:gd name="connsiteX108" fmla="*/ 37 w 10000"/>
                <a:gd name="connsiteY108" fmla="*/ 2906 h 10000"/>
                <a:gd name="connsiteX109" fmla="*/ 22 w 10000"/>
                <a:gd name="connsiteY109" fmla="*/ 3020 h 10000"/>
                <a:gd name="connsiteX110" fmla="*/ 15 w 10000"/>
                <a:gd name="connsiteY110" fmla="*/ 3135 h 10000"/>
                <a:gd name="connsiteX111" fmla="*/ 7 w 10000"/>
                <a:gd name="connsiteY111" fmla="*/ 3253 h 10000"/>
                <a:gd name="connsiteX112" fmla="*/ 0 w 10000"/>
                <a:gd name="connsiteY112" fmla="*/ 3368 h 10000"/>
                <a:gd name="connsiteX113" fmla="*/ 0 w 10000"/>
                <a:gd name="connsiteY113" fmla="*/ 3488 h 10000"/>
                <a:gd name="connsiteX114" fmla="*/ 7 w 10000"/>
                <a:gd name="connsiteY114" fmla="*/ 3639 h 10000"/>
                <a:gd name="connsiteX115" fmla="*/ 7 w 10000"/>
                <a:gd name="connsiteY115" fmla="*/ 3790 h 10000"/>
                <a:gd name="connsiteX116" fmla="*/ 22 w 10000"/>
                <a:gd name="connsiteY116" fmla="*/ 3934 h 10000"/>
                <a:gd name="connsiteX117" fmla="*/ 37 w 10000"/>
                <a:gd name="connsiteY117" fmla="*/ 4082 h 10000"/>
                <a:gd name="connsiteX118" fmla="*/ 59 w 10000"/>
                <a:gd name="connsiteY118" fmla="*/ 4230 h 10000"/>
                <a:gd name="connsiteX119" fmla="*/ 89 w 10000"/>
                <a:gd name="connsiteY119" fmla="*/ 4377 h 10000"/>
                <a:gd name="connsiteX120" fmla="*/ 119 w 10000"/>
                <a:gd name="connsiteY120" fmla="*/ 4523 h 10000"/>
                <a:gd name="connsiteX121" fmla="*/ 148 w 10000"/>
                <a:gd name="connsiteY121" fmla="*/ 4671 h 10000"/>
                <a:gd name="connsiteX122" fmla="*/ 193 w 10000"/>
                <a:gd name="connsiteY122" fmla="*/ 4815 h 10000"/>
                <a:gd name="connsiteX123" fmla="*/ 237 w 10000"/>
                <a:gd name="connsiteY123" fmla="*/ 4956 h 10000"/>
                <a:gd name="connsiteX124" fmla="*/ 282 w 10000"/>
                <a:gd name="connsiteY124" fmla="*/ 5100 h 10000"/>
                <a:gd name="connsiteX125" fmla="*/ 334 w 10000"/>
                <a:gd name="connsiteY125" fmla="*/ 5241 h 10000"/>
                <a:gd name="connsiteX126" fmla="*/ 393 w 10000"/>
                <a:gd name="connsiteY126" fmla="*/ 5380 h 10000"/>
                <a:gd name="connsiteX127" fmla="*/ 452 w 10000"/>
                <a:gd name="connsiteY127" fmla="*/ 5518 h 10000"/>
                <a:gd name="connsiteX128" fmla="*/ 519 w 10000"/>
                <a:gd name="connsiteY128" fmla="*/ 5656 h 10000"/>
                <a:gd name="connsiteX129" fmla="*/ 586 w 10000"/>
                <a:gd name="connsiteY129" fmla="*/ 5795 h 10000"/>
                <a:gd name="connsiteX130" fmla="*/ 660 w 10000"/>
                <a:gd name="connsiteY130" fmla="*/ 5927 h 10000"/>
                <a:gd name="connsiteX131" fmla="*/ 741 w 10000"/>
                <a:gd name="connsiteY131" fmla="*/ 6060 h 10000"/>
                <a:gd name="connsiteX132" fmla="*/ 823 w 10000"/>
                <a:gd name="connsiteY132" fmla="*/ 6198 h 10000"/>
                <a:gd name="connsiteX133" fmla="*/ 904 w 10000"/>
                <a:gd name="connsiteY133" fmla="*/ 6326 h 10000"/>
                <a:gd name="connsiteX134" fmla="*/ 993 w 10000"/>
                <a:gd name="connsiteY134" fmla="*/ 6456 h 10000"/>
                <a:gd name="connsiteX135" fmla="*/ 1090 w 10000"/>
                <a:gd name="connsiteY135" fmla="*/ 6578 h 10000"/>
                <a:gd name="connsiteX136" fmla="*/ 1186 w 10000"/>
                <a:gd name="connsiteY136" fmla="*/ 6708 h 10000"/>
                <a:gd name="connsiteX137" fmla="*/ 1290 w 10000"/>
                <a:gd name="connsiteY137" fmla="*/ 6835 h 10000"/>
                <a:gd name="connsiteX138" fmla="*/ 1386 w 10000"/>
                <a:gd name="connsiteY138" fmla="*/ 6960 h 10000"/>
                <a:gd name="connsiteX139" fmla="*/ 1497 w 10000"/>
                <a:gd name="connsiteY139" fmla="*/ 7084 h 10000"/>
                <a:gd name="connsiteX140" fmla="*/ 1609 w 10000"/>
                <a:gd name="connsiteY140" fmla="*/ 7202 h 10000"/>
                <a:gd name="connsiteX141" fmla="*/ 1727 w 10000"/>
                <a:gd name="connsiteY141" fmla="*/ 7326 h 10000"/>
                <a:gd name="connsiteX142" fmla="*/ 1846 w 10000"/>
                <a:gd name="connsiteY142" fmla="*/ 7444 h 10000"/>
                <a:gd name="connsiteX143" fmla="*/ 1964 w 10000"/>
                <a:gd name="connsiteY143" fmla="*/ 7559 h 10000"/>
                <a:gd name="connsiteX144" fmla="*/ 2090 w 10000"/>
                <a:gd name="connsiteY144" fmla="*/ 7671 h 10000"/>
                <a:gd name="connsiteX145" fmla="*/ 2224 w 10000"/>
                <a:gd name="connsiteY145" fmla="*/ 7788 h 10000"/>
                <a:gd name="connsiteX146" fmla="*/ 2350 w 10000"/>
                <a:gd name="connsiteY146" fmla="*/ 7901 h 10000"/>
                <a:gd name="connsiteX147" fmla="*/ 2491 w 10000"/>
                <a:gd name="connsiteY147" fmla="*/ 8010 h 10000"/>
                <a:gd name="connsiteX148" fmla="*/ 2617 w 10000"/>
                <a:gd name="connsiteY148" fmla="*/ 8120 h 10000"/>
                <a:gd name="connsiteX149" fmla="*/ 2765 w 10000"/>
                <a:gd name="connsiteY149" fmla="*/ 8226 h 10000"/>
                <a:gd name="connsiteX150" fmla="*/ 2906 w 10000"/>
                <a:gd name="connsiteY150" fmla="*/ 8329 h 10000"/>
                <a:gd name="connsiteX151" fmla="*/ 3054 w 10000"/>
                <a:gd name="connsiteY151" fmla="*/ 8434 h 10000"/>
                <a:gd name="connsiteX152" fmla="*/ 3210 w 10000"/>
                <a:gd name="connsiteY152" fmla="*/ 8535 h 10000"/>
                <a:gd name="connsiteX153" fmla="*/ 3358 w 10000"/>
                <a:gd name="connsiteY153" fmla="*/ 8634 h 10000"/>
                <a:gd name="connsiteX154" fmla="*/ 3514 w 10000"/>
                <a:gd name="connsiteY154" fmla="*/ 8734 h 10000"/>
                <a:gd name="connsiteX155" fmla="*/ 3677 w 10000"/>
                <a:gd name="connsiteY155" fmla="*/ 8829 h 10000"/>
                <a:gd name="connsiteX156" fmla="*/ 3840 w 10000"/>
                <a:gd name="connsiteY156" fmla="*/ 8920 h 10000"/>
                <a:gd name="connsiteX157" fmla="*/ 4010 w 10000"/>
                <a:gd name="connsiteY157" fmla="*/ 9013 h 10000"/>
                <a:gd name="connsiteX158" fmla="*/ 4181 w 10000"/>
                <a:gd name="connsiteY158" fmla="*/ 9096 h 10000"/>
                <a:gd name="connsiteX159" fmla="*/ 4351 w 10000"/>
                <a:gd name="connsiteY159" fmla="*/ 9184 h 10000"/>
                <a:gd name="connsiteX160" fmla="*/ 4522 w 10000"/>
                <a:gd name="connsiteY160" fmla="*/ 9267 h 10000"/>
                <a:gd name="connsiteX161" fmla="*/ 4700 w 10000"/>
                <a:gd name="connsiteY161" fmla="*/ 9353 h 10000"/>
                <a:gd name="connsiteX162" fmla="*/ 4878 w 10000"/>
                <a:gd name="connsiteY162" fmla="*/ 9433 h 10000"/>
                <a:gd name="connsiteX163" fmla="*/ 5063 w 10000"/>
                <a:gd name="connsiteY163" fmla="*/ 9510 h 10000"/>
                <a:gd name="connsiteX164" fmla="*/ 5248 w 10000"/>
                <a:gd name="connsiteY164" fmla="*/ 9590 h 10000"/>
                <a:gd name="connsiteX165" fmla="*/ 5426 w 10000"/>
                <a:gd name="connsiteY165" fmla="*/ 9661 h 10000"/>
                <a:gd name="connsiteX166" fmla="*/ 5619 w 10000"/>
                <a:gd name="connsiteY166" fmla="*/ 9733 h 10000"/>
                <a:gd name="connsiteX167" fmla="*/ 5812 w 10000"/>
                <a:gd name="connsiteY167" fmla="*/ 9804 h 10000"/>
                <a:gd name="connsiteX168" fmla="*/ 6004 w 10000"/>
                <a:gd name="connsiteY168" fmla="*/ 9869 h 10000"/>
                <a:gd name="connsiteX169" fmla="*/ 6397 w 10000"/>
                <a:gd name="connsiteY169" fmla="*/ 10000 h 10000"/>
                <a:gd name="connsiteX170" fmla="*/ 7539 w 10000"/>
                <a:gd name="connsiteY170" fmla="*/ 8034 h 10000"/>
                <a:gd name="connsiteX171" fmla="*/ 10000 w 10000"/>
                <a:gd name="connsiteY171" fmla="*/ 6360 h 10000"/>
                <a:gd name="connsiteX0" fmla="*/ 10000 w 10000"/>
                <a:gd name="connsiteY0" fmla="*/ 6360 h 9869"/>
                <a:gd name="connsiteX1" fmla="*/ 10000 w 10000"/>
                <a:gd name="connsiteY1" fmla="*/ 6360 h 9869"/>
                <a:gd name="connsiteX2" fmla="*/ 9911 w 10000"/>
                <a:gd name="connsiteY2" fmla="*/ 6345 h 9869"/>
                <a:gd name="connsiteX3" fmla="*/ 9815 w 10000"/>
                <a:gd name="connsiteY3" fmla="*/ 6326 h 9869"/>
                <a:gd name="connsiteX4" fmla="*/ 9726 w 10000"/>
                <a:gd name="connsiteY4" fmla="*/ 6308 h 9869"/>
                <a:gd name="connsiteX5" fmla="*/ 9637 w 10000"/>
                <a:gd name="connsiteY5" fmla="*/ 6284 h 9869"/>
                <a:gd name="connsiteX6" fmla="*/ 9548 w 10000"/>
                <a:gd name="connsiteY6" fmla="*/ 6265 h 9869"/>
                <a:gd name="connsiteX7" fmla="*/ 9466 w 10000"/>
                <a:gd name="connsiteY7" fmla="*/ 6241 h 9869"/>
                <a:gd name="connsiteX8" fmla="*/ 9377 w 10000"/>
                <a:gd name="connsiteY8" fmla="*/ 6217 h 9869"/>
                <a:gd name="connsiteX9" fmla="*/ 9288 w 10000"/>
                <a:gd name="connsiteY9" fmla="*/ 6194 h 9869"/>
                <a:gd name="connsiteX10" fmla="*/ 9118 w 10000"/>
                <a:gd name="connsiteY10" fmla="*/ 6140 h 9869"/>
                <a:gd name="connsiteX11" fmla="*/ 8955 w 10000"/>
                <a:gd name="connsiteY11" fmla="*/ 6083 h 9869"/>
                <a:gd name="connsiteX12" fmla="*/ 8792 w 10000"/>
                <a:gd name="connsiteY12" fmla="*/ 6023 h 9869"/>
                <a:gd name="connsiteX13" fmla="*/ 8636 w 10000"/>
                <a:gd name="connsiteY13" fmla="*/ 5956 h 9869"/>
                <a:gd name="connsiteX14" fmla="*/ 8480 w 10000"/>
                <a:gd name="connsiteY14" fmla="*/ 5888 h 9869"/>
                <a:gd name="connsiteX15" fmla="*/ 8340 w 10000"/>
                <a:gd name="connsiteY15" fmla="*/ 5819 h 9869"/>
                <a:gd name="connsiteX16" fmla="*/ 8199 w 10000"/>
                <a:gd name="connsiteY16" fmla="*/ 5742 h 9869"/>
                <a:gd name="connsiteX17" fmla="*/ 8058 w 10000"/>
                <a:gd name="connsiteY17" fmla="*/ 5660 h 9869"/>
                <a:gd name="connsiteX18" fmla="*/ 7924 w 10000"/>
                <a:gd name="connsiteY18" fmla="*/ 5577 h 9869"/>
                <a:gd name="connsiteX19" fmla="*/ 7798 w 10000"/>
                <a:gd name="connsiteY19" fmla="*/ 5488 h 9869"/>
                <a:gd name="connsiteX20" fmla="*/ 7672 w 10000"/>
                <a:gd name="connsiteY20" fmla="*/ 5399 h 9869"/>
                <a:gd name="connsiteX21" fmla="*/ 7554 w 10000"/>
                <a:gd name="connsiteY21" fmla="*/ 5308 h 9869"/>
                <a:gd name="connsiteX22" fmla="*/ 7450 w 10000"/>
                <a:gd name="connsiteY22" fmla="*/ 5209 h 9869"/>
                <a:gd name="connsiteX23" fmla="*/ 7346 w 10000"/>
                <a:gd name="connsiteY23" fmla="*/ 5109 h 9869"/>
                <a:gd name="connsiteX24" fmla="*/ 7250 w 10000"/>
                <a:gd name="connsiteY24" fmla="*/ 5009 h 9869"/>
                <a:gd name="connsiteX25" fmla="*/ 7161 w 10000"/>
                <a:gd name="connsiteY25" fmla="*/ 4905 h 9869"/>
                <a:gd name="connsiteX26" fmla="*/ 7072 w 10000"/>
                <a:gd name="connsiteY26" fmla="*/ 4799 h 9869"/>
                <a:gd name="connsiteX27" fmla="*/ 6990 w 10000"/>
                <a:gd name="connsiteY27" fmla="*/ 4686 h 9869"/>
                <a:gd name="connsiteX28" fmla="*/ 6953 w 10000"/>
                <a:gd name="connsiteY28" fmla="*/ 4634 h 9869"/>
                <a:gd name="connsiteX29" fmla="*/ 6916 w 10000"/>
                <a:gd name="connsiteY29" fmla="*/ 4575 h 9869"/>
                <a:gd name="connsiteX30" fmla="*/ 6887 w 10000"/>
                <a:gd name="connsiteY30" fmla="*/ 4519 h 9869"/>
                <a:gd name="connsiteX31" fmla="*/ 6850 w 10000"/>
                <a:gd name="connsiteY31" fmla="*/ 4463 h 9869"/>
                <a:gd name="connsiteX32" fmla="*/ 6820 w 10000"/>
                <a:gd name="connsiteY32" fmla="*/ 4406 h 9869"/>
                <a:gd name="connsiteX33" fmla="*/ 6790 w 10000"/>
                <a:gd name="connsiteY33" fmla="*/ 4347 h 9869"/>
                <a:gd name="connsiteX34" fmla="*/ 6768 w 10000"/>
                <a:gd name="connsiteY34" fmla="*/ 4286 h 9869"/>
                <a:gd name="connsiteX35" fmla="*/ 6738 w 10000"/>
                <a:gd name="connsiteY35" fmla="*/ 4230 h 9869"/>
                <a:gd name="connsiteX36" fmla="*/ 6723 w 10000"/>
                <a:gd name="connsiteY36" fmla="*/ 4167 h 9869"/>
                <a:gd name="connsiteX37" fmla="*/ 6694 w 10000"/>
                <a:gd name="connsiteY37" fmla="*/ 4109 h 9869"/>
                <a:gd name="connsiteX38" fmla="*/ 6679 w 10000"/>
                <a:gd name="connsiteY38" fmla="*/ 4048 h 9869"/>
                <a:gd name="connsiteX39" fmla="*/ 6664 w 10000"/>
                <a:gd name="connsiteY39" fmla="*/ 3986 h 9869"/>
                <a:gd name="connsiteX40" fmla="*/ 6649 w 10000"/>
                <a:gd name="connsiteY40" fmla="*/ 3924 h 9869"/>
                <a:gd name="connsiteX41" fmla="*/ 6635 w 10000"/>
                <a:gd name="connsiteY41" fmla="*/ 3867 h 9869"/>
                <a:gd name="connsiteX42" fmla="*/ 6620 w 10000"/>
                <a:gd name="connsiteY42" fmla="*/ 3805 h 9869"/>
                <a:gd name="connsiteX43" fmla="*/ 6612 w 10000"/>
                <a:gd name="connsiteY43" fmla="*/ 3744 h 9869"/>
                <a:gd name="connsiteX44" fmla="*/ 6605 w 10000"/>
                <a:gd name="connsiteY44" fmla="*/ 3681 h 9869"/>
                <a:gd name="connsiteX45" fmla="*/ 6597 w 10000"/>
                <a:gd name="connsiteY45" fmla="*/ 3614 h 9869"/>
                <a:gd name="connsiteX46" fmla="*/ 6597 w 10000"/>
                <a:gd name="connsiteY46" fmla="*/ 3554 h 9869"/>
                <a:gd name="connsiteX47" fmla="*/ 6590 w 10000"/>
                <a:gd name="connsiteY47" fmla="*/ 3488 h 9869"/>
                <a:gd name="connsiteX48" fmla="*/ 6597 w 10000"/>
                <a:gd name="connsiteY48" fmla="*/ 3424 h 9869"/>
                <a:gd name="connsiteX49" fmla="*/ 6605 w 10000"/>
                <a:gd name="connsiteY49" fmla="*/ 3355 h 9869"/>
                <a:gd name="connsiteX50" fmla="*/ 6605 w 10000"/>
                <a:gd name="connsiteY50" fmla="*/ 3287 h 9869"/>
                <a:gd name="connsiteX51" fmla="*/ 6612 w 10000"/>
                <a:gd name="connsiteY51" fmla="*/ 3218 h 9869"/>
                <a:gd name="connsiteX52" fmla="*/ 6620 w 10000"/>
                <a:gd name="connsiteY52" fmla="*/ 3153 h 9869"/>
                <a:gd name="connsiteX53" fmla="*/ 6635 w 10000"/>
                <a:gd name="connsiteY53" fmla="*/ 3093 h 9869"/>
                <a:gd name="connsiteX54" fmla="*/ 6649 w 10000"/>
                <a:gd name="connsiteY54" fmla="*/ 3025 h 9869"/>
                <a:gd name="connsiteX55" fmla="*/ 6664 w 10000"/>
                <a:gd name="connsiteY55" fmla="*/ 2963 h 9869"/>
                <a:gd name="connsiteX56" fmla="*/ 6686 w 10000"/>
                <a:gd name="connsiteY56" fmla="*/ 2897 h 9869"/>
                <a:gd name="connsiteX57" fmla="*/ 6709 w 10000"/>
                <a:gd name="connsiteY57" fmla="*/ 2835 h 9869"/>
                <a:gd name="connsiteX58" fmla="*/ 6731 w 10000"/>
                <a:gd name="connsiteY58" fmla="*/ 2773 h 9869"/>
                <a:gd name="connsiteX59" fmla="*/ 6753 w 10000"/>
                <a:gd name="connsiteY59" fmla="*/ 2706 h 9869"/>
                <a:gd name="connsiteX60" fmla="*/ 6783 w 10000"/>
                <a:gd name="connsiteY60" fmla="*/ 2651 h 9869"/>
                <a:gd name="connsiteX61" fmla="*/ 6812 w 10000"/>
                <a:gd name="connsiteY61" fmla="*/ 2587 h 9869"/>
                <a:gd name="connsiteX62" fmla="*/ 6842 w 10000"/>
                <a:gd name="connsiteY62" fmla="*/ 2524 h 9869"/>
                <a:gd name="connsiteX63" fmla="*/ 6879 w 10000"/>
                <a:gd name="connsiteY63" fmla="*/ 2465 h 9869"/>
                <a:gd name="connsiteX64" fmla="*/ 6909 w 10000"/>
                <a:gd name="connsiteY64" fmla="*/ 2407 h 9869"/>
                <a:gd name="connsiteX65" fmla="*/ 6946 w 10000"/>
                <a:gd name="connsiteY65" fmla="*/ 2343 h 9869"/>
                <a:gd name="connsiteX66" fmla="*/ 6990 w 10000"/>
                <a:gd name="connsiteY66" fmla="*/ 2288 h 9869"/>
                <a:gd name="connsiteX67" fmla="*/ 7027 w 10000"/>
                <a:gd name="connsiteY67" fmla="*/ 2230 h 9869"/>
                <a:gd name="connsiteX68" fmla="*/ 7072 w 10000"/>
                <a:gd name="connsiteY68" fmla="*/ 2174 h 9869"/>
                <a:gd name="connsiteX69" fmla="*/ 7109 w 10000"/>
                <a:gd name="connsiteY69" fmla="*/ 2116 h 9869"/>
                <a:gd name="connsiteX70" fmla="*/ 7161 w 10000"/>
                <a:gd name="connsiteY70" fmla="*/ 2065 h 9869"/>
                <a:gd name="connsiteX71" fmla="*/ 7213 w 10000"/>
                <a:gd name="connsiteY71" fmla="*/ 2007 h 9869"/>
                <a:gd name="connsiteX72" fmla="*/ 7257 w 10000"/>
                <a:gd name="connsiteY72" fmla="*/ 1952 h 9869"/>
                <a:gd name="connsiteX73" fmla="*/ 7309 w 10000"/>
                <a:gd name="connsiteY73" fmla="*/ 1898 h 9869"/>
                <a:gd name="connsiteX74" fmla="*/ 7361 w 10000"/>
                <a:gd name="connsiteY74" fmla="*/ 1843 h 9869"/>
                <a:gd name="connsiteX75" fmla="*/ 7413 w 10000"/>
                <a:gd name="connsiteY75" fmla="*/ 1793 h 9869"/>
                <a:gd name="connsiteX76" fmla="*/ 7472 w 10000"/>
                <a:gd name="connsiteY76" fmla="*/ 1742 h 9869"/>
                <a:gd name="connsiteX77" fmla="*/ 7524 w 10000"/>
                <a:gd name="connsiteY77" fmla="*/ 1693 h 9869"/>
                <a:gd name="connsiteX78" fmla="*/ 7583 w 10000"/>
                <a:gd name="connsiteY78" fmla="*/ 1643 h 9869"/>
                <a:gd name="connsiteX79" fmla="*/ 7610 w 10000"/>
                <a:gd name="connsiteY79" fmla="*/ 1614 h 9869"/>
                <a:gd name="connsiteX80" fmla="*/ 5390 w 10000"/>
                <a:gd name="connsiteY80" fmla="*/ 6 h 9869"/>
                <a:gd name="connsiteX81" fmla="*/ 1401 w 10000"/>
                <a:gd name="connsiteY81" fmla="*/ 0 h 9869"/>
                <a:gd name="connsiteX82" fmla="*/ 1305 w 10000"/>
                <a:gd name="connsiteY82" fmla="*/ 121 h 9869"/>
                <a:gd name="connsiteX83" fmla="*/ 1223 w 10000"/>
                <a:gd name="connsiteY83" fmla="*/ 213 h 9869"/>
                <a:gd name="connsiteX84" fmla="*/ 1149 w 10000"/>
                <a:gd name="connsiteY84" fmla="*/ 313 h 9869"/>
                <a:gd name="connsiteX85" fmla="*/ 1067 w 10000"/>
                <a:gd name="connsiteY85" fmla="*/ 413 h 9869"/>
                <a:gd name="connsiteX86" fmla="*/ 1001 w 10000"/>
                <a:gd name="connsiteY86" fmla="*/ 514 h 9869"/>
                <a:gd name="connsiteX87" fmla="*/ 927 w 10000"/>
                <a:gd name="connsiteY87" fmla="*/ 613 h 9869"/>
                <a:gd name="connsiteX88" fmla="*/ 860 w 10000"/>
                <a:gd name="connsiteY88" fmla="*/ 718 h 9869"/>
                <a:gd name="connsiteX89" fmla="*/ 793 w 10000"/>
                <a:gd name="connsiteY89" fmla="*/ 825 h 9869"/>
                <a:gd name="connsiteX90" fmla="*/ 734 w 10000"/>
                <a:gd name="connsiteY90" fmla="*/ 922 h 9869"/>
                <a:gd name="connsiteX91" fmla="*/ 675 w 10000"/>
                <a:gd name="connsiteY91" fmla="*/ 1029 h 9869"/>
                <a:gd name="connsiteX92" fmla="*/ 615 w 10000"/>
                <a:gd name="connsiteY92" fmla="*/ 1131 h 9869"/>
                <a:gd name="connsiteX93" fmla="*/ 556 w 10000"/>
                <a:gd name="connsiteY93" fmla="*/ 1242 h 9869"/>
                <a:gd name="connsiteX94" fmla="*/ 504 w 10000"/>
                <a:gd name="connsiteY94" fmla="*/ 1342 h 9869"/>
                <a:gd name="connsiteX95" fmla="*/ 452 w 10000"/>
                <a:gd name="connsiteY95" fmla="*/ 1449 h 9869"/>
                <a:gd name="connsiteX96" fmla="*/ 408 w 10000"/>
                <a:gd name="connsiteY96" fmla="*/ 1556 h 9869"/>
                <a:gd name="connsiteX97" fmla="*/ 363 w 10000"/>
                <a:gd name="connsiteY97" fmla="*/ 1663 h 9869"/>
                <a:gd name="connsiteX98" fmla="*/ 319 w 10000"/>
                <a:gd name="connsiteY98" fmla="*/ 1774 h 9869"/>
                <a:gd name="connsiteX99" fmla="*/ 282 w 10000"/>
                <a:gd name="connsiteY99" fmla="*/ 1884 h 9869"/>
                <a:gd name="connsiteX100" fmla="*/ 237 w 10000"/>
                <a:gd name="connsiteY100" fmla="*/ 1998 h 9869"/>
                <a:gd name="connsiteX101" fmla="*/ 208 w 10000"/>
                <a:gd name="connsiteY101" fmla="*/ 2107 h 9869"/>
                <a:gd name="connsiteX102" fmla="*/ 170 w 10000"/>
                <a:gd name="connsiteY102" fmla="*/ 2221 h 9869"/>
                <a:gd name="connsiteX103" fmla="*/ 148 w 10000"/>
                <a:gd name="connsiteY103" fmla="*/ 2334 h 9869"/>
                <a:gd name="connsiteX104" fmla="*/ 119 w 10000"/>
                <a:gd name="connsiteY104" fmla="*/ 2445 h 9869"/>
                <a:gd name="connsiteX105" fmla="*/ 96 w 10000"/>
                <a:gd name="connsiteY105" fmla="*/ 2556 h 9869"/>
                <a:gd name="connsiteX106" fmla="*/ 74 w 10000"/>
                <a:gd name="connsiteY106" fmla="*/ 2674 h 9869"/>
                <a:gd name="connsiteX107" fmla="*/ 52 w 10000"/>
                <a:gd name="connsiteY107" fmla="*/ 2792 h 9869"/>
                <a:gd name="connsiteX108" fmla="*/ 37 w 10000"/>
                <a:gd name="connsiteY108" fmla="*/ 2906 h 9869"/>
                <a:gd name="connsiteX109" fmla="*/ 22 w 10000"/>
                <a:gd name="connsiteY109" fmla="*/ 3020 h 9869"/>
                <a:gd name="connsiteX110" fmla="*/ 15 w 10000"/>
                <a:gd name="connsiteY110" fmla="*/ 3135 h 9869"/>
                <a:gd name="connsiteX111" fmla="*/ 7 w 10000"/>
                <a:gd name="connsiteY111" fmla="*/ 3253 h 9869"/>
                <a:gd name="connsiteX112" fmla="*/ 0 w 10000"/>
                <a:gd name="connsiteY112" fmla="*/ 3368 h 9869"/>
                <a:gd name="connsiteX113" fmla="*/ 0 w 10000"/>
                <a:gd name="connsiteY113" fmla="*/ 3488 h 9869"/>
                <a:gd name="connsiteX114" fmla="*/ 7 w 10000"/>
                <a:gd name="connsiteY114" fmla="*/ 3639 h 9869"/>
                <a:gd name="connsiteX115" fmla="*/ 7 w 10000"/>
                <a:gd name="connsiteY115" fmla="*/ 3790 h 9869"/>
                <a:gd name="connsiteX116" fmla="*/ 22 w 10000"/>
                <a:gd name="connsiteY116" fmla="*/ 3934 h 9869"/>
                <a:gd name="connsiteX117" fmla="*/ 37 w 10000"/>
                <a:gd name="connsiteY117" fmla="*/ 4082 h 9869"/>
                <a:gd name="connsiteX118" fmla="*/ 59 w 10000"/>
                <a:gd name="connsiteY118" fmla="*/ 4230 h 9869"/>
                <a:gd name="connsiteX119" fmla="*/ 89 w 10000"/>
                <a:gd name="connsiteY119" fmla="*/ 4377 h 9869"/>
                <a:gd name="connsiteX120" fmla="*/ 119 w 10000"/>
                <a:gd name="connsiteY120" fmla="*/ 4523 h 9869"/>
                <a:gd name="connsiteX121" fmla="*/ 148 w 10000"/>
                <a:gd name="connsiteY121" fmla="*/ 4671 h 9869"/>
                <a:gd name="connsiteX122" fmla="*/ 193 w 10000"/>
                <a:gd name="connsiteY122" fmla="*/ 4815 h 9869"/>
                <a:gd name="connsiteX123" fmla="*/ 237 w 10000"/>
                <a:gd name="connsiteY123" fmla="*/ 4956 h 9869"/>
                <a:gd name="connsiteX124" fmla="*/ 282 w 10000"/>
                <a:gd name="connsiteY124" fmla="*/ 5100 h 9869"/>
                <a:gd name="connsiteX125" fmla="*/ 334 w 10000"/>
                <a:gd name="connsiteY125" fmla="*/ 5241 h 9869"/>
                <a:gd name="connsiteX126" fmla="*/ 393 w 10000"/>
                <a:gd name="connsiteY126" fmla="*/ 5380 h 9869"/>
                <a:gd name="connsiteX127" fmla="*/ 452 w 10000"/>
                <a:gd name="connsiteY127" fmla="*/ 5518 h 9869"/>
                <a:gd name="connsiteX128" fmla="*/ 519 w 10000"/>
                <a:gd name="connsiteY128" fmla="*/ 5656 h 9869"/>
                <a:gd name="connsiteX129" fmla="*/ 586 w 10000"/>
                <a:gd name="connsiteY129" fmla="*/ 5795 h 9869"/>
                <a:gd name="connsiteX130" fmla="*/ 660 w 10000"/>
                <a:gd name="connsiteY130" fmla="*/ 5927 h 9869"/>
                <a:gd name="connsiteX131" fmla="*/ 741 w 10000"/>
                <a:gd name="connsiteY131" fmla="*/ 6060 h 9869"/>
                <a:gd name="connsiteX132" fmla="*/ 823 w 10000"/>
                <a:gd name="connsiteY132" fmla="*/ 6198 h 9869"/>
                <a:gd name="connsiteX133" fmla="*/ 904 w 10000"/>
                <a:gd name="connsiteY133" fmla="*/ 6326 h 9869"/>
                <a:gd name="connsiteX134" fmla="*/ 993 w 10000"/>
                <a:gd name="connsiteY134" fmla="*/ 6456 h 9869"/>
                <a:gd name="connsiteX135" fmla="*/ 1090 w 10000"/>
                <a:gd name="connsiteY135" fmla="*/ 6578 h 9869"/>
                <a:gd name="connsiteX136" fmla="*/ 1186 w 10000"/>
                <a:gd name="connsiteY136" fmla="*/ 6708 h 9869"/>
                <a:gd name="connsiteX137" fmla="*/ 1290 w 10000"/>
                <a:gd name="connsiteY137" fmla="*/ 6835 h 9869"/>
                <a:gd name="connsiteX138" fmla="*/ 1386 w 10000"/>
                <a:gd name="connsiteY138" fmla="*/ 6960 h 9869"/>
                <a:gd name="connsiteX139" fmla="*/ 1497 w 10000"/>
                <a:gd name="connsiteY139" fmla="*/ 7084 h 9869"/>
                <a:gd name="connsiteX140" fmla="*/ 1609 w 10000"/>
                <a:gd name="connsiteY140" fmla="*/ 7202 h 9869"/>
                <a:gd name="connsiteX141" fmla="*/ 1727 w 10000"/>
                <a:gd name="connsiteY141" fmla="*/ 7326 h 9869"/>
                <a:gd name="connsiteX142" fmla="*/ 1846 w 10000"/>
                <a:gd name="connsiteY142" fmla="*/ 7444 h 9869"/>
                <a:gd name="connsiteX143" fmla="*/ 1964 w 10000"/>
                <a:gd name="connsiteY143" fmla="*/ 7559 h 9869"/>
                <a:gd name="connsiteX144" fmla="*/ 2090 w 10000"/>
                <a:gd name="connsiteY144" fmla="*/ 7671 h 9869"/>
                <a:gd name="connsiteX145" fmla="*/ 2224 w 10000"/>
                <a:gd name="connsiteY145" fmla="*/ 7788 h 9869"/>
                <a:gd name="connsiteX146" fmla="*/ 2350 w 10000"/>
                <a:gd name="connsiteY146" fmla="*/ 7901 h 9869"/>
                <a:gd name="connsiteX147" fmla="*/ 2491 w 10000"/>
                <a:gd name="connsiteY147" fmla="*/ 8010 h 9869"/>
                <a:gd name="connsiteX148" fmla="*/ 2617 w 10000"/>
                <a:gd name="connsiteY148" fmla="*/ 8120 h 9869"/>
                <a:gd name="connsiteX149" fmla="*/ 2765 w 10000"/>
                <a:gd name="connsiteY149" fmla="*/ 8226 h 9869"/>
                <a:gd name="connsiteX150" fmla="*/ 2906 w 10000"/>
                <a:gd name="connsiteY150" fmla="*/ 8329 h 9869"/>
                <a:gd name="connsiteX151" fmla="*/ 3054 w 10000"/>
                <a:gd name="connsiteY151" fmla="*/ 8434 h 9869"/>
                <a:gd name="connsiteX152" fmla="*/ 3210 w 10000"/>
                <a:gd name="connsiteY152" fmla="*/ 8535 h 9869"/>
                <a:gd name="connsiteX153" fmla="*/ 3358 w 10000"/>
                <a:gd name="connsiteY153" fmla="*/ 8634 h 9869"/>
                <a:gd name="connsiteX154" fmla="*/ 3514 w 10000"/>
                <a:gd name="connsiteY154" fmla="*/ 8734 h 9869"/>
                <a:gd name="connsiteX155" fmla="*/ 3677 w 10000"/>
                <a:gd name="connsiteY155" fmla="*/ 8829 h 9869"/>
                <a:gd name="connsiteX156" fmla="*/ 3840 w 10000"/>
                <a:gd name="connsiteY156" fmla="*/ 8920 h 9869"/>
                <a:gd name="connsiteX157" fmla="*/ 4010 w 10000"/>
                <a:gd name="connsiteY157" fmla="*/ 9013 h 9869"/>
                <a:gd name="connsiteX158" fmla="*/ 4181 w 10000"/>
                <a:gd name="connsiteY158" fmla="*/ 9096 h 9869"/>
                <a:gd name="connsiteX159" fmla="*/ 4351 w 10000"/>
                <a:gd name="connsiteY159" fmla="*/ 9184 h 9869"/>
                <a:gd name="connsiteX160" fmla="*/ 4522 w 10000"/>
                <a:gd name="connsiteY160" fmla="*/ 9267 h 9869"/>
                <a:gd name="connsiteX161" fmla="*/ 4700 w 10000"/>
                <a:gd name="connsiteY161" fmla="*/ 9353 h 9869"/>
                <a:gd name="connsiteX162" fmla="*/ 4878 w 10000"/>
                <a:gd name="connsiteY162" fmla="*/ 9433 h 9869"/>
                <a:gd name="connsiteX163" fmla="*/ 5063 w 10000"/>
                <a:gd name="connsiteY163" fmla="*/ 9510 h 9869"/>
                <a:gd name="connsiteX164" fmla="*/ 5248 w 10000"/>
                <a:gd name="connsiteY164" fmla="*/ 9590 h 9869"/>
                <a:gd name="connsiteX165" fmla="*/ 5426 w 10000"/>
                <a:gd name="connsiteY165" fmla="*/ 9661 h 9869"/>
                <a:gd name="connsiteX166" fmla="*/ 5619 w 10000"/>
                <a:gd name="connsiteY166" fmla="*/ 9733 h 9869"/>
                <a:gd name="connsiteX167" fmla="*/ 5812 w 10000"/>
                <a:gd name="connsiteY167" fmla="*/ 9804 h 9869"/>
                <a:gd name="connsiteX168" fmla="*/ 6004 w 10000"/>
                <a:gd name="connsiteY168" fmla="*/ 9869 h 9869"/>
                <a:gd name="connsiteX169" fmla="*/ 7539 w 10000"/>
                <a:gd name="connsiteY169" fmla="*/ 8034 h 9869"/>
                <a:gd name="connsiteX170" fmla="*/ 10000 w 10000"/>
                <a:gd name="connsiteY170" fmla="*/ 6360 h 9869"/>
                <a:gd name="connsiteX0" fmla="*/ 10000 w 10000"/>
                <a:gd name="connsiteY0" fmla="*/ 6444 h 10000"/>
                <a:gd name="connsiteX1" fmla="*/ 10000 w 10000"/>
                <a:gd name="connsiteY1" fmla="*/ 6444 h 10000"/>
                <a:gd name="connsiteX2" fmla="*/ 9911 w 10000"/>
                <a:gd name="connsiteY2" fmla="*/ 6429 h 10000"/>
                <a:gd name="connsiteX3" fmla="*/ 9815 w 10000"/>
                <a:gd name="connsiteY3" fmla="*/ 6410 h 10000"/>
                <a:gd name="connsiteX4" fmla="*/ 9726 w 10000"/>
                <a:gd name="connsiteY4" fmla="*/ 6392 h 10000"/>
                <a:gd name="connsiteX5" fmla="*/ 9637 w 10000"/>
                <a:gd name="connsiteY5" fmla="*/ 6367 h 10000"/>
                <a:gd name="connsiteX6" fmla="*/ 9548 w 10000"/>
                <a:gd name="connsiteY6" fmla="*/ 6348 h 10000"/>
                <a:gd name="connsiteX7" fmla="*/ 9466 w 10000"/>
                <a:gd name="connsiteY7" fmla="*/ 6324 h 10000"/>
                <a:gd name="connsiteX8" fmla="*/ 9377 w 10000"/>
                <a:gd name="connsiteY8" fmla="*/ 6300 h 10000"/>
                <a:gd name="connsiteX9" fmla="*/ 9288 w 10000"/>
                <a:gd name="connsiteY9" fmla="*/ 6276 h 10000"/>
                <a:gd name="connsiteX10" fmla="*/ 9118 w 10000"/>
                <a:gd name="connsiteY10" fmla="*/ 6222 h 10000"/>
                <a:gd name="connsiteX11" fmla="*/ 8955 w 10000"/>
                <a:gd name="connsiteY11" fmla="*/ 6164 h 10000"/>
                <a:gd name="connsiteX12" fmla="*/ 8792 w 10000"/>
                <a:gd name="connsiteY12" fmla="*/ 6103 h 10000"/>
                <a:gd name="connsiteX13" fmla="*/ 8636 w 10000"/>
                <a:gd name="connsiteY13" fmla="*/ 6035 h 10000"/>
                <a:gd name="connsiteX14" fmla="*/ 8480 w 10000"/>
                <a:gd name="connsiteY14" fmla="*/ 5966 h 10000"/>
                <a:gd name="connsiteX15" fmla="*/ 8340 w 10000"/>
                <a:gd name="connsiteY15" fmla="*/ 5896 h 10000"/>
                <a:gd name="connsiteX16" fmla="*/ 8199 w 10000"/>
                <a:gd name="connsiteY16" fmla="*/ 5818 h 10000"/>
                <a:gd name="connsiteX17" fmla="*/ 8058 w 10000"/>
                <a:gd name="connsiteY17" fmla="*/ 5735 h 10000"/>
                <a:gd name="connsiteX18" fmla="*/ 7924 w 10000"/>
                <a:gd name="connsiteY18" fmla="*/ 5651 h 10000"/>
                <a:gd name="connsiteX19" fmla="*/ 7798 w 10000"/>
                <a:gd name="connsiteY19" fmla="*/ 5561 h 10000"/>
                <a:gd name="connsiteX20" fmla="*/ 7672 w 10000"/>
                <a:gd name="connsiteY20" fmla="*/ 5471 h 10000"/>
                <a:gd name="connsiteX21" fmla="*/ 7554 w 10000"/>
                <a:gd name="connsiteY21" fmla="*/ 5378 h 10000"/>
                <a:gd name="connsiteX22" fmla="*/ 7450 w 10000"/>
                <a:gd name="connsiteY22" fmla="*/ 5278 h 10000"/>
                <a:gd name="connsiteX23" fmla="*/ 7346 w 10000"/>
                <a:gd name="connsiteY23" fmla="*/ 5177 h 10000"/>
                <a:gd name="connsiteX24" fmla="*/ 7250 w 10000"/>
                <a:gd name="connsiteY24" fmla="*/ 5075 h 10000"/>
                <a:gd name="connsiteX25" fmla="*/ 7161 w 10000"/>
                <a:gd name="connsiteY25" fmla="*/ 4970 h 10000"/>
                <a:gd name="connsiteX26" fmla="*/ 7072 w 10000"/>
                <a:gd name="connsiteY26" fmla="*/ 4863 h 10000"/>
                <a:gd name="connsiteX27" fmla="*/ 6990 w 10000"/>
                <a:gd name="connsiteY27" fmla="*/ 4748 h 10000"/>
                <a:gd name="connsiteX28" fmla="*/ 6953 w 10000"/>
                <a:gd name="connsiteY28" fmla="*/ 4696 h 10000"/>
                <a:gd name="connsiteX29" fmla="*/ 6916 w 10000"/>
                <a:gd name="connsiteY29" fmla="*/ 4636 h 10000"/>
                <a:gd name="connsiteX30" fmla="*/ 6887 w 10000"/>
                <a:gd name="connsiteY30" fmla="*/ 4579 h 10000"/>
                <a:gd name="connsiteX31" fmla="*/ 6850 w 10000"/>
                <a:gd name="connsiteY31" fmla="*/ 4522 h 10000"/>
                <a:gd name="connsiteX32" fmla="*/ 6820 w 10000"/>
                <a:gd name="connsiteY32" fmla="*/ 4464 h 10000"/>
                <a:gd name="connsiteX33" fmla="*/ 6790 w 10000"/>
                <a:gd name="connsiteY33" fmla="*/ 4405 h 10000"/>
                <a:gd name="connsiteX34" fmla="*/ 6768 w 10000"/>
                <a:gd name="connsiteY34" fmla="*/ 4343 h 10000"/>
                <a:gd name="connsiteX35" fmla="*/ 6738 w 10000"/>
                <a:gd name="connsiteY35" fmla="*/ 4286 h 10000"/>
                <a:gd name="connsiteX36" fmla="*/ 6723 w 10000"/>
                <a:gd name="connsiteY36" fmla="*/ 4222 h 10000"/>
                <a:gd name="connsiteX37" fmla="*/ 6694 w 10000"/>
                <a:gd name="connsiteY37" fmla="*/ 4164 h 10000"/>
                <a:gd name="connsiteX38" fmla="*/ 6679 w 10000"/>
                <a:gd name="connsiteY38" fmla="*/ 4102 h 10000"/>
                <a:gd name="connsiteX39" fmla="*/ 6664 w 10000"/>
                <a:gd name="connsiteY39" fmla="*/ 4039 h 10000"/>
                <a:gd name="connsiteX40" fmla="*/ 6649 w 10000"/>
                <a:gd name="connsiteY40" fmla="*/ 3976 h 10000"/>
                <a:gd name="connsiteX41" fmla="*/ 6635 w 10000"/>
                <a:gd name="connsiteY41" fmla="*/ 3918 h 10000"/>
                <a:gd name="connsiteX42" fmla="*/ 6620 w 10000"/>
                <a:gd name="connsiteY42" fmla="*/ 3856 h 10000"/>
                <a:gd name="connsiteX43" fmla="*/ 6612 w 10000"/>
                <a:gd name="connsiteY43" fmla="*/ 3794 h 10000"/>
                <a:gd name="connsiteX44" fmla="*/ 6605 w 10000"/>
                <a:gd name="connsiteY44" fmla="*/ 3730 h 10000"/>
                <a:gd name="connsiteX45" fmla="*/ 6597 w 10000"/>
                <a:gd name="connsiteY45" fmla="*/ 3662 h 10000"/>
                <a:gd name="connsiteX46" fmla="*/ 6597 w 10000"/>
                <a:gd name="connsiteY46" fmla="*/ 3601 h 10000"/>
                <a:gd name="connsiteX47" fmla="*/ 6590 w 10000"/>
                <a:gd name="connsiteY47" fmla="*/ 3534 h 10000"/>
                <a:gd name="connsiteX48" fmla="*/ 6597 w 10000"/>
                <a:gd name="connsiteY48" fmla="*/ 3469 h 10000"/>
                <a:gd name="connsiteX49" fmla="*/ 6605 w 10000"/>
                <a:gd name="connsiteY49" fmla="*/ 3400 h 10000"/>
                <a:gd name="connsiteX50" fmla="*/ 6605 w 10000"/>
                <a:gd name="connsiteY50" fmla="*/ 3331 h 10000"/>
                <a:gd name="connsiteX51" fmla="*/ 6612 w 10000"/>
                <a:gd name="connsiteY51" fmla="*/ 3261 h 10000"/>
                <a:gd name="connsiteX52" fmla="*/ 6620 w 10000"/>
                <a:gd name="connsiteY52" fmla="*/ 3195 h 10000"/>
                <a:gd name="connsiteX53" fmla="*/ 6635 w 10000"/>
                <a:gd name="connsiteY53" fmla="*/ 3134 h 10000"/>
                <a:gd name="connsiteX54" fmla="*/ 6649 w 10000"/>
                <a:gd name="connsiteY54" fmla="*/ 3065 h 10000"/>
                <a:gd name="connsiteX55" fmla="*/ 6664 w 10000"/>
                <a:gd name="connsiteY55" fmla="*/ 3002 h 10000"/>
                <a:gd name="connsiteX56" fmla="*/ 6686 w 10000"/>
                <a:gd name="connsiteY56" fmla="*/ 2935 h 10000"/>
                <a:gd name="connsiteX57" fmla="*/ 6709 w 10000"/>
                <a:gd name="connsiteY57" fmla="*/ 2873 h 10000"/>
                <a:gd name="connsiteX58" fmla="*/ 6731 w 10000"/>
                <a:gd name="connsiteY58" fmla="*/ 2810 h 10000"/>
                <a:gd name="connsiteX59" fmla="*/ 6753 w 10000"/>
                <a:gd name="connsiteY59" fmla="*/ 2742 h 10000"/>
                <a:gd name="connsiteX60" fmla="*/ 6783 w 10000"/>
                <a:gd name="connsiteY60" fmla="*/ 2686 h 10000"/>
                <a:gd name="connsiteX61" fmla="*/ 6812 w 10000"/>
                <a:gd name="connsiteY61" fmla="*/ 2621 h 10000"/>
                <a:gd name="connsiteX62" fmla="*/ 6842 w 10000"/>
                <a:gd name="connsiteY62" fmla="*/ 2558 h 10000"/>
                <a:gd name="connsiteX63" fmla="*/ 6879 w 10000"/>
                <a:gd name="connsiteY63" fmla="*/ 2498 h 10000"/>
                <a:gd name="connsiteX64" fmla="*/ 6909 w 10000"/>
                <a:gd name="connsiteY64" fmla="*/ 2439 h 10000"/>
                <a:gd name="connsiteX65" fmla="*/ 6946 w 10000"/>
                <a:gd name="connsiteY65" fmla="*/ 2374 h 10000"/>
                <a:gd name="connsiteX66" fmla="*/ 6990 w 10000"/>
                <a:gd name="connsiteY66" fmla="*/ 2318 h 10000"/>
                <a:gd name="connsiteX67" fmla="*/ 7027 w 10000"/>
                <a:gd name="connsiteY67" fmla="*/ 2260 h 10000"/>
                <a:gd name="connsiteX68" fmla="*/ 7072 w 10000"/>
                <a:gd name="connsiteY68" fmla="*/ 2203 h 10000"/>
                <a:gd name="connsiteX69" fmla="*/ 7109 w 10000"/>
                <a:gd name="connsiteY69" fmla="*/ 2144 h 10000"/>
                <a:gd name="connsiteX70" fmla="*/ 7161 w 10000"/>
                <a:gd name="connsiteY70" fmla="*/ 2092 h 10000"/>
                <a:gd name="connsiteX71" fmla="*/ 7213 w 10000"/>
                <a:gd name="connsiteY71" fmla="*/ 2034 h 10000"/>
                <a:gd name="connsiteX72" fmla="*/ 7257 w 10000"/>
                <a:gd name="connsiteY72" fmla="*/ 1978 h 10000"/>
                <a:gd name="connsiteX73" fmla="*/ 7309 w 10000"/>
                <a:gd name="connsiteY73" fmla="*/ 1923 h 10000"/>
                <a:gd name="connsiteX74" fmla="*/ 7361 w 10000"/>
                <a:gd name="connsiteY74" fmla="*/ 1867 h 10000"/>
                <a:gd name="connsiteX75" fmla="*/ 7413 w 10000"/>
                <a:gd name="connsiteY75" fmla="*/ 1817 h 10000"/>
                <a:gd name="connsiteX76" fmla="*/ 7472 w 10000"/>
                <a:gd name="connsiteY76" fmla="*/ 1765 h 10000"/>
                <a:gd name="connsiteX77" fmla="*/ 7524 w 10000"/>
                <a:gd name="connsiteY77" fmla="*/ 1715 h 10000"/>
                <a:gd name="connsiteX78" fmla="*/ 7583 w 10000"/>
                <a:gd name="connsiteY78" fmla="*/ 1665 h 10000"/>
                <a:gd name="connsiteX79" fmla="*/ 7610 w 10000"/>
                <a:gd name="connsiteY79" fmla="*/ 1635 h 10000"/>
                <a:gd name="connsiteX80" fmla="*/ 5390 w 10000"/>
                <a:gd name="connsiteY80" fmla="*/ 6 h 10000"/>
                <a:gd name="connsiteX81" fmla="*/ 1401 w 10000"/>
                <a:gd name="connsiteY81" fmla="*/ 0 h 10000"/>
                <a:gd name="connsiteX82" fmla="*/ 1305 w 10000"/>
                <a:gd name="connsiteY82" fmla="*/ 123 h 10000"/>
                <a:gd name="connsiteX83" fmla="*/ 1223 w 10000"/>
                <a:gd name="connsiteY83" fmla="*/ 216 h 10000"/>
                <a:gd name="connsiteX84" fmla="*/ 1149 w 10000"/>
                <a:gd name="connsiteY84" fmla="*/ 317 h 10000"/>
                <a:gd name="connsiteX85" fmla="*/ 1067 w 10000"/>
                <a:gd name="connsiteY85" fmla="*/ 418 h 10000"/>
                <a:gd name="connsiteX86" fmla="*/ 1001 w 10000"/>
                <a:gd name="connsiteY86" fmla="*/ 521 h 10000"/>
                <a:gd name="connsiteX87" fmla="*/ 927 w 10000"/>
                <a:gd name="connsiteY87" fmla="*/ 621 h 10000"/>
                <a:gd name="connsiteX88" fmla="*/ 860 w 10000"/>
                <a:gd name="connsiteY88" fmla="*/ 728 h 10000"/>
                <a:gd name="connsiteX89" fmla="*/ 793 w 10000"/>
                <a:gd name="connsiteY89" fmla="*/ 836 h 10000"/>
                <a:gd name="connsiteX90" fmla="*/ 734 w 10000"/>
                <a:gd name="connsiteY90" fmla="*/ 934 h 10000"/>
                <a:gd name="connsiteX91" fmla="*/ 675 w 10000"/>
                <a:gd name="connsiteY91" fmla="*/ 1043 h 10000"/>
                <a:gd name="connsiteX92" fmla="*/ 615 w 10000"/>
                <a:gd name="connsiteY92" fmla="*/ 1146 h 10000"/>
                <a:gd name="connsiteX93" fmla="*/ 556 w 10000"/>
                <a:gd name="connsiteY93" fmla="*/ 1258 h 10000"/>
                <a:gd name="connsiteX94" fmla="*/ 504 w 10000"/>
                <a:gd name="connsiteY94" fmla="*/ 1360 h 10000"/>
                <a:gd name="connsiteX95" fmla="*/ 452 w 10000"/>
                <a:gd name="connsiteY95" fmla="*/ 1468 h 10000"/>
                <a:gd name="connsiteX96" fmla="*/ 408 w 10000"/>
                <a:gd name="connsiteY96" fmla="*/ 1577 h 10000"/>
                <a:gd name="connsiteX97" fmla="*/ 363 w 10000"/>
                <a:gd name="connsiteY97" fmla="*/ 1685 h 10000"/>
                <a:gd name="connsiteX98" fmla="*/ 319 w 10000"/>
                <a:gd name="connsiteY98" fmla="*/ 1798 h 10000"/>
                <a:gd name="connsiteX99" fmla="*/ 282 w 10000"/>
                <a:gd name="connsiteY99" fmla="*/ 1909 h 10000"/>
                <a:gd name="connsiteX100" fmla="*/ 237 w 10000"/>
                <a:gd name="connsiteY100" fmla="*/ 2025 h 10000"/>
                <a:gd name="connsiteX101" fmla="*/ 208 w 10000"/>
                <a:gd name="connsiteY101" fmla="*/ 2135 h 10000"/>
                <a:gd name="connsiteX102" fmla="*/ 170 w 10000"/>
                <a:gd name="connsiteY102" fmla="*/ 2250 h 10000"/>
                <a:gd name="connsiteX103" fmla="*/ 148 w 10000"/>
                <a:gd name="connsiteY103" fmla="*/ 2365 h 10000"/>
                <a:gd name="connsiteX104" fmla="*/ 119 w 10000"/>
                <a:gd name="connsiteY104" fmla="*/ 2477 h 10000"/>
                <a:gd name="connsiteX105" fmla="*/ 96 w 10000"/>
                <a:gd name="connsiteY105" fmla="*/ 2590 h 10000"/>
                <a:gd name="connsiteX106" fmla="*/ 74 w 10000"/>
                <a:gd name="connsiteY106" fmla="*/ 2709 h 10000"/>
                <a:gd name="connsiteX107" fmla="*/ 52 w 10000"/>
                <a:gd name="connsiteY107" fmla="*/ 2829 h 10000"/>
                <a:gd name="connsiteX108" fmla="*/ 37 w 10000"/>
                <a:gd name="connsiteY108" fmla="*/ 2945 h 10000"/>
                <a:gd name="connsiteX109" fmla="*/ 22 w 10000"/>
                <a:gd name="connsiteY109" fmla="*/ 3060 h 10000"/>
                <a:gd name="connsiteX110" fmla="*/ 15 w 10000"/>
                <a:gd name="connsiteY110" fmla="*/ 3177 h 10000"/>
                <a:gd name="connsiteX111" fmla="*/ 7 w 10000"/>
                <a:gd name="connsiteY111" fmla="*/ 3296 h 10000"/>
                <a:gd name="connsiteX112" fmla="*/ 0 w 10000"/>
                <a:gd name="connsiteY112" fmla="*/ 3413 h 10000"/>
                <a:gd name="connsiteX113" fmla="*/ 0 w 10000"/>
                <a:gd name="connsiteY113" fmla="*/ 3534 h 10000"/>
                <a:gd name="connsiteX114" fmla="*/ 7 w 10000"/>
                <a:gd name="connsiteY114" fmla="*/ 3687 h 10000"/>
                <a:gd name="connsiteX115" fmla="*/ 7 w 10000"/>
                <a:gd name="connsiteY115" fmla="*/ 3840 h 10000"/>
                <a:gd name="connsiteX116" fmla="*/ 22 w 10000"/>
                <a:gd name="connsiteY116" fmla="*/ 3986 h 10000"/>
                <a:gd name="connsiteX117" fmla="*/ 37 w 10000"/>
                <a:gd name="connsiteY117" fmla="*/ 4136 h 10000"/>
                <a:gd name="connsiteX118" fmla="*/ 59 w 10000"/>
                <a:gd name="connsiteY118" fmla="*/ 4286 h 10000"/>
                <a:gd name="connsiteX119" fmla="*/ 89 w 10000"/>
                <a:gd name="connsiteY119" fmla="*/ 4435 h 10000"/>
                <a:gd name="connsiteX120" fmla="*/ 119 w 10000"/>
                <a:gd name="connsiteY120" fmla="*/ 4583 h 10000"/>
                <a:gd name="connsiteX121" fmla="*/ 148 w 10000"/>
                <a:gd name="connsiteY121" fmla="*/ 4733 h 10000"/>
                <a:gd name="connsiteX122" fmla="*/ 193 w 10000"/>
                <a:gd name="connsiteY122" fmla="*/ 4879 h 10000"/>
                <a:gd name="connsiteX123" fmla="*/ 237 w 10000"/>
                <a:gd name="connsiteY123" fmla="*/ 5022 h 10000"/>
                <a:gd name="connsiteX124" fmla="*/ 282 w 10000"/>
                <a:gd name="connsiteY124" fmla="*/ 5168 h 10000"/>
                <a:gd name="connsiteX125" fmla="*/ 334 w 10000"/>
                <a:gd name="connsiteY125" fmla="*/ 5311 h 10000"/>
                <a:gd name="connsiteX126" fmla="*/ 393 w 10000"/>
                <a:gd name="connsiteY126" fmla="*/ 5451 h 10000"/>
                <a:gd name="connsiteX127" fmla="*/ 452 w 10000"/>
                <a:gd name="connsiteY127" fmla="*/ 5591 h 10000"/>
                <a:gd name="connsiteX128" fmla="*/ 519 w 10000"/>
                <a:gd name="connsiteY128" fmla="*/ 5731 h 10000"/>
                <a:gd name="connsiteX129" fmla="*/ 586 w 10000"/>
                <a:gd name="connsiteY129" fmla="*/ 5872 h 10000"/>
                <a:gd name="connsiteX130" fmla="*/ 660 w 10000"/>
                <a:gd name="connsiteY130" fmla="*/ 6006 h 10000"/>
                <a:gd name="connsiteX131" fmla="*/ 741 w 10000"/>
                <a:gd name="connsiteY131" fmla="*/ 6140 h 10000"/>
                <a:gd name="connsiteX132" fmla="*/ 823 w 10000"/>
                <a:gd name="connsiteY132" fmla="*/ 6280 h 10000"/>
                <a:gd name="connsiteX133" fmla="*/ 904 w 10000"/>
                <a:gd name="connsiteY133" fmla="*/ 6410 h 10000"/>
                <a:gd name="connsiteX134" fmla="*/ 993 w 10000"/>
                <a:gd name="connsiteY134" fmla="*/ 6542 h 10000"/>
                <a:gd name="connsiteX135" fmla="*/ 1090 w 10000"/>
                <a:gd name="connsiteY135" fmla="*/ 6665 h 10000"/>
                <a:gd name="connsiteX136" fmla="*/ 1186 w 10000"/>
                <a:gd name="connsiteY136" fmla="*/ 6797 h 10000"/>
                <a:gd name="connsiteX137" fmla="*/ 1290 w 10000"/>
                <a:gd name="connsiteY137" fmla="*/ 6926 h 10000"/>
                <a:gd name="connsiteX138" fmla="*/ 1386 w 10000"/>
                <a:gd name="connsiteY138" fmla="*/ 7052 h 10000"/>
                <a:gd name="connsiteX139" fmla="*/ 1497 w 10000"/>
                <a:gd name="connsiteY139" fmla="*/ 7178 h 10000"/>
                <a:gd name="connsiteX140" fmla="*/ 1609 w 10000"/>
                <a:gd name="connsiteY140" fmla="*/ 7298 h 10000"/>
                <a:gd name="connsiteX141" fmla="*/ 1727 w 10000"/>
                <a:gd name="connsiteY141" fmla="*/ 7423 h 10000"/>
                <a:gd name="connsiteX142" fmla="*/ 1846 w 10000"/>
                <a:gd name="connsiteY142" fmla="*/ 7543 h 10000"/>
                <a:gd name="connsiteX143" fmla="*/ 1964 w 10000"/>
                <a:gd name="connsiteY143" fmla="*/ 7659 h 10000"/>
                <a:gd name="connsiteX144" fmla="*/ 2090 w 10000"/>
                <a:gd name="connsiteY144" fmla="*/ 7773 h 10000"/>
                <a:gd name="connsiteX145" fmla="*/ 2224 w 10000"/>
                <a:gd name="connsiteY145" fmla="*/ 7891 h 10000"/>
                <a:gd name="connsiteX146" fmla="*/ 2350 w 10000"/>
                <a:gd name="connsiteY146" fmla="*/ 8006 h 10000"/>
                <a:gd name="connsiteX147" fmla="*/ 2491 w 10000"/>
                <a:gd name="connsiteY147" fmla="*/ 8116 h 10000"/>
                <a:gd name="connsiteX148" fmla="*/ 2617 w 10000"/>
                <a:gd name="connsiteY148" fmla="*/ 8228 h 10000"/>
                <a:gd name="connsiteX149" fmla="*/ 2765 w 10000"/>
                <a:gd name="connsiteY149" fmla="*/ 8335 h 10000"/>
                <a:gd name="connsiteX150" fmla="*/ 2906 w 10000"/>
                <a:gd name="connsiteY150" fmla="*/ 8440 h 10000"/>
                <a:gd name="connsiteX151" fmla="*/ 3054 w 10000"/>
                <a:gd name="connsiteY151" fmla="*/ 8546 h 10000"/>
                <a:gd name="connsiteX152" fmla="*/ 3210 w 10000"/>
                <a:gd name="connsiteY152" fmla="*/ 8648 h 10000"/>
                <a:gd name="connsiteX153" fmla="*/ 3358 w 10000"/>
                <a:gd name="connsiteY153" fmla="*/ 8749 h 10000"/>
                <a:gd name="connsiteX154" fmla="*/ 3514 w 10000"/>
                <a:gd name="connsiteY154" fmla="*/ 8850 h 10000"/>
                <a:gd name="connsiteX155" fmla="*/ 3677 w 10000"/>
                <a:gd name="connsiteY155" fmla="*/ 8946 h 10000"/>
                <a:gd name="connsiteX156" fmla="*/ 3840 w 10000"/>
                <a:gd name="connsiteY156" fmla="*/ 9038 h 10000"/>
                <a:gd name="connsiteX157" fmla="*/ 4010 w 10000"/>
                <a:gd name="connsiteY157" fmla="*/ 9133 h 10000"/>
                <a:gd name="connsiteX158" fmla="*/ 4181 w 10000"/>
                <a:gd name="connsiteY158" fmla="*/ 9217 h 10000"/>
                <a:gd name="connsiteX159" fmla="*/ 4351 w 10000"/>
                <a:gd name="connsiteY159" fmla="*/ 9306 h 10000"/>
                <a:gd name="connsiteX160" fmla="*/ 4522 w 10000"/>
                <a:gd name="connsiteY160" fmla="*/ 9390 h 10000"/>
                <a:gd name="connsiteX161" fmla="*/ 4700 w 10000"/>
                <a:gd name="connsiteY161" fmla="*/ 9477 h 10000"/>
                <a:gd name="connsiteX162" fmla="*/ 4878 w 10000"/>
                <a:gd name="connsiteY162" fmla="*/ 9558 h 10000"/>
                <a:gd name="connsiteX163" fmla="*/ 5063 w 10000"/>
                <a:gd name="connsiteY163" fmla="*/ 9636 h 10000"/>
                <a:gd name="connsiteX164" fmla="*/ 5248 w 10000"/>
                <a:gd name="connsiteY164" fmla="*/ 9717 h 10000"/>
                <a:gd name="connsiteX165" fmla="*/ 5426 w 10000"/>
                <a:gd name="connsiteY165" fmla="*/ 9789 h 10000"/>
                <a:gd name="connsiteX166" fmla="*/ 5619 w 10000"/>
                <a:gd name="connsiteY166" fmla="*/ 9862 h 10000"/>
                <a:gd name="connsiteX167" fmla="*/ 6004 w 10000"/>
                <a:gd name="connsiteY167" fmla="*/ 10000 h 10000"/>
                <a:gd name="connsiteX168" fmla="*/ 7539 w 10000"/>
                <a:gd name="connsiteY168" fmla="*/ 8141 h 10000"/>
                <a:gd name="connsiteX169" fmla="*/ 10000 w 10000"/>
                <a:gd name="connsiteY169" fmla="*/ 6444 h 10000"/>
                <a:gd name="connsiteX0" fmla="*/ 10000 w 10000"/>
                <a:gd name="connsiteY0" fmla="*/ 6444 h 9862"/>
                <a:gd name="connsiteX1" fmla="*/ 10000 w 10000"/>
                <a:gd name="connsiteY1" fmla="*/ 6444 h 9862"/>
                <a:gd name="connsiteX2" fmla="*/ 9911 w 10000"/>
                <a:gd name="connsiteY2" fmla="*/ 6429 h 9862"/>
                <a:gd name="connsiteX3" fmla="*/ 9815 w 10000"/>
                <a:gd name="connsiteY3" fmla="*/ 6410 h 9862"/>
                <a:gd name="connsiteX4" fmla="*/ 9726 w 10000"/>
                <a:gd name="connsiteY4" fmla="*/ 6392 h 9862"/>
                <a:gd name="connsiteX5" fmla="*/ 9637 w 10000"/>
                <a:gd name="connsiteY5" fmla="*/ 6367 h 9862"/>
                <a:gd name="connsiteX6" fmla="*/ 9548 w 10000"/>
                <a:gd name="connsiteY6" fmla="*/ 6348 h 9862"/>
                <a:gd name="connsiteX7" fmla="*/ 9466 w 10000"/>
                <a:gd name="connsiteY7" fmla="*/ 6324 h 9862"/>
                <a:gd name="connsiteX8" fmla="*/ 9377 w 10000"/>
                <a:gd name="connsiteY8" fmla="*/ 6300 h 9862"/>
                <a:gd name="connsiteX9" fmla="*/ 9288 w 10000"/>
                <a:gd name="connsiteY9" fmla="*/ 6276 h 9862"/>
                <a:gd name="connsiteX10" fmla="*/ 9118 w 10000"/>
                <a:gd name="connsiteY10" fmla="*/ 6222 h 9862"/>
                <a:gd name="connsiteX11" fmla="*/ 8955 w 10000"/>
                <a:gd name="connsiteY11" fmla="*/ 6164 h 9862"/>
                <a:gd name="connsiteX12" fmla="*/ 8792 w 10000"/>
                <a:gd name="connsiteY12" fmla="*/ 6103 h 9862"/>
                <a:gd name="connsiteX13" fmla="*/ 8636 w 10000"/>
                <a:gd name="connsiteY13" fmla="*/ 6035 h 9862"/>
                <a:gd name="connsiteX14" fmla="*/ 8480 w 10000"/>
                <a:gd name="connsiteY14" fmla="*/ 5966 h 9862"/>
                <a:gd name="connsiteX15" fmla="*/ 8340 w 10000"/>
                <a:gd name="connsiteY15" fmla="*/ 5896 h 9862"/>
                <a:gd name="connsiteX16" fmla="*/ 8199 w 10000"/>
                <a:gd name="connsiteY16" fmla="*/ 5818 h 9862"/>
                <a:gd name="connsiteX17" fmla="*/ 8058 w 10000"/>
                <a:gd name="connsiteY17" fmla="*/ 5735 h 9862"/>
                <a:gd name="connsiteX18" fmla="*/ 7924 w 10000"/>
                <a:gd name="connsiteY18" fmla="*/ 5651 h 9862"/>
                <a:gd name="connsiteX19" fmla="*/ 7798 w 10000"/>
                <a:gd name="connsiteY19" fmla="*/ 5561 h 9862"/>
                <a:gd name="connsiteX20" fmla="*/ 7672 w 10000"/>
                <a:gd name="connsiteY20" fmla="*/ 5471 h 9862"/>
                <a:gd name="connsiteX21" fmla="*/ 7554 w 10000"/>
                <a:gd name="connsiteY21" fmla="*/ 5378 h 9862"/>
                <a:gd name="connsiteX22" fmla="*/ 7450 w 10000"/>
                <a:gd name="connsiteY22" fmla="*/ 5278 h 9862"/>
                <a:gd name="connsiteX23" fmla="*/ 7346 w 10000"/>
                <a:gd name="connsiteY23" fmla="*/ 5177 h 9862"/>
                <a:gd name="connsiteX24" fmla="*/ 7250 w 10000"/>
                <a:gd name="connsiteY24" fmla="*/ 5075 h 9862"/>
                <a:gd name="connsiteX25" fmla="*/ 7161 w 10000"/>
                <a:gd name="connsiteY25" fmla="*/ 4970 h 9862"/>
                <a:gd name="connsiteX26" fmla="*/ 7072 w 10000"/>
                <a:gd name="connsiteY26" fmla="*/ 4863 h 9862"/>
                <a:gd name="connsiteX27" fmla="*/ 6990 w 10000"/>
                <a:gd name="connsiteY27" fmla="*/ 4748 h 9862"/>
                <a:gd name="connsiteX28" fmla="*/ 6953 w 10000"/>
                <a:gd name="connsiteY28" fmla="*/ 4696 h 9862"/>
                <a:gd name="connsiteX29" fmla="*/ 6916 w 10000"/>
                <a:gd name="connsiteY29" fmla="*/ 4636 h 9862"/>
                <a:gd name="connsiteX30" fmla="*/ 6887 w 10000"/>
                <a:gd name="connsiteY30" fmla="*/ 4579 h 9862"/>
                <a:gd name="connsiteX31" fmla="*/ 6850 w 10000"/>
                <a:gd name="connsiteY31" fmla="*/ 4522 h 9862"/>
                <a:gd name="connsiteX32" fmla="*/ 6820 w 10000"/>
                <a:gd name="connsiteY32" fmla="*/ 4464 h 9862"/>
                <a:gd name="connsiteX33" fmla="*/ 6790 w 10000"/>
                <a:gd name="connsiteY33" fmla="*/ 4405 h 9862"/>
                <a:gd name="connsiteX34" fmla="*/ 6768 w 10000"/>
                <a:gd name="connsiteY34" fmla="*/ 4343 h 9862"/>
                <a:gd name="connsiteX35" fmla="*/ 6738 w 10000"/>
                <a:gd name="connsiteY35" fmla="*/ 4286 h 9862"/>
                <a:gd name="connsiteX36" fmla="*/ 6723 w 10000"/>
                <a:gd name="connsiteY36" fmla="*/ 4222 h 9862"/>
                <a:gd name="connsiteX37" fmla="*/ 6694 w 10000"/>
                <a:gd name="connsiteY37" fmla="*/ 4164 h 9862"/>
                <a:gd name="connsiteX38" fmla="*/ 6679 w 10000"/>
                <a:gd name="connsiteY38" fmla="*/ 4102 h 9862"/>
                <a:gd name="connsiteX39" fmla="*/ 6664 w 10000"/>
                <a:gd name="connsiteY39" fmla="*/ 4039 h 9862"/>
                <a:gd name="connsiteX40" fmla="*/ 6649 w 10000"/>
                <a:gd name="connsiteY40" fmla="*/ 3976 h 9862"/>
                <a:gd name="connsiteX41" fmla="*/ 6635 w 10000"/>
                <a:gd name="connsiteY41" fmla="*/ 3918 h 9862"/>
                <a:gd name="connsiteX42" fmla="*/ 6620 w 10000"/>
                <a:gd name="connsiteY42" fmla="*/ 3856 h 9862"/>
                <a:gd name="connsiteX43" fmla="*/ 6612 w 10000"/>
                <a:gd name="connsiteY43" fmla="*/ 3794 h 9862"/>
                <a:gd name="connsiteX44" fmla="*/ 6605 w 10000"/>
                <a:gd name="connsiteY44" fmla="*/ 3730 h 9862"/>
                <a:gd name="connsiteX45" fmla="*/ 6597 w 10000"/>
                <a:gd name="connsiteY45" fmla="*/ 3662 h 9862"/>
                <a:gd name="connsiteX46" fmla="*/ 6597 w 10000"/>
                <a:gd name="connsiteY46" fmla="*/ 3601 h 9862"/>
                <a:gd name="connsiteX47" fmla="*/ 6590 w 10000"/>
                <a:gd name="connsiteY47" fmla="*/ 3534 h 9862"/>
                <a:gd name="connsiteX48" fmla="*/ 6597 w 10000"/>
                <a:gd name="connsiteY48" fmla="*/ 3469 h 9862"/>
                <a:gd name="connsiteX49" fmla="*/ 6605 w 10000"/>
                <a:gd name="connsiteY49" fmla="*/ 3400 h 9862"/>
                <a:gd name="connsiteX50" fmla="*/ 6605 w 10000"/>
                <a:gd name="connsiteY50" fmla="*/ 3331 h 9862"/>
                <a:gd name="connsiteX51" fmla="*/ 6612 w 10000"/>
                <a:gd name="connsiteY51" fmla="*/ 3261 h 9862"/>
                <a:gd name="connsiteX52" fmla="*/ 6620 w 10000"/>
                <a:gd name="connsiteY52" fmla="*/ 3195 h 9862"/>
                <a:gd name="connsiteX53" fmla="*/ 6635 w 10000"/>
                <a:gd name="connsiteY53" fmla="*/ 3134 h 9862"/>
                <a:gd name="connsiteX54" fmla="*/ 6649 w 10000"/>
                <a:gd name="connsiteY54" fmla="*/ 3065 h 9862"/>
                <a:gd name="connsiteX55" fmla="*/ 6664 w 10000"/>
                <a:gd name="connsiteY55" fmla="*/ 3002 h 9862"/>
                <a:gd name="connsiteX56" fmla="*/ 6686 w 10000"/>
                <a:gd name="connsiteY56" fmla="*/ 2935 h 9862"/>
                <a:gd name="connsiteX57" fmla="*/ 6709 w 10000"/>
                <a:gd name="connsiteY57" fmla="*/ 2873 h 9862"/>
                <a:gd name="connsiteX58" fmla="*/ 6731 w 10000"/>
                <a:gd name="connsiteY58" fmla="*/ 2810 h 9862"/>
                <a:gd name="connsiteX59" fmla="*/ 6753 w 10000"/>
                <a:gd name="connsiteY59" fmla="*/ 2742 h 9862"/>
                <a:gd name="connsiteX60" fmla="*/ 6783 w 10000"/>
                <a:gd name="connsiteY60" fmla="*/ 2686 h 9862"/>
                <a:gd name="connsiteX61" fmla="*/ 6812 w 10000"/>
                <a:gd name="connsiteY61" fmla="*/ 2621 h 9862"/>
                <a:gd name="connsiteX62" fmla="*/ 6842 w 10000"/>
                <a:gd name="connsiteY62" fmla="*/ 2558 h 9862"/>
                <a:gd name="connsiteX63" fmla="*/ 6879 w 10000"/>
                <a:gd name="connsiteY63" fmla="*/ 2498 h 9862"/>
                <a:gd name="connsiteX64" fmla="*/ 6909 w 10000"/>
                <a:gd name="connsiteY64" fmla="*/ 2439 h 9862"/>
                <a:gd name="connsiteX65" fmla="*/ 6946 w 10000"/>
                <a:gd name="connsiteY65" fmla="*/ 2374 h 9862"/>
                <a:gd name="connsiteX66" fmla="*/ 6990 w 10000"/>
                <a:gd name="connsiteY66" fmla="*/ 2318 h 9862"/>
                <a:gd name="connsiteX67" fmla="*/ 7027 w 10000"/>
                <a:gd name="connsiteY67" fmla="*/ 2260 h 9862"/>
                <a:gd name="connsiteX68" fmla="*/ 7072 w 10000"/>
                <a:gd name="connsiteY68" fmla="*/ 2203 h 9862"/>
                <a:gd name="connsiteX69" fmla="*/ 7109 w 10000"/>
                <a:gd name="connsiteY69" fmla="*/ 2144 h 9862"/>
                <a:gd name="connsiteX70" fmla="*/ 7161 w 10000"/>
                <a:gd name="connsiteY70" fmla="*/ 2092 h 9862"/>
                <a:gd name="connsiteX71" fmla="*/ 7213 w 10000"/>
                <a:gd name="connsiteY71" fmla="*/ 2034 h 9862"/>
                <a:gd name="connsiteX72" fmla="*/ 7257 w 10000"/>
                <a:gd name="connsiteY72" fmla="*/ 1978 h 9862"/>
                <a:gd name="connsiteX73" fmla="*/ 7309 w 10000"/>
                <a:gd name="connsiteY73" fmla="*/ 1923 h 9862"/>
                <a:gd name="connsiteX74" fmla="*/ 7361 w 10000"/>
                <a:gd name="connsiteY74" fmla="*/ 1867 h 9862"/>
                <a:gd name="connsiteX75" fmla="*/ 7413 w 10000"/>
                <a:gd name="connsiteY75" fmla="*/ 1817 h 9862"/>
                <a:gd name="connsiteX76" fmla="*/ 7472 w 10000"/>
                <a:gd name="connsiteY76" fmla="*/ 1765 h 9862"/>
                <a:gd name="connsiteX77" fmla="*/ 7524 w 10000"/>
                <a:gd name="connsiteY77" fmla="*/ 1715 h 9862"/>
                <a:gd name="connsiteX78" fmla="*/ 7583 w 10000"/>
                <a:gd name="connsiteY78" fmla="*/ 1665 h 9862"/>
                <a:gd name="connsiteX79" fmla="*/ 7610 w 10000"/>
                <a:gd name="connsiteY79" fmla="*/ 1635 h 9862"/>
                <a:gd name="connsiteX80" fmla="*/ 5390 w 10000"/>
                <a:gd name="connsiteY80" fmla="*/ 6 h 9862"/>
                <a:gd name="connsiteX81" fmla="*/ 1401 w 10000"/>
                <a:gd name="connsiteY81" fmla="*/ 0 h 9862"/>
                <a:gd name="connsiteX82" fmla="*/ 1305 w 10000"/>
                <a:gd name="connsiteY82" fmla="*/ 123 h 9862"/>
                <a:gd name="connsiteX83" fmla="*/ 1223 w 10000"/>
                <a:gd name="connsiteY83" fmla="*/ 216 h 9862"/>
                <a:gd name="connsiteX84" fmla="*/ 1149 w 10000"/>
                <a:gd name="connsiteY84" fmla="*/ 317 h 9862"/>
                <a:gd name="connsiteX85" fmla="*/ 1067 w 10000"/>
                <a:gd name="connsiteY85" fmla="*/ 418 h 9862"/>
                <a:gd name="connsiteX86" fmla="*/ 1001 w 10000"/>
                <a:gd name="connsiteY86" fmla="*/ 521 h 9862"/>
                <a:gd name="connsiteX87" fmla="*/ 927 w 10000"/>
                <a:gd name="connsiteY87" fmla="*/ 621 h 9862"/>
                <a:gd name="connsiteX88" fmla="*/ 860 w 10000"/>
                <a:gd name="connsiteY88" fmla="*/ 728 h 9862"/>
                <a:gd name="connsiteX89" fmla="*/ 793 w 10000"/>
                <a:gd name="connsiteY89" fmla="*/ 836 h 9862"/>
                <a:gd name="connsiteX90" fmla="*/ 734 w 10000"/>
                <a:gd name="connsiteY90" fmla="*/ 934 h 9862"/>
                <a:gd name="connsiteX91" fmla="*/ 675 w 10000"/>
                <a:gd name="connsiteY91" fmla="*/ 1043 h 9862"/>
                <a:gd name="connsiteX92" fmla="*/ 615 w 10000"/>
                <a:gd name="connsiteY92" fmla="*/ 1146 h 9862"/>
                <a:gd name="connsiteX93" fmla="*/ 556 w 10000"/>
                <a:gd name="connsiteY93" fmla="*/ 1258 h 9862"/>
                <a:gd name="connsiteX94" fmla="*/ 504 w 10000"/>
                <a:gd name="connsiteY94" fmla="*/ 1360 h 9862"/>
                <a:gd name="connsiteX95" fmla="*/ 452 w 10000"/>
                <a:gd name="connsiteY95" fmla="*/ 1468 h 9862"/>
                <a:gd name="connsiteX96" fmla="*/ 408 w 10000"/>
                <a:gd name="connsiteY96" fmla="*/ 1577 h 9862"/>
                <a:gd name="connsiteX97" fmla="*/ 363 w 10000"/>
                <a:gd name="connsiteY97" fmla="*/ 1685 h 9862"/>
                <a:gd name="connsiteX98" fmla="*/ 319 w 10000"/>
                <a:gd name="connsiteY98" fmla="*/ 1798 h 9862"/>
                <a:gd name="connsiteX99" fmla="*/ 282 w 10000"/>
                <a:gd name="connsiteY99" fmla="*/ 1909 h 9862"/>
                <a:gd name="connsiteX100" fmla="*/ 237 w 10000"/>
                <a:gd name="connsiteY100" fmla="*/ 2025 h 9862"/>
                <a:gd name="connsiteX101" fmla="*/ 208 w 10000"/>
                <a:gd name="connsiteY101" fmla="*/ 2135 h 9862"/>
                <a:gd name="connsiteX102" fmla="*/ 170 w 10000"/>
                <a:gd name="connsiteY102" fmla="*/ 2250 h 9862"/>
                <a:gd name="connsiteX103" fmla="*/ 148 w 10000"/>
                <a:gd name="connsiteY103" fmla="*/ 2365 h 9862"/>
                <a:gd name="connsiteX104" fmla="*/ 119 w 10000"/>
                <a:gd name="connsiteY104" fmla="*/ 2477 h 9862"/>
                <a:gd name="connsiteX105" fmla="*/ 96 w 10000"/>
                <a:gd name="connsiteY105" fmla="*/ 2590 h 9862"/>
                <a:gd name="connsiteX106" fmla="*/ 74 w 10000"/>
                <a:gd name="connsiteY106" fmla="*/ 2709 h 9862"/>
                <a:gd name="connsiteX107" fmla="*/ 52 w 10000"/>
                <a:gd name="connsiteY107" fmla="*/ 2829 h 9862"/>
                <a:gd name="connsiteX108" fmla="*/ 37 w 10000"/>
                <a:gd name="connsiteY108" fmla="*/ 2945 h 9862"/>
                <a:gd name="connsiteX109" fmla="*/ 22 w 10000"/>
                <a:gd name="connsiteY109" fmla="*/ 3060 h 9862"/>
                <a:gd name="connsiteX110" fmla="*/ 15 w 10000"/>
                <a:gd name="connsiteY110" fmla="*/ 3177 h 9862"/>
                <a:gd name="connsiteX111" fmla="*/ 7 w 10000"/>
                <a:gd name="connsiteY111" fmla="*/ 3296 h 9862"/>
                <a:gd name="connsiteX112" fmla="*/ 0 w 10000"/>
                <a:gd name="connsiteY112" fmla="*/ 3413 h 9862"/>
                <a:gd name="connsiteX113" fmla="*/ 0 w 10000"/>
                <a:gd name="connsiteY113" fmla="*/ 3534 h 9862"/>
                <a:gd name="connsiteX114" fmla="*/ 7 w 10000"/>
                <a:gd name="connsiteY114" fmla="*/ 3687 h 9862"/>
                <a:gd name="connsiteX115" fmla="*/ 7 w 10000"/>
                <a:gd name="connsiteY115" fmla="*/ 3840 h 9862"/>
                <a:gd name="connsiteX116" fmla="*/ 22 w 10000"/>
                <a:gd name="connsiteY116" fmla="*/ 3986 h 9862"/>
                <a:gd name="connsiteX117" fmla="*/ 37 w 10000"/>
                <a:gd name="connsiteY117" fmla="*/ 4136 h 9862"/>
                <a:gd name="connsiteX118" fmla="*/ 59 w 10000"/>
                <a:gd name="connsiteY118" fmla="*/ 4286 h 9862"/>
                <a:gd name="connsiteX119" fmla="*/ 89 w 10000"/>
                <a:gd name="connsiteY119" fmla="*/ 4435 h 9862"/>
                <a:gd name="connsiteX120" fmla="*/ 119 w 10000"/>
                <a:gd name="connsiteY120" fmla="*/ 4583 h 9862"/>
                <a:gd name="connsiteX121" fmla="*/ 148 w 10000"/>
                <a:gd name="connsiteY121" fmla="*/ 4733 h 9862"/>
                <a:gd name="connsiteX122" fmla="*/ 193 w 10000"/>
                <a:gd name="connsiteY122" fmla="*/ 4879 h 9862"/>
                <a:gd name="connsiteX123" fmla="*/ 237 w 10000"/>
                <a:gd name="connsiteY123" fmla="*/ 5022 h 9862"/>
                <a:gd name="connsiteX124" fmla="*/ 282 w 10000"/>
                <a:gd name="connsiteY124" fmla="*/ 5168 h 9862"/>
                <a:gd name="connsiteX125" fmla="*/ 334 w 10000"/>
                <a:gd name="connsiteY125" fmla="*/ 5311 h 9862"/>
                <a:gd name="connsiteX126" fmla="*/ 393 w 10000"/>
                <a:gd name="connsiteY126" fmla="*/ 5451 h 9862"/>
                <a:gd name="connsiteX127" fmla="*/ 452 w 10000"/>
                <a:gd name="connsiteY127" fmla="*/ 5591 h 9862"/>
                <a:gd name="connsiteX128" fmla="*/ 519 w 10000"/>
                <a:gd name="connsiteY128" fmla="*/ 5731 h 9862"/>
                <a:gd name="connsiteX129" fmla="*/ 586 w 10000"/>
                <a:gd name="connsiteY129" fmla="*/ 5872 h 9862"/>
                <a:gd name="connsiteX130" fmla="*/ 660 w 10000"/>
                <a:gd name="connsiteY130" fmla="*/ 6006 h 9862"/>
                <a:gd name="connsiteX131" fmla="*/ 741 w 10000"/>
                <a:gd name="connsiteY131" fmla="*/ 6140 h 9862"/>
                <a:gd name="connsiteX132" fmla="*/ 823 w 10000"/>
                <a:gd name="connsiteY132" fmla="*/ 6280 h 9862"/>
                <a:gd name="connsiteX133" fmla="*/ 904 w 10000"/>
                <a:gd name="connsiteY133" fmla="*/ 6410 h 9862"/>
                <a:gd name="connsiteX134" fmla="*/ 993 w 10000"/>
                <a:gd name="connsiteY134" fmla="*/ 6542 h 9862"/>
                <a:gd name="connsiteX135" fmla="*/ 1090 w 10000"/>
                <a:gd name="connsiteY135" fmla="*/ 6665 h 9862"/>
                <a:gd name="connsiteX136" fmla="*/ 1186 w 10000"/>
                <a:gd name="connsiteY136" fmla="*/ 6797 h 9862"/>
                <a:gd name="connsiteX137" fmla="*/ 1290 w 10000"/>
                <a:gd name="connsiteY137" fmla="*/ 6926 h 9862"/>
                <a:gd name="connsiteX138" fmla="*/ 1386 w 10000"/>
                <a:gd name="connsiteY138" fmla="*/ 7052 h 9862"/>
                <a:gd name="connsiteX139" fmla="*/ 1497 w 10000"/>
                <a:gd name="connsiteY139" fmla="*/ 7178 h 9862"/>
                <a:gd name="connsiteX140" fmla="*/ 1609 w 10000"/>
                <a:gd name="connsiteY140" fmla="*/ 7298 h 9862"/>
                <a:gd name="connsiteX141" fmla="*/ 1727 w 10000"/>
                <a:gd name="connsiteY141" fmla="*/ 7423 h 9862"/>
                <a:gd name="connsiteX142" fmla="*/ 1846 w 10000"/>
                <a:gd name="connsiteY142" fmla="*/ 7543 h 9862"/>
                <a:gd name="connsiteX143" fmla="*/ 1964 w 10000"/>
                <a:gd name="connsiteY143" fmla="*/ 7659 h 9862"/>
                <a:gd name="connsiteX144" fmla="*/ 2090 w 10000"/>
                <a:gd name="connsiteY144" fmla="*/ 7773 h 9862"/>
                <a:gd name="connsiteX145" fmla="*/ 2224 w 10000"/>
                <a:gd name="connsiteY145" fmla="*/ 7891 h 9862"/>
                <a:gd name="connsiteX146" fmla="*/ 2350 w 10000"/>
                <a:gd name="connsiteY146" fmla="*/ 8006 h 9862"/>
                <a:gd name="connsiteX147" fmla="*/ 2491 w 10000"/>
                <a:gd name="connsiteY147" fmla="*/ 8116 h 9862"/>
                <a:gd name="connsiteX148" fmla="*/ 2617 w 10000"/>
                <a:gd name="connsiteY148" fmla="*/ 8228 h 9862"/>
                <a:gd name="connsiteX149" fmla="*/ 2765 w 10000"/>
                <a:gd name="connsiteY149" fmla="*/ 8335 h 9862"/>
                <a:gd name="connsiteX150" fmla="*/ 2906 w 10000"/>
                <a:gd name="connsiteY150" fmla="*/ 8440 h 9862"/>
                <a:gd name="connsiteX151" fmla="*/ 3054 w 10000"/>
                <a:gd name="connsiteY151" fmla="*/ 8546 h 9862"/>
                <a:gd name="connsiteX152" fmla="*/ 3210 w 10000"/>
                <a:gd name="connsiteY152" fmla="*/ 8648 h 9862"/>
                <a:gd name="connsiteX153" fmla="*/ 3358 w 10000"/>
                <a:gd name="connsiteY153" fmla="*/ 8749 h 9862"/>
                <a:gd name="connsiteX154" fmla="*/ 3514 w 10000"/>
                <a:gd name="connsiteY154" fmla="*/ 8850 h 9862"/>
                <a:gd name="connsiteX155" fmla="*/ 3677 w 10000"/>
                <a:gd name="connsiteY155" fmla="*/ 8946 h 9862"/>
                <a:gd name="connsiteX156" fmla="*/ 3840 w 10000"/>
                <a:gd name="connsiteY156" fmla="*/ 9038 h 9862"/>
                <a:gd name="connsiteX157" fmla="*/ 4010 w 10000"/>
                <a:gd name="connsiteY157" fmla="*/ 9133 h 9862"/>
                <a:gd name="connsiteX158" fmla="*/ 4181 w 10000"/>
                <a:gd name="connsiteY158" fmla="*/ 9217 h 9862"/>
                <a:gd name="connsiteX159" fmla="*/ 4351 w 10000"/>
                <a:gd name="connsiteY159" fmla="*/ 9306 h 9862"/>
                <a:gd name="connsiteX160" fmla="*/ 4522 w 10000"/>
                <a:gd name="connsiteY160" fmla="*/ 9390 h 9862"/>
                <a:gd name="connsiteX161" fmla="*/ 4700 w 10000"/>
                <a:gd name="connsiteY161" fmla="*/ 9477 h 9862"/>
                <a:gd name="connsiteX162" fmla="*/ 4878 w 10000"/>
                <a:gd name="connsiteY162" fmla="*/ 9558 h 9862"/>
                <a:gd name="connsiteX163" fmla="*/ 5063 w 10000"/>
                <a:gd name="connsiteY163" fmla="*/ 9636 h 9862"/>
                <a:gd name="connsiteX164" fmla="*/ 5248 w 10000"/>
                <a:gd name="connsiteY164" fmla="*/ 9717 h 9862"/>
                <a:gd name="connsiteX165" fmla="*/ 5426 w 10000"/>
                <a:gd name="connsiteY165" fmla="*/ 9789 h 9862"/>
                <a:gd name="connsiteX166" fmla="*/ 5619 w 10000"/>
                <a:gd name="connsiteY166" fmla="*/ 9862 h 9862"/>
                <a:gd name="connsiteX167" fmla="*/ 7539 w 10000"/>
                <a:gd name="connsiteY167" fmla="*/ 8141 h 9862"/>
                <a:gd name="connsiteX168" fmla="*/ 10000 w 10000"/>
                <a:gd name="connsiteY168" fmla="*/ 6444 h 9862"/>
                <a:gd name="connsiteX0" fmla="*/ 10000 w 10000"/>
                <a:gd name="connsiteY0" fmla="*/ 6534 h 9926"/>
                <a:gd name="connsiteX1" fmla="*/ 10000 w 10000"/>
                <a:gd name="connsiteY1" fmla="*/ 6534 h 9926"/>
                <a:gd name="connsiteX2" fmla="*/ 9911 w 10000"/>
                <a:gd name="connsiteY2" fmla="*/ 6519 h 9926"/>
                <a:gd name="connsiteX3" fmla="*/ 9815 w 10000"/>
                <a:gd name="connsiteY3" fmla="*/ 6500 h 9926"/>
                <a:gd name="connsiteX4" fmla="*/ 9726 w 10000"/>
                <a:gd name="connsiteY4" fmla="*/ 6481 h 9926"/>
                <a:gd name="connsiteX5" fmla="*/ 9637 w 10000"/>
                <a:gd name="connsiteY5" fmla="*/ 6456 h 9926"/>
                <a:gd name="connsiteX6" fmla="*/ 9548 w 10000"/>
                <a:gd name="connsiteY6" fmla="*/ 6437 h 9926"/>
                <a:gd name="connsiteX7" fmla="*/ 9466 w 10000"/>
                <a:gd name="connsiteY7" fmla="*/ 6412 h 9926"/>
                <a:gd name="connsiteX8" fmla="*/ 9377 w 10000"/>
                <a:gd name="connsiteY8" fmla="*/ 6388 h 9926"/>
                <a:gd name="connsiteX9" fmla="*/ 9288 w 10000"/>
                <a:gd name="connsiteY9" fmla="*/ 6364 h 9926"/>
                <a:gd name="connsiteX10" fmla="*/ 9118 w 10000"/>
                <a:gd name="connsiteY10" fmla="*/ 6309 h 9926"/>
                <a:gd name="connsiteX11" fmla="*/ 8955 w 10000"/>
                <a:gd name="connsiteY11" fmla="*/ 6250 h 9926"/>
                <a:gd name="connsiteX12" fmla="*/ 8792 w 10000"/>
                <a:gd name="connsiteY12" fmla="*/ 6188 h 9926"/>
                <a:gd name="connsiteX13" fmla="*/ 8636 w 10000"/>
                <a:gd name="connsiteY13" fmla="*/ 6119 h 9926"/>
                <a:gd name="connsiteX14" fmla="*/ 8480 w 10000"/>
                <a:gd name="connsiteY14" fmla="*/ 6049 h 9926"/>
                <a:gd name="connsiteX15" fmla="*/ 8340 w 10000"/>
                <a:gd name="connsiteY15" fmla="*/ 5979 h 9926"/>
                <a:gd name="connsiteX16" fmla="*/ 8199 w 10000"/>
                <a:gd name="connsiteY16" fmla="*/ 5899 h 9926"/>
                <a:gd name="connsiteX17" fmla="*/ 8058 w 10000"/>
                <a:gd name="connsiteY17" fmla="*/ 5815 h 9926"/>
                <a:gd name="connsiteX18" fmla="*/ 7924 w 10000"/>
                <a:gd name="connsiteY18" fmla="*/ 5730 h 9926"/>
                <a:gd name="connsiteX19" fmla="*/ 7798 w 10000"/>
                <a:gd name="connsiteY19" fmla="*/ 5639 h 9926"/>
                <a:gd name="connsiteX20" fmla="*/ 7672 w 10000"/>
                <a:gd name="connsiteY20" fmla="*/ 5548 h 9926"/>
                <a:gd name="connsiteX21" fmla="*/ 7554 w 10000"/>
                <a:gd name="connsiteY21" fmla="*/ 5453 h 9926"/>
                <a:gd name="connsiteX22" fmla="*/ 7450 w 10000"/>
                <a:gd name="connsiteY22" fmla="*/ 5352 h 9926"/>
                <a:gd name="connsiteX23" fmla="*/ 7346 w 10000"/>
                <a:gd name="connsiteY23" fmla="*/ 5249 h 9926"/>
                <a:gd name="connsiteX24" fmla="*/ 7250 w 10000"/>
                <a:gd name="connsiteY24" fmla="*/ 5146 h 9926"/>
                <a:gd name="connsiteX25" fmla="*/ 7161 w 10000"/>
                <a:gd name="connsiteY25" fmla="*/ 5040 h 9926"/>
                <a:gd name="connsiteX26" fmla="*/ 7072 w 10000"/>
                <a:gd name="connsiteY26" fmla="*/ 4931 h 9926"/>
                <a:gd name="connsiteX27" fmla="*/ 6990 w 10000"/>
                <a:gd name="connsiteY27" fmla="*/ 4814 h 9926"/>
                <a:gd name="connsiteX28" fmla="*/ 6953 w 10000"/>
                <a:gd name="connsiteY28" fmla="*/ 4762 h 9926"/>
                <a:gd name="connsiteX29" fmla="*/ 6916 w 10000"/>
                <a:gd name="connsiteY29" fmla="*/ 4701 h 9926"/>
                <a:gd name="connsiteX30" fmla="*/ 6887 w 10000"/>
                <a:gd name="connsiteY30" fmla="*/ 4643 h 9926"/>
                <a:gd name="connsiteX31" fmla="*/ 6850 w 10000"/>
                <a:gd name="connsiteY31" fmla="*/ 4585 h 9926"/>
                <a:gd name="connsiteX32" fmla="*/ 6820 w 10000"/>
                <a:gd name="connsiteY32" fmla="*/ 4526 h 9926"/>
                <a:gd name="connsiteX33" fmla="*/ 6790 w 10000"/>
                <a:gd name="connsiteY33" fmla="*/ 4467 h 9926"/>
                <a:gd name="connsiteX34" fmla="*/ 6768 w 10000"/>
                <a:gd name="connsiteY34" fmla="*/ 4404 h 9926"/>
                <a:gd name="connsiteX35" fmla="*/ 6738 w 10000"/>
                <a:gd name="connsiteY35" fmla="*/ 4346 h 9926"/>
                <a:gd name="connsiteX36" fmla="*/ 6723 w 10000"/>
                <a:gd name="connsiteY36" fmla="*/ 4281 h 9926"/>
                <a:gd name="connsiteX37" fmla="*/ 6694 w 10000"/>
                <a:gd name="connsiteY37" fmla="*/ 4222 h 9926"/>
                <a:gd name="connsiteX38" fmla="*/ 6679 w 10000"/>
                <a:gd name="connsiteY38" fmla="*/ 4159 h 9926"/>
                <a:gd name="connsiteX39" fmla="*/ 6664 w 10000"/>
                <a:gd name="connsiteY39" fmla="*/ 4096 h 9926"/>
                <a:gd name="connsiteX40" fmla="*/ 6649 w 10000"/>
                <a:gd name="connsiteY40" fmla="*/ 4032 h 9926"/>
                <a:gd name="connsiteX41" fmla="*/ 6635 w 10000"/>
                <a:gd name="connsiteY41" fmla="*/ 3973 h 9926"/>
                <a:gd name="connsiteX42" fmla="*/ 6620 w 10000"/>
                <a:gd name="connsiteY42" fmla="*/ 3910 h 9926"/>
                <a:gd name="connsiteX43" fmla="*/ 6612 w 10000"/>
                <a:gd name="connsiteY43" fmla="*/ 3847 h 9926"/>
                <a:gd name="connsiteX44" fmla="*/ 6605 w 10000"/>
                <a:gd name="connsiteY44" fmla="*/ 3782 h 9926"/>
                <a:gd name="connsiteX45" fmla="*/ 6597 w 10000"/>
                <a:gd name="connsiteY45" fmla="*/ 3713 h 9926"/>
                <a:gd name="connsiteX46" fmla="*/ 6597 w 10000"/>
                <a:gd name="connsiteY46" fmla="*/ 3651 h 9926"/>
                <a:gd name="connsiteX47" fmla="*/ 6590 w 10000"/>
                <a:gd name="connsiteY47" fmla="*/ 3583 h 9926"/>
                <a:gd name="connsiteX48" fmla="*/ 6597 w 10000"/>
                <a:gd name="connsiteY48" fmla="*/ 3518 h 9926"/>
                <a:gd name="connsiteX49" fmla="*/ 6605 w 10000"/>
                <a:gd name="connsiteY49" fmla="*/ 3448 h 9926"/>
                <a:gd name="connsiteX50" fmla="*/ 6605 w 10000"/>
                <a:gd name="connsiteY50" fmla="*/ 3378 h 9926"/>
                <a:gd name="connsiteX51" fmla="*/ 6612 w 10000"/>
                <a:gd name="connsiteY51" fmla="*/ 3307 h 9926"/>
                <a:gd name="connsiteX52" fmla="*/ 6620 w 10000"/>
                <a:gd name="connsiteY52" fmla="*/ 3240 h 9926"/>
                <a:gd name="connsiteX53" fmla="*/ 6635 w 10000"/>
                <a:gd name="connsiteY53" fmla="*/ 3178 h 9926"/>
                <a:gd name="connsiteX54" fmla="*/ 6649 w 10000"/>
                <a:gd name="connsiteY54" fmla="*/ 3108 h 9926"/>
                <a:gd name="connsiteX55" fmla="*/ 6664 w 10000"/>
                <a:gd name="connsiteY55" fmla="*/ 3044 h 9926"/>
                <a:gd name="connsiteX56" fmla="*/ 6686 w 10000"/>
                <a:gd name="connsiteY56" fmla="*/ 2976 h 9926"/>
                <a:gd name="connsiteX57" fmla="*/ 6709 w 10000"/>
                <a:gd name="connsiteY57" fmla="*/ 2913 h 9926"/>
                <a:gd name="connsiteX58" fmla="*/ 6731 w 10000"/>
                <a:gd name="connsiteY58" fmla="*/ 2849 h 9926"/>
                <a:gd name="connsiteX59" fmla="*/ 6753 w 10000"/>
                <a:gd name="connsiteY59" fmla="*/ 2780 h 9926"/>
                <a:gd name="connsiteX60" fmla="*/ 6783 w 10000"/>
                <a:gd name="connsiteY60" fmla="*/ 2724 h 9926"/>
                <a:gd name="connsiteX61" fmla="*/ 6812 w 10000"/>
                <a:gd name="connsiteY61" fmla="*/ 2658 h 9926"/>
                <a:gd name="connsiteX62" fmla="*/ 6842 w 10000"/>
                <a:gd name="connsiteY62" fmla="*/ 2594 h 9926"/>
                <a:gd name="connsiteX63" fmla="*/ 6879 w 10000"/>
                <a:gd name="connsiteY63" fmla="*/ 2533 h 9926"/>
                <a:gd name="connsiteX64" fmla="*/ 6909 w 10000"/>
                <a:gd name="connsiteY64" fmla="*/ 2473 h 9926"/>
                <a:gd name="connsiteX65" fmla="*/ 6946 w 10000"/>
                <a:gd name="connsiteY65" fmla="*/ 2407 h 9926"/>
                <a:gd name="connsiteX66" fmla="*/ 6990 w 10000"/>
                <a:gd name="connsiteY66" fmla="*/ 2350 h 9926"/>
                <a:gd name="connsiteX67" fmla="*/ 7027 w 10000"/>
                <a:gd name="connsiteY67" fmla="*/ 2292 h 9926"/>
                <a:gd name="connsiteX68" fmla="*/ 7072 w 10000"/>
                <a:gd name="connsiteY68" fmla="*/ 2234 h 9926"/>
                <a:gd name="connsiteX69" fmla="*/ 7109 w 10000"/>
                <a:gd name="connsiteY69" fmla="*/ 2174 h 9926"/>
                <a:gd name="connsiteX70" fmla="*/ 7161 w 10000"/>
                <a:gd name="connsiteY70" fmla="*/ 2121 h 9926"/>
                <a:gd name="connsiteX71" fmla="*/ 7213 w 10000"/>
                <a:gd name="connsiteY71" fmla="*/ 2062 h 9926"/>
                <a:gd name="connsiteX72" fmla="*/ 7257 w 10000"/>
                <a:gd name="connsiteY72" fmla="*/ 2006 h 9926"/>
                <a:gd name="connsiteX73" fmla="*/ 7309 w 10000"/>
                <a:gd name="connsiteY73" fmla="*/ 1950 h 9926"/>
                <a:gd name="connsiteX74" fmla="*/ 7361 w 10000"/>
                <a:gd name="connsiteY74" fmla="*/ 1893 h 9926"/>
                <a:gd name="connsiteX75" fmla="*/ 7413 w 10000"/>
                <a:gd name="connsiteY75" fmla="*/ 1842 h 9926"/>
                <a:gd name="connsiteX76" fmla="*/ 7472 w 10000"/>
                <a:gd name="connsiteY76" fmla="*/ 1790 h 9926"/>
                <a:gd name="connsiteX77" fmla="*/ 7524 w 10000"/>
                <a:gd name="connsiteY77" fmla="*/ 1739 h 9926"/>
                <a:gd name="connsiteX78" fmla="*/ 7583 w 10000"/>
                <a:gd name="connsiteY78" fmla="*/ 1688 h 9926"/>
                <a:gd name="connsiteX79" fmla="*/ 7610 w 10000"/>
                <a:gd name="connsiteY79" fmla="*/ 1658 h 9926"/>
                <a:gd name="connsiteX80" fmla="*/ 5390 w 10000"/>
                <a:gd name="connsiteY80" fmla="*/ 6 h 9926"/>
                <a:gd name="connsiteX81" fmla="*/ 1401 w 10000"/>
                <a:gd name="connsiteY81" fmla="*/ 0 h 9926"/>
                <a:gd name="connsiteX82" fmla="*/ 1305 w 10000"/>
                <a:gd name="connsiteY82" fmla="*/ 125 h 9926"/>
                <a:gd name="connsiteX83" fmla="*/ 1223 w 10000"/>
                <a:gd name="connsiteY83" fmla="*/ 219 h 9926"/>
                <a:gd name="connsiteX84" fmla="*/ 1149 w 10000"/>
                <a:gd name="connsiteY84" fmla="*/ 321 h 9926"/>
                <a:gd name="connsiteX85" fmla="*/ 1067 w 10000"/>
                <a:gd name="connsiteY85" fmla="*/ 424 h 9926"/>
                <a:gd name="connsiteX86" fmla="*/ 1001 w 10000"/>
                <a:gd name="connsiteY86" fmla="*/ 528 h 9926"/>
                <a:gd name="connsiteX87" fmla="*/ 927 w 10000"/>
                <a:gd name="connsiteY87" fmla="*/ 630 h 9926"/>
                <a:gd name="connsiteX88" fmla="*/ 860 w 10000"/>
                <a:gd name="connsiteY88" fmla="*/ 738 h 9926"/>
                <a:gd name="connsiteX89" fmla="*/ 793 w 10000"/>
                <a:gd name="connsiteY89" fmla="*/ 848 h 9926"/>
                <a:gd name="connsiteX90" fmla="*/ 734 w 10000"/>
                <a:gd name="connsiteY90" fmla="*/ 947 h 9926"/>
                <a:gd name="connsiteX91" fmla="*/ 675 w 10000"/>
                <a:gd name="connsiteY91" fmla="*/ 1058 h 9926"/>
                <a:gd name="connsiteX92" fmla="*/ 615 w 10000"/>
                <a:gd name="connsiteY92" fmla="*/ 1162 h 9926"/>
                <a:gd name="connsiteX93" fmla="*/ 556 w 10000"/>
                <a:gd name="connsiteY93" fmla="*/ 1276 h 9926"/>
                <a:gd name="connsiteX94" fmla="*/ 504 w 10000"/>
                <a:gd name="connsiteY94" fmla="*/ 1379 h 9926"/>
                <a:gd name="connsiteX95" fmla="*/ 452 w 10000"/>
                <a:gd name="connsiteY95" fmla="*/ 1489 h 9926"/>
                <a:gd name="connsiteX96" fmla="*/ 408 w 10000"/>
                <a:gd name="connsiteY96" fmla="*/ 1599 h 9926"/>
                <a:gd name="connsiteX97" fmla="*/ 363 w 10000"/>
                <a:gd name="connsiteY97" fmla="*/ 1709 h 9926"/>
                <a:gd name="connsiteX98" fmla="*/ 319 w 10000"/>
                <a:gd name="connsiteY98" fmla="*/ 1823 h 9926"/>
                <a:gd name="connsiteX99" fmla="*/ 282 w 10000"/>
                <a:gd name="connsiteY99" fmla="*/ 1936 h 9926"/>
                <a:gd name="connsiteX100" fmla="*/ 237 w 10000"/>
                <a:gd name="connsiteY100" fmla="*/ 2053 h 9926"/>
                <a:gd name="connsiteX101" fmla="*/ 208 w 10000"/>
                <a:gd name="connsiteY101" fmla="*/ 2165 h 9926"/>
                <a:gd name="connsiteX102" fmla="*/ 170 w 10000"/>
                <a:gd name="connsiteY102" fmla="*/ 2281 h 9926"/>
                <a:gd name="connsiteX103" fmla="*/ 148 w 10000"/>
                <a:gd name="connsiteY103" fmla="*/ 2398 h 9926"/>
                <a:gd name="connsiteX104" fmla="*/ 119 w 10000"/>
                <a:gd name="connsiteY104" fmla="*/ 2512 h 9926"/>
                <a:gd name="connsiteX105" fmla="*/ 96 w 10000"/>
                <a:gd name="connsiteY105" fmla="*/ 2626 h 9926"/>
                <a:gd name="connsiteX106" fmla="*/ 74 w 10000"/>
                <a:gd name="connsiteY106" fmla="*/ 2747 h 9926"/>
                <a:gd name="connsiteX107" fmla="*/ 52 w 10000"/>
                <a:gd name="connsiteY107" fmla="*/ 2869 h 9926"/>
                <a:gd name="connsiteX108" fmla="*/ 37 w 10000"/>
                <a:gd name="connsiteY108" fmla="*/ 2986 h 9926"/>
                <a:gd name="connsiteX109" fmla="*/ 22 w 10000"/>
                <a:gd name="connsiteY109" fmla="*/ 3103 h 9926"/>
                <a:gd name="connsiteX110" fmla="*/ 15 w 10000"/>
                <a:gd name="connsiteY110" fmla="*/ 3221 h 9926"/>
                <a:gd name="connsiteX111" fmla="*/ 7 w 10000"/>
                <a:gd name="connsiteY111" fmla="*/ 3342 h 9926"/>
                <a:gd name="connsiteX112" fmla="*/ 0 w 10000"/>
                <a:gd name="connsiteY112" fmla="*/ 3461 h 9926"/>
                <a:gd name="connsiteX113" fmla="*/ 0 w 10000"/>
                <a:gd name="connsiteY113" fmla="*/ 3583 h 9926"/>
                <a:gd name="connsiteX114" fmla="*/ 7 w 10000"/>
                <a:gd name="connsiteY114" fmla="*/ 3739 h 9926"/>
                <a:gd name="connsiteX115" fmla="*/ 7 w 10000"/>
                <a:gd name="connsiteY115" fmla="*/ 3894 h 9926"/>
                <a:gd name="connsiteX116" fmla="*/ 22 w 10000"/>
                <a:gd name="connsiteY116" fmla="*/ 4042 h 9926"/>
                <a:gd name="connsiteX117" fmla="*/ 37 w 10000"/>
                <a:gd name="connsiteY117" fmla="*/ 4194 h 9926"/>
                <a:gd name="connsiteX118" fmla="*/ 59 w 10000"/>
                <a:gd name="connsiteY118" fmla="*/ 4346 h 9926"/>
                <a:gd name="connsiteX119" fmla="*/ 89 w 10000"/>
                <a:gd name="connsiteY119" fmla="*/ 4497 h 9926"/>
                <a:gd name="connsiteX120" fmla="*/ 119 w 10000"/>
                <a:gd name="connsiteY120" fmla="*/ 4647 h 9926"/>
                <a:gd name="connsiteX121" fmla="*/ 148 w 10000"/>
                <a:gd name="connsiteY121" fmla="*/ 4799 h 9926"/>
                <a:gd name="connsiteX122" fmla="*/ 193 w 10000"/>
                <a:gd name="connsiteY122" fmla="*/ 4947 h 9926"/>
                <a:gd name="connsiteX123" fmla="*/ 237 w 10000"/>
                <a:gd name="connsiteY123" fmla="*/ 5092 h 9926"/>
                <a:gd name="connsiteX124" fmla="*/ 282 w 10000"/>
                <a:gd name="connsiteY124" fmla="*/ 5240 h 9926"/>
                <a:gd name="connsiteX125" fmla="*/ 334 w 10000"/>
                <a:gd name="connsiteY125" fmla="*/ 5385 h 9926"/>
                <a:gd name="connsiteX126" fmla="*/ 393 w 10000"/>
                <a:gd name="connsiteY126" fmla="*/ 5527 h 9926"/>
                <a:gd name="connsiteX127" fmla="*/ 452 w 10000"/>
                <a:gd name="connsiteY127" fmla="*/ 5669 h 9926"/>
                <a:gd name="connsiteX128" fmla="*/ 519 w 10000"/>
                <a:gd name="connsiteY128" fmla="*/ 5811 h 9926"/>
                <a:gd name="connsiteX129" fmla="*/ 586 w 10000"/>
                <a:gd name="connsiteY129" fmla="*/ 5954 h 9926"/>
                <a:gd name="connsiteX130" fmla="*/ 660 w 10000"/>
                <a:gd name="connsiteY130" fmla="*/ 6090 h 9926"/>
                <a:gd name="connsiteX131" fmla="*/ 741 w 10000"/>
                <a:gd name="connsiteY131" fmla="*/ 6226 h 9926"/>
                <a:gd name="connsiteX132" fmla="*/ 823 w 10000"/>
                <a:gd name="connsiteY132" fmla="*/ 6368 h 9926"/>
                <a:gd name="connsiteX133" fmla="*/ 904 w 10000"/>
                <a:gd name="connsiteY133" fmla="*/ 6500 h 9926"/>
                <a:gd name="connsiteX134" fmla="*/ 993 w 10000"/>
                <a:gd name="connsiteY134" fmla="*/ 6634 h 9926"/>
                <a:gd name="connsiteX135" fmla="*/ 1090 w 10000"/>
                <a:gd name="connsiteY135" fmla="*/ 6758 h 9926"/>
                <a:gd name="connsiteX136" fmla="*/ 1186 w 10000"/>
                <a:gd name="connsiteY136" fmla="*/ 6892 h 9926"/>
                <a:gd name="connsiteX137" fmla="*/ 1290 w 10000"/>
                <a:gd name="connsiteY137" fmla="*/ 7023 h 9926"/>
                <a:gd name="connsiteX138" fmla="*/ 1386 w 10000"/>
                <a:gd name="connsiteY138" fmla="*/ 7151 h 9926"/>
                <a:gd name="connsiteX139" fmla="*/ 1497 w 10000"/>
                <a:gd name="connsiteY139" fmla="*/ 7278 h 9926"/>
                <a:gd name="connsiteX140" fmla="*/ 1609 w 10000"/>
                <a:gd name="connsiteY140" fmla="*/ 7400 h 9926"/>
                <a:gd name="connsiteX141" fmla="*/ 1727 w 10000"/>
                <a:gd name="connsiteY141" fmla="*/ 7527 h 9926"/>
                <a:gd name="connsiteX142" fmla="*/ 1846 w 10000"/>
                <a:gd name="connsiteY142" fmla="*/ 7649 h 9926"/>
                <a:gd name="connsiteX143" fmla="*/ 1964 w 10000"/>
                <a:gd name="connsiteY143" fmla="*/ 7766 h 9926"/>
                <a:gd name="connsiteX144" fmla="*/ 2090 w 10000"/>
                <a:gd name="connsiteY144" fmla="*/ 7882 h 9926"/>
                <a:gd name="connsiteX145" fmla="*/ 2224 w 10000"/>
                <a:gd name="connsiteY145" fmla="*/ 8001 h 9926"/>
                <a:gd name="connsiteX146" fmla="*/ 2350 w 10000"/>
                <a:gd name="connsiteY146" fmla="*/ 8118 h 9926"/>
                <a:gd name="connsiteX147" fmla="*/ 2491 w 10000"/>
                <a:gd name="connsiteY147" fmla="*/ 8230 h 9926"/>
                <a:gd name="connsiteX148" fmla="*/ 2617 w 10000"/>
                <a:gd name="connsiteY148" fmla="*/ 8343 h 9926"/>
                <a:gd name="connsiteX149" fmla="*/ 2765 w 10000"/>
                <a:gd name="connsiteY149" fmla="*/ 8452 h 9926"/>
                <a:gd name="connsiteX150" fmla="*/ 2906 w 10000"/>
                <a:gd name="connsiteY150" fmla="*/ 8558 h 9926"/>
                <a:gd name="connsiteX151" fmla="*/ 3054 w 10000"/>
                <a:gd name="connsiteY151" fmla="*/ 8666 h 9926"/>
                <a:gd name="connsiteX152" fmla="*/ 3210 w 10000"/>
                <a:gd name="connsiteY152" fmla="*/ 8769 h 9926"/>
                <a:gd name="connsiteX153" fmla="*/ 3358 w 10000"/>
                <a:gd name="connsiteY153" fmla="*/ 8871 h 9926"/>
                <a:gd name="connsiteX154" fmla="*/ 3514 w 10000"/>
                <a:gd name="connsiteY154" fmla="*/ 8974 h 9926"/>
                <a:gd name="connsiteX155" fmla="*/ 3677 w 10000"/>
                <a:gd name="connsiteY155" fmla="*/ 9071 h 9926"/>
                <a:gd name="connsiteX156" fmla="*/ 3840 w 10000"/>
                <a:gd name="connsiteY156" fmla="*/ 9164 h 9926"/>
                <a:gd name="connsiteX157" fmla="*/ 4010 w 10000"/>
                <a:gd name="connsiteY157" fmla="*/ 9261 h 9926"/>
                <a:gd name="connsiteX158" fmla="*/ 4181 w 10000"/>
                <a:gd name="connsiteY158" fmla="*/ 9346 h 9926"/>
                <a:gd name="connsiteX159" fmla="*/ 4351 w 10000"/>
                <a:gd name="connsiteY159" fmla="*/ 9436 h 9926"/>
                <a:gd name="connsiteX160" fmla="*/ 4522 w 10000"/>
                <a:gd name="connsiteY160" fmla="*/ 9521 h 9926"/>
                <a:gd name="connsiteX161" fmla="*/ 4700 w 10000"/>
                <a:gd name="connsiteY161" fmla="*/ 9610 h 9926"/>
                <a:gd name="connsiteX162" fmla="*/ 4878 w 10000"/>
                <a:gd name="connsiteY162" fmla="*/ 9692 h 9926"/>
                <a:gd name="connsiteX163" fmla="*/ 5063 w 10000"/>
                <a:gd name="connsiteY163" fmla="*/ 9771 h 9926"/>
                <a:gd name="connsiteX164" fmla="*/ 5248 w 10000"/>
                <a:gd name="connsiteY164" fmla="*/ 9853 h 9926"/>
                <a:gd name="connsiteX165" fmla="*/ 5426 w 10000"/>
                <a:gd name="connsiteY165" fmla="*/ 9926 h 9926"/>
                <a:gd name="connsiteX166" fmla="*/ 7539 w 10000"/>
                <a:gd name="connsiteY166" fmla="*/ 8255 h 9926"/>
                <a:gd name="connsiteX167" fmla="*/ 10000 w 10000"/>
                <a:gd name="connsiteY167" fmla="*/ 6534 h 9926"/>
                <a:gd name="connsiteX0" fmla="*/ 10000 w 10000"/>
                <a:gd name="connsiteY0" fmla="*/ 6583 h 9926"/>
                <a:gd name="connsiteX1" fmla="*/ 10000 w 10000"/>
                <a:gd name="connsiteY1" fmla="*/ 6583 h 9926"/>
                <a:gd name="connsiteX2" fmla="*/ 9911 w 10000"/>
                <a:gd name="connsiteY2" fmla="*/ 6568 h 9926"/>
                <a:gd name="connsiteX3" fmla="*/ 9815 w 10000"/>
                <a:gd name="connsiteY3" fmla="*/ 6548 h 9926"/>
                <a:gd name="connsiteX4" fmla="*/ 9726 w 10000"/>
                <a:gd name="connsiteY4" fmla="*/ 6529 h 9926"/>
                <a:gd name="connsiteX5" fmla="*/ 9637 w 10000"/>
                <a:gd name="connsiteY5" fmla="*/ 6504 h 9926"/>
                <a:gd name="connsiteX6" fmla="*/ 9548 w 10000"/>
                <a:gd name="connsiteY6" fmla="*/ 6485 h 9926"/>
                <a:gd name="connsiteX7" fmla="*/ 9466 w 10000"/>
                <a:gd name="connsiteY7" fmla="*/ 6460 h 9926"/>
                <a:gd name="connsiteX8" fmla="*/ 9377 w 10000"/>
                <a:gd name="connsiteY8" fmla="*/ 6436 h 9926"/>
                <a:gd name="connsiteX9" fmla="*/ 9288 w 10000"/>
                <a:gd name="connsiteY9" fmla="*/ 6411 h 9926"/>
                <a:gd name="connsiteX10" fmla="*/ 9118 w 10000"/>
                <a:gd name="connsiteY10" fmla="*/ 6356 h 9926"/>
                <a:gd name="connsiteX11" fmla="*/ 8955 w 10000"/>
                <a:gd name="connsiteY11" fmla="*/ 6297 h 9926"/>
                <a:gd name="connsiteX12" fmla="*/ 8792 w 10000"/>
                <a:gd name="connsiteY12" fmla="*/ 6234 h 9926"/>
                <a:gd name="connsiteX13" fmla="*/ 8636 w 10000"/>
                <a:gd name="connsiteY13" fmla="*/ 6165 h 9926"/>
                <a:gd name="connsiteX14" fmla="*/ 8480 w 10000"/>
                <a:gd name="connsiteY14" fmla="*/ 6094 h 9926"/>
                <a:gd name="connsiteX15" fmla="*/ 8340 w 10000"/>
                <a:gd name="connsiteY15" fmla="*/ 6024 h 9926"/>
                <a:gd name="connsiteX16" fmla="*/ 8199 w 10000"/>
                <a:gd name="connsiteY16" fmla="*/ 5943 h 9926"/>
                <a:gd name="connsiteX17" fmla="*/ 8058 w 10000"/>
                <a:gd name="connsiteY17" fmla="*/ 5858 h 9926"/>
                <a:gd name="connsiteX18" fmla="*/ 7924 w 10000"/>
                <a:gd name="connsiteY18" fmla="*/ 5773 h 9926"/>
                <a:gd name="connsiteX19" fmla="*/ 7798 w 10000"/>
                <a:gd name="connsiteY19" fmla="*/ 5681 h 9926"/>
                <a:gd name="connsiteX20" fmla="*/ 7672 w 10000"/>
                <a:gd name="connsiteY20" fmla="*/ 5589 h 9926"/>
                <a:gd name="connsiteX21" fmla="*/ 7554 w 10000"/>
                <a:gd name="connsiteY21" fmla="*/ 5494 h 9926"/>
                <a:gd name="connsiteX22" fmla="*/ 7450 w 10000"/>
                <a:gd name="connsiteY22" fmla="*/ 5392 h 9926"/>
                <a:gd name="connsiteX23" fmla="*/ 7346 w 10000"/>
                <a:gd name="connsiteY23" fmla="*/ 5288 h 9926"/>
                <a:gd name="connsiteX24" fmla="*/ 7250 w 10000"/>
                <a:gd name="connsiteY24" fmla="*/ 5184 h 9926"/>
                <a:gd name="connsiteX25" fmla="*/ 7161 w 10000"/>
                <a:gd name="connsiteY25" fmla="*/ 5078 h 9926"/>
                <a:gd name="connsiteX26" fmla="*/ 7072 w 10000"/>
                <a:gd name="connsiteY26" fmla="*/ 4968 h 9926"/>
                <a:gd name="connsiteX27" fmla="*/ 6990 w 10000"/>
                <a:gd name="connsiteY27" fmla="*/ 4850 h 9926"/>
                <a:gd name="connsiteX28" fmla="*/ 6953 w 10000"/>
                <a:gd name="connsiteY28" fmla="*/ 4798 h 9926"/>
                <a:gd name="connsiteX29" fmla="*/ 6916 w 10000"/>
                <a:gd name="connsiteY29" fmla="*/ 4736 h 9926"/>
                <a:gd name="connsiteX30" fmla="*/ 6887 w 10000"/>
                <a:gd name="connsiteY30" fmla="*/ 4678 h 9926"/>
                <a:gd name="connsiteX31" fmla="*/ 6850 w 10000"/>
                <a:gd name="connsiteY31" fmla="*/ 4619 h 9926"/>
                <a:gd name="connsiteX32" fmla="*/ 6820 w 10000"/>
                <a:gd name="connsiteY32" fmla="*/ 4560 h 9926"/>
                <a:gd name="connsiteX33" fmla="*/ 6790 w 10000"/>
                <a:gd name="connsiteY33" fmla="*/ 4500 h 9926"/>
                <a:gd name="connsiteX34" fmla="*/ 6768 w 10000"/>
                <a:gd name="connsiteY34" fmla="*/ 4437 h 9926"/>
                <a:gd name="connsiteX35" fmla="*/ 6738 w 10000"/>
                <a:gd name="connsiteY35" fmla="*/ 4378 h 9926"/>
                <a:gd name="connsiteX36" fmla="*/ 6723 w 10000"/>
                <a:gd name="connsiteY36" fmla="*/ 4313 h 9926"/>
                <a:gd name="connsiteX37" fmla="*/ 6694 w 10000"/>
                <a:gd name="connsiteY37" fmla="*/ 4253 h 9926"/>
                <a:gd name="connsiteX38" fmla="*/ 6679 w 10000"/>
                <a:gd name="connsiteY38" fmla="*/ 4190 h 9926"/>
                <a:gd name="connsiteX39" fmla="*/ 6664 w 10000"/>
                <a:gd name="connsiteY39" fmla="*/ 4127 h 9926"/>
                <a:gd name="connsiteX40" fmla="*/ 6649 w 10000"/>
                <a:gd name="connsiteY40" fmla="*/ 4062 h 9926"/>
                <a:gd name="connsiteX41" fmla="*/ 6635 w 10000"/>
                <a:gd name="connsiteY41" fmla="*/ 4003 h 9926"/>
                <a:gd name="connsiteX42" fmla="*/ 6620 w 10000"/>
                <a:gd name="connsiteY42" fmla="*/ 3939 h 9926"/>
                <a:gd name="connsiteX43" fmla="*/ 6612 w 10000"/>
                <a:gd name="connsiteY43" fmla="*/ 3876 h 9926"/>
                <a:gd name="connsiteX44" fmla="*/ 6605 w 10000"/>
                <a:gd name="connsiteY44" fmla="*/ 3810 h 9926"/>
                <a:gd name="connsiteX45" fmla="*/ 6597 w 10000"/>
                <a:gd name="connsiteY45" fmla="*/ 3741 h 9926"/>
                <a:gd name="connsiteX46" fmla="*/ 6597 w 10000"/>
                <a:gd name="connsiteY46" fmla="*/ 3678 h 9926"/>
                <a:gd name="connsiteX47" fmla="*/ 6590 w 10000"/>
                <a:gd name="connsiteY47" fmla="*/ 3610 h 9926"/>
                <a:gd name="connsiteX48" fmla="*/ 6597 w 10000"/>
                <a:gd name="connsiteY48" fmla="*/ 3544 h 9926"/>
                <a:gd name="connsiteX49" fmla="*/ 6605 w 10000"/>
                <a:gd name="connsiteY49" fmla="*/ 3474 h 9926"/>
                <a:gd name="connsiteX50" fmla="*/ 6605 w 10000"/>
                <a:gd name="connsiteY50" fmla="*/ 3403 h 9926"/>
                <a:gd name="connsiteX51" fmla="*/ 6612 w 10000"/>
                <a:gd name="connsiteY51" fmla="*/ 3332 h 9926"/>
                <a:gd name="connsiteX52" fmla="*/ 6620 w 10000"/>
                <a:gd name="connsiteY52" fmla="*/ 3264 h 9926"/>
                <a:gd name="connsiteX53" fmla="*/ 6635 w 10000"/>
                <a:gd name="connsiteY53" fmla="*/ 3202 h 9926"/>
                <a:gd name="connsiteX54" fmla="*/ 6649 w 10000"/>
                <a:gd name="connsiteY54" fmla="*/ 3131 h 9926"/>
                <a:gd name="connsiteX55" fmla="*/ 6664 w 10000"/>
                <a:gd name="connsiteY55" fmla="*/ 3067 h 9926"/>
                <a:gd name="connsiteX56" fmla="*/ 6686 w 10000"/>
                <a:gd name="connsiteY56" fmla="*/ 2998 h 9926"/>
                <a:gd name="connsiteX57" fmla="*/ 6709 w 10000"/>
                <a:gd name="connsiteY57" fmla="*/ 2935 h 9926"/>
                <a:gd name="connsiteX58" fmla="*/ 6731 w 10000"/>
                <a:gd name="connsiteY58" fmla="*/ 2870 h 9926"/>
                <a:gd name="connsiteX59" fmla="*/ 6753 w 10000"/>
                <a:gd name="connsiteY59" fmla="*/ 2801 h 9926"/>
                <a:gd name="connsiteX60" fmla="*/ 6783 w 10000"/>
                <a:gd name="connsiteY60" fmla="*/ 2744 h 9926"/>
                <a:gd name="connsiteX61" fmla="*/ 6812 w 10000"/>
                <a:gd name="connsiteY61" fmla="*/ 2678 h 9926"/>
                <a:gd name="connsiteX62" fmla="*/ 6842 w 10000"/>
                <a:gd name="connsiteY62" fmla="*/ 2613 h 9926"/>
                <a:gd name="connsiteX63" fmla="*/ 6879 w 10000"/>
                <a:gd name="connsiteY63" fmla="*/ 2552 h 9926"/>
                <a:gd name="connsiteX64" fmla="*/ 6909 w 10000"/>
                <a:gd name="connsiteY64" fmla="*/ 2491 h 9926"/>
                <a:gd name="connsiteX65" fmla="*/ 6946 w 10000"/>
                <a:gd name="connsiteY65" fmla="*/ 2425 h 9926"/>
                <a:gd name="connsiteX66" fmla="*/ 6990 w 10000"/>
                <a:gd name="connsiteY66" fmla="*/ 2368 h 9926"/>
                <a:gd name="connsiteX67" fmla="*/ 7027 w 10000"/>
                <a:gd name="connsiteY67" fmla="*/ 2309 h 9926"/>
                <a:gd name="connsiteX68" fmla="*/ 7072 w 10000"/>
                <a:gd name="connsiteY68" fmla="*/ 2251 h 9926"/>
                <a:gd name="connsiteX69" fmla="*/ 7109 w 10000"/>
                <a:gd name="connsiteY69" fmla="*/ 2190 h 9926"/>
                <a:gd name="connsiteX70" fmla="*/ 7161 w 10000"/>
                <a:gd name="connsiteY70" fmla="*/ 2137 h 9926"/>
                <a:gd name="connsiteX71" fmla="*/ 7213 w 10000"/>
                <a:gd name="connsiteY71" fmla="*/ 2077 h 9926"/>
                <a:gd name="connsiteX72" fmla="*/ 7257 w 10000"/>
                <a:gd name="connsiteY72" fmla="*/ 2021 h 9926"/>
                <a:gd name="connsiteX73" fmla="*/ 7309 w 10000"/>
                <a:gd name="connsiteY73" fmla="*/ 1965 h 9926"/>
                <a:gd name="connsiteX74" fmla="*/ 7361 w 10000"/>
                <a:gd name="connsiteY74" fmla="*/ 1907 h 9926"/>
                <a:gd name="connsiteX75" fmla="*/ 7413 w 10000"/>
                <a:gd name="connsiteY75" fmla="*/ 1856 h 9926"/>
                <a:gd name="connsiteX76" fmla="*/ 7472 w 10000"/>
                <a:gd name="connsiteY76" fmla="*/ 1803 h 9926"/>
                <a:gd name="connsiteX77" fmla="*/ 7524 w 10000"/>
                <a:gd name="connsiteY77" fmla="*/ 1752 h 9926"/>
                <a:gd name="connsiteX78" fmla="*/ 7583 w 10000"/>
                <a:gd name="connsiteY78" fmla="*/ 1701 h 9926"/>
                <a:gd name="connsiteX79" fmla="*/ 7610 w 10000"/>
                <a:gd name="connsiteY79" fmla="*/ 1670 h 9926"/>
                <a:gd name="connsiteX80" fmla="*/ 5390 w 10000"/>
                <a:gd name="connsiteY80" fmla="*/ 6 h 9926"/>
                <a:gd name="connsiteX81" fmla="*/ 1401 w 10000"/>
                <a:gd name="connsiteY81" fmla="*/ 0 h 9926"/>
                <a:gd name="connsiteX82" fmla="*/ 1305 w 10000"/>
                <a:gd name="connsiteY82" fmla="*/ 126 h 9926"/>
                <a:gd name="connsiteX83" fmla="*/ 1223 w 10000"/>
                <a:gd name="connsiteY83" fmla="*/ 221 h 9926"/>
                <a:gd name="connsiteX84" fmla="*/ 1149 w 10000"/>
                <a:gd name="connsiteY84" fmla="*/ 323 h 9926"/>
                <a:gd name="connsiteX85" fmla="*/ 1067 w 10000"/>
                <a:gd name="connsiteY85" fmla="*/ 427 h 9926"/>
                <a:gd name="connsiteX86" fmla="*/ 1001 w 10000"/>
                <a:gd name="connsiteY86" fmla="*/ 532 h 9926"/>
                <a:gd name="connsiteX87" fmla="*/ 927 w 10000"/>
                <a:gd name="connsiteY87" fmla="*/ 635 h 9926"/>
                <a:gd name="connsiteX88" fmla="*/ 860 w 10000"/>
                <a:gd name="connsiteY88" fmla="*/ 744 h 9926"/>
                <a:gd name="connsiteX89" fmla="*/ 793 w 10000"/>
                <a:gd name="connsiteY89" fmla="*/ 854 h 9926"/>
                <a:gd name="connsiteX90" fmla="*/ 734 w 10000"/>
                <a:gd name="connsiteY90" fmla="*/ 954 h 9926"/>
                <a:gd name="connsiteX91" fmla="*/ 675 w 10000"/>
                <a:gd name="connsiteY91" fmla="*/ 1066 h 9926"/>
                <a:gd name="connsiteX92" fmla="*/ 615 w 10000"/>
                <a:gd name="connsiteY92" fmla="*/ 1171 h 9926"/>
                <a:gd name="connsiteX93" fmla="*/ 556 w 10000"/>
                <a:gd name="connsiteY93" fmla="*/ 1286 h 9926"/>
                <a:gd name="connsiteX94" fmla="*/ 504 w 10000"/>
                <a:gd name="connsiteY94" fmla="*/ 1389 h 9926"/>
                <a:gd name="connsiteX95" fmla="*/ 452 w 10000"/>
                <a:gd name="connsiteY95" fmla="*/ 1500 h 9926"/>
                <a:gd name="connsiteX96" fmla="*/ 408 w 10000"/>
                <a:gd name="connsiteY96" fmla="*/ 1611 h 9926"/>
                <a:gd name="connsiteX97" fmla="*/ 363 w 10000"/>
                <a:gd name="connsiteY97" fmla="*/ 1722 h 9926"/>
                <a:gd name="connsiteX98" fmla="*/ 319 w 10000"/>
                <a:gd name="connsiteY98" fmla="*/ 1837 h 9926"/>
                <a:gd name="connsiteX99" fmla="*/ 282 w 10000"/>
                <a:gd name="connsiteY99" fmla="*/ 1950 h 9926"/>
                <a:gd name="connsiteX100" fmla="*/ 237 w 10000"/>
                <a:gd name="connsiteY100" fmla="*/ 2068 h 9926"/>
                <a:gd name="connsiteX101" fmla="*/ 208 w 10000"/>
                <a:gd name="connsiteY101" fmla="*/ 2181 h 9926"/>
                <a:gd name="connsiteX102" fmla="*/ 170 w 10000"/>
                <a:gd name="connsiteY102" fmla="*/ 2298 h 9926"/>
                <a:gd name="connsiteX103" fmla="*/ 148 w 10000"/>
                <a:gd name="connsiteY103" fmla="*/ 2416 h 9926"/>
                <a:gd name="connsiteX104" fmla="*/ 119 w 10000"/>
                <a:gd name="connsiteY104" fmla="*/ 2531 h 9926"/>
                <a:gd name="connsiteX105" fmla="*/ 96 w 10000"/>
                <a:gd name="connsiteY105" fmla="*/ 2646 h 9926"/>
                <a:gd name="connsiteX106" fmla="*/ 74 w 10000"/>
                <a:gd name="connsiteY106" fmla="*/ 2767 h 9926"/>
                <a:gd name="connsiteX107" fmla="*/ 52 w 10000"/>
                <a:gd name="connsiteY107" fmla="*/ 2890 h 9926"/>
                <a:gd name="connsiteX108" fmla="*/ 37 w 10000"/>
                <a:gd name="connsiteY108" fmla="*/ 3008 h 9926"/>
                <a:gd name="connsiteX109" fmla="*/ 22 w 10000"/>
                <a:gd name="connsiteY109" fmla="*/ 3126 h 9926"/>
                <a:gd name="connsiteX110" fmla="*/ 15 w 10000"/>
                <a:gd name="connsiteY110" fmla="*/ 3245 h 9926"/>
                <a:gd name="connsiteX111" fmla="*/ 7 w 10000"/>
                <a:gd name="connsiteY111" fmla="*/ 3367 h 9926"/>
                <a:gd name="connsiteX112" fmla="*/ 0 w 10000"/>
                <a:gd name="connsiteY112" fmla="*/ 3487 h 9926"/>
                <a:gd name="connsiteX113" fmla="*/ 0 w 10000"/>
                <a:gd name="connsiteY113" fmla="*/ 3610 h 9926"/>
                <a:gd name="connsiteX114" fmla="*/ 7 w 10000"/>
                <a:gd name="connsiteY114" fmla="*/ 3767 h 9926"/>
                <a:gd name="connsiteX115" fmla="*/ 7 w 10000"/>
                <a:gd name="connsiteY115" fmla="*/ 3923 h 9926"/>
                <a:gd name="connsiteX116" fmla="*/ 22 w 10000"/>
                <a:gd name="connsiteY116" fmla="*/ 4072 h 9926"/>
                <a:gd name="connsiteX117" fmla="*/ 37 w 10000"/>
                <a:gd name="connsiteY117" fmla="*/ 4225 h 9926"/>
                <a:gd name="connsiteX118" fmla="*/ 59 w 10000"/>
                <a:gd name="connsiteY118" fmla="*/ 4378 h 9926"/>
                <a:gd name="connsiteX119" fmla="*/ 89 w 10000"/>
                <a:gd name="connsiteY119" fmla="*/ 4531 h 9926"/>
                <a:gd name="connsiteX120" fmla="*/ 119 w 10000"/>
                <a:gd name="connsiteY120" fmla="*/ 4682 h 9926"/>
                <a:gd name="connsiteX121" fmla="*/ 148 w 10000"/>
                <a:gd name="connsiteY121" fmla="*/ 4835 h 9926"/>
                <a:gd name="connsiteX122" fmla="*/ 193 w 10000"/>
                <a:gd name="connsiteY122" fmla="*/ 4984 h 9926"/>
                <a:gd name="connsiteX123" fmla="*/ 237 w 10000"/>
                <a:gd name="connsiteY123" fmla="*/ 5130 h 9926"/>
                <a:gd name="connsiteX124" fmla="*/ 282 w 10000"/>
                <a:gd name="connsiteY124" fmla="*/ 5279 h 9926"/>
                <a:gd name="connsiteX125" fmla="*/ 334 w 10000"/>
                <a:gd name="connsiteY125" fmla="*/ 5425 h 9926"/>
                <a:gd name="connsiteX126" fmla="*/ 393 w 10000"/>
                <a:gd name="connsiteY126" fmla="*/ 5568 h 9926"/>
                <a:gd name="connsiteX127" fmla="*/ 452 w 10000"/>
                <a:gd name="connsiteY127" fmla="*/ 5711 h 9926"/>
                <a:gd name="connsiteX128" fmla="*/ 519 w 10000"/>
                <a:gd name="connsiteY128" fmla="*/ 5854 h 9926"/>
                <a:gd name="connsiteX129" fmla="*/ 586 w 10000"/>
                <a:gd name="connsiteY129" fmla="*/ 5998 h 9926"/>
                <a:gd name="connsiteX130" fmla="*/ 660 w 10000"/>
                <a:gd name="connsiteY130" fmla="*/ 6135 h 9926"/>
                <a:gd name="connsiteX131" fmla="*/ 741 w 10000"/>
                <a:gd name="connsiteY131" fmla="*/ 6272 h 9926"/>
                <a:gd name="connsiteX132" fmla="*/ 823 w 10000"/>
                <a:gd name="connsiteY132" fmla="*/ 6415 h 9926"/>
                <a:gd name="connsiteX133" fmla="*/ 904 w 10000"/>
                <a:gd name="connsiteY133" fmla="*/ 6548 h 9926"/>
                <a:gd name="connsiteX134" fmla="*/ 993 w 10000"/>
                <a:gd name="connsiteY134" fmla="*/ 6683 h 9926"/>
                <a:gd name="connsiteX135" fmla="*/ 1090 w 10000"/>
                <a:gd name="connsiteY135" fmla="*/ 6808 h 9926"/>
                <a:gd name="connsiteX136" fmla="*/ 1186 w 10000"/>
                <a:gd name="connsiteY136" fmla="*/ 6943 h 9926"/>
                <a:gd name="connsiteX137" fmla="*/ 1290 w 10000"/>
                <a:gd name="connsiteY137" fmla="*/ 7075 h 9926"/>
                <a:gd name="connsiteX138" fmla="*/ 1386 w 10000"/>
                <a:gd name="connsiteY138" fmla="*/ 7204 h 9926"/>
                <a:gd name="connsiteX139" fmla="*/ 1497 w 10000"/>
                <a:gd name="connsiteY139" fmla="*/ 7332 h 9926"/>
                <a:gd name="connsiteX140" fmla="*/ 1609 w 10000"/>
                <a:gd name="connsiteY140" fmla="*/ 7455 h 9926"/>
                <a:gd name="connsiteX141" fmla="*/ 1727 w 10000"/>
                <a:gd name="connsiteY141" fmla="*/ 7583 h 9926"/>
                <a:gd name="connsiteX142" fmla="*/ 1846 w 10000"/>
                <a:gd name="connsiteY142" fmla="*/ 7706 h 9926"/>
                <a:gd name="connsiteX143" fmla="*/ 1964 w 10000"/>
                <a:gd name="connsiteY143" fmla="*/ 7824 h 9926"/>
                <a:gd name="connsiteX144" fmla="*/ 2090 w 10000"/>
                <a:gd name="connsiteY144" fmla="*/ 7941 h 9926"/>
                <a:gd name="connsiteX145" fmla="*/ 2224 w 10000"/>
                <a:gd name="connsiteY145" fmla="*/ 8061 h 9926"/>
                <a:gd name="connsiteX146" fmla="*/ 2350 w 10000"/>
                <a:gd name="connsiteY146" fmla="*/ 8179 h 9926"/>
                <a:gd name="connsiteX147" fmla="*/ 2491 w 10000"/>
                <a:gd name="connsiteY147" fmla="*/ 8291 h 9926"/>
                <a:gd name="connsiteX148" fmla="*/ 2617 w 10000"/>
                <a:gd name="connsiteY148" fmla="*/ 8405 h 9926"/>
                <a:gd name="connsiteX149" fmla="*/ 2765 w 10000"/>
                <a:gd name="connsiteY149" fmla="*/ 8515 h 9926"/>
                <a:gd name="connsiteX150" fmla="*/ 2906 w 10000"/>
                <a:gd name="connsiteY150" fmla="*/ 8622 h 9926"/>
                <a:gd name="connsiteX151" fmla="*/ 3054 w 10000"/>
                <a:gd name="connsiteY151" fmla="*/ 8731 h 9926"/>
                <a:gd name="connsiteX152" fmla="*/ 3210 w 10000"/>
                <a:gd name="connsiteY152" fmla="*/ 8834 h 9926"/>
                <a:gd name="connsiteX153" fmla="*/ 3358 w 10000"/>
                <a:gd name="connsiteY153" fmla="*/ 8937 h 9926"/>
                <a:gd name="connsiteX154" fmla="*/ 3514 w 10000"/>
                <a:gd name="connsiteY154" fmla="*/ 9041 h 9926"/>
                <a:gd name="connsiteX155" fmla="*/ 3677 w 10000"/>
                <a:gd name="connsiteY155" fmla="*/ 9139 h 9926"/>
                <a:gd name="connsiteX156" fmla="*/ 3840 w 10000"/>
                <a:gd name="connsiteY156" fmla="*/ 9232 h 9926"/>
                <a:gd name="connsiteX157" fmla="*/ 4010 w 10000"/>
                <a:gd name="connsiteY157" fmla="*/ 9330 h 9926"/>
                <a:gd name="connsiteX158" fmla="*/ 4181 w 10000"/>
                <a:gd name="connsiteY158" fmla="*/ 9416 h 9926"/>
                <a:gd name="connsiteX159" fmla="*/ 4351 w 10000"/>
                <a:gd name="connsiteY159" fmla="*/ 9506 h 9926"/>
                <a:gd name="connsiteX160" fmla="*/ 4522 w 10000"/>
                <a:gd name="connsiteY160" fmla="*/ 9592 h 9926"/>
                <a:gd name="connsiteX161" fmla="*/ 4700 w 10000"/>
                <a:gd name="connsiteY161" fmla="*/ 9682 h 9926"/>
                <a:gd name="connsiteX162" fmla="*/ 4878 w 10000"/>
                <a:gd name="connsiteY162" fmla="*/ 9764 h 9926"/>
                <a:gd name="connsiteX163" fmla="*/ 5063 w 10000"/>
                <a:gd name="connsiteY163" fmla="*/ 9844 h 9926"/>
                <a:gd name="connsiteX164" fmla="*/ 5248 w 10000"/>
                <a:gd name="connsiteY164" fmla="*/ 9926 h 9926"/>
                <a:gd name="connsiteX165" fmla="*/ 7539 w 10000"/>
                <a:gd name="connsiteY165" fmla="*/ 8317 h 9926"/>
                <a:gd name="connsiteX166" fmla="*/ 10000 w 10000"/>
                <a:gd name="connsiteY166" fmla="*/ 6583 h 9926"/>
                <a:gd name="connsiteX0" fmla="*/ 10000 w 10000"/>
                <a:gd name="connsiteY0" fmla="*/ 6632 h 9917"/>
                <a:gd name="connsiteX1" fmla="*/ 10000 w 10000"/>
                <a:gd name="connsiteY1" fmla="*/ 6632 h 9917"/>
                <a:gd name="connsiteX2" fmla="*/ 9911 w 10000"/>
                <a:gd name="connsiteY2" fmla="*/ 6617 h 9917"/>
                <a:gd name="connsiteX3" fmla="*/ 9815 w 10000"/>
                <a:gd name="connsiteY3" fmla="*/ 6597 h 9917"/>
                <a:gd name="connsiteX4" fmla="*/ 9726 w 10000"/>
                <a:gd name="connsiteY4" fmla="*/ 6578 h 9917"/>
                <a:gd name="connsiteX5" fmla="*/ 9637 w 10000"/>
                <a:gd name="connsiteY5" fmla="*/ 6552 h 9917"/>
                <a:gd name="connsiteX6" fmla="*/ 9548 w 10000"/>
                <a:gd name="connsiteY6" fmla="*/ 6533 h 9917"/>
                <a:gd name="connsiteX7" fmla="*/ 9466 w 10000"/>
                <a:gd name="connsiteY7" fmla="*/ 6508 h 9917"/>
                <a:gd name="connsiteX8" fmla="*/ 9377 w 10000"/>
                <a:gd name="connsiteY8" fmla="*/ 6484 h 9917"/>
                <a:gd name="connsiteX9" fmla="*/ 9288 w 10000"/>
                <a:gd name="connsiteY9" fmla="*/ 6459 h 9917"/>
                <a:gd name="connsiteX10" fmla="*/ 9118 w 10000"/>
                <a:gd name="connsiteY10" fmla="*/ 6403 h 9917"/>
                <a:gd name="connsiteX11" fmla="*/ 8955 w 10000"/>
                <a:gd name="connsiteY11" fmla="*/ 6344 h 9917"/>
                <a:gd name="connsiteX12" fmla="*/ 8792 w 10000"/>
                <a:gd name="connsiteY12" fmla="*/ 6280 h 9917"/>
                <a:gd name="connsiteX13" fmla="*/ 8636 w 10000"/>
                <a:gd name="connsiteY13" fmla="*/ 6211 h 9917"/>
                <a:gd name="connsiteX14" fmla="*/ 8480 w 10000"/>
                <a:gd name="connsiteY14" fmla="*/ 6139 h 9917"/>
                <a:gd name="connsiteX15" fmla="*/ 8340 w 10000"/>
                <a:gd name="connsiteY15" fmla="*/ 6069 h 9917"/>
                <a:gd name="connsiteX16" fmla="*/ 8199 w 10000"/>
                <a:gd name="connsiteY16" fmla="*/ 5987 h 9917"/>
                <a:gd name="connsiteX17" fmla="*/ 8058 w 10000"/>
                <a:gd name="connsiteY17" fmla="*/ 5902 h 9917"/>
                <a:gd name="connsiteX18" fmla="*/ 7924 w 10000"/>
                <a:gd name="connsiteY18" fmla="*/ 5816 h 9917"/>
                <a:gd name="connsiteX19" fmla="*/ 7798 w 10000"/>
                <a:gd name="connsiteY19" fmla="*/ 5723 h 9917"/>
                <a:gd name="connsiteX20" fmla="*/ 7672 w 10000"/>
                <a:gd name="connsiteY20" fmla="*/ 5631 h 9917"/>
                <a:gd name="connsiteX21" fmla="*/ 7554 w 10000"/>
                <a:gd name="connsiteY21" fmla="*/ 5535 h 9917"/>
                <a:gd name="connsiteX22" fmla="*/ 7450 w 10000"/>
                <a:gd name="connsiteY22" fmla="*/ 5432 h 9917"/>
                <a:gd name="connsiteX23" fmla="*/ 7346 w 10000"/>
                <a:gd name="connsiteY23" fmla="*/ 5327 h 9917"/>
                <a:gd name="connsiteX24" fmla="*/ 7250 w 10000"/>
                <a:gd name="connsiteY24" fmla="*/ 5223 h 9917"/>
                <a:gd name="connsiteX25" fmla="*/ 7161 w 10000"/>
                <a:gd name="connsiteY25" fmla="*/ 5116 h 9917"/>
                <a:gd name="connsiteX26" fmla="*/ 7072 w 10000"/>
                <a:gd name="connsiteY26" fmla="*/ 5005 h 9917"/>
                <a:gd name="connsiteX27" fmla="*/ 6990 w 10000"/>
                <a:gd name="connsiteY27" fmla="*/ 4886 h 9917"/>
                <a:gd name="connsiteX28" fmla="*/ 6953 w 10000"/>
                <a:gd name="connsiteY28" fmla="*/ 4834 h 9917"/>
                <a:gd name="connsiteX29" fmla="*/ 6916 w 10000"/>
                <a:gd name="connsiteY29" fmla="*/ 4771 h 9917"/>
                <a:gd name="connsiteX30" fmla="*/ 6887 w 10000"/>
                <a:gd name="connsiteY30" fmla="*/ 4713 h 9917"/>
                <a:gd name="connsiteX31" fmla="*/ 6850 w 10000"/>
                <a:gd name="connsiteY31" fmla="*/ 4653 h 9917"/>
                <a:gd name="connsiteX32" fmla="*/ 6820 w 10000"/>
                <a:gd name="connsiteY32" fmla="*/ 4594 h 9917"/>
                <a:gd name="connsiteX33" fmla="*/ 6790 w 10000"/>
                <a:gd name="connsiteY33" fmla="*/ 4534 h 9917"/>
                <a:gd name="connsiteX34" fmla="*/ 6768 w 10000"/>
                <a:gd name="connsiteY34" fmla="*/ 4470 h 9917"/>
                <a:gd name="connsiteX35" fmla="*/ 6738 w 10000"/>
                <a:gd name="connsiteY35" fmla="*/ 4411 h 9917"/>
                <a:gd name="connsiteX36" fmla="*/ 6723 w 10000"/>
                <a:gd name="connsiteY36" fmla="*/ 4345 h 9917"/>
                <a:gd name="connsiteX37" fmla="*/ 6694 w 10000"/>
                <a:gd name="connsiteY37" fmla="*/ 4285 h 9917"/>
                <a:gd name="connsiteX38" fmla="*/ 6679 w 10000"/>
                <a:gd name="connsiteY38" fmla="*/ 4221 h 9917"/>
                <a:gd name="connsiteX39" fmla="*/ 6664 w 10000"/>
                <a:gd name="connsiteY39" fmla="*/ 4158 h 9917"/>
                <a:gd name="connsiteX40" fmla="*/ 6649 w 10000"/>
                <a:gd name="connsiteY40" fmla="*/ 4092 h 9917"/>
                <a:gd name="connsiteX41" fmla="*/ 6635 w 10000"/>
                <a:gd name="connsiteY41" fmla="*/ 4033 h 9917"/>
                <a:gd name="connsiteX42" fmla="*/ 6620 w 10000"/>
                <a:gd name="connsiteY42" fmla="*/ 3968 h 9917"/>
                <a:gd name="connsiteX43" fmla="*/ 6612 w 10000"/>
                <a:gd name="connsiteY43" fmla="*/ 3905 h 9917"/>
                <a:gd name="connsiteX44" fmla="*/ 6605 w 10000"/>
                <a:gd name="connsiteY44" fmla="*/ 3838 h 9917"/>
                <a:gd name="connsiteX45" fmla="*/ 6597 w 10000"/>
                <a:gd name="connsiteY45" fmla="*/ 3769 h 9917"/>
                <a:gd name="connsiteX46" fmla="*/ 6597 w 10000"/>
                <a:gd name="connsiteY46" fmla="*/ 3705 h 9917"/>
                <a:gd name="connsiteX47" fmla="*/ 6590 w 10000"/>
                <a:gd name="connsiteY47" fmla="*/ 3637 h 9917"/>
                <a:gd name="connsiteX48" fmla="*/ 6597 w 10000"/>
                <a:gd name="connsiteY48" fmla="*/ 3570 h 9917"/>
                <a:gd name="connsiteX49" fmla="*/ 6605 w 10000"/>
                <a:gd name="connsiteY49" fmla="*/ 3500 h 9917"/>
                <a:gd name="connsiteX50" fmla="*/ 6605 w 10000"/>
                <a:gd name="connsiteY50" fmla="*/ 3428 h 9917"/>
                <a:gd name="connsiteX51" fmla="*/ 6612 w 10000"/>
                <a:gd name="connsiteY51" fmla="*/ 3357 h 9917"/>
                <a:gd name="connsiteX52" fmla="*/ 6620 w 10000"/>
                <a:gd name="connsiteY52" fmla="*/ 3288 h 9917"/>
                <a:gd name="connsiteX53" fmla="*/ 6635 w 10000"/>
                <a:gd name="connsiteY53" fmla="*/ 3226 h 9917"/>
                <a:gd name="connsiteX54" fmla="*/ 6649 w 10000"/>
                <a:gd name="connsiteY54" fmla="*/ 3154 h 9917"/>
                <a:gd name="connsiteX55" fmla="*/ 6664 w 10000"/>
                <a:gd name="connsiteY55" fmla="*/ 3090 h 9917"/>
                <a:gd name="connsiteX56" fmla="*/ 6686 w 10000"/>
                <a:gd name="connsiteY56" fmla="*/ 3020 h 9917"/>
                <a:gd name="connsiteX57" fmla="*/ 6709 w 10000"/>
                <a:gd name="connsiteY57" fmla="*/ 2957 h 9917"/>
                <a:gd name="connsiteX58" fmla="*/ 6731 w 10000"/>
                <a:gd name="connsiteY58" fmla="*/ 2891 h 9917"/>
                <a:gd name="connsiteX59" fmla="*/ 6753 w 10000"/>
                <a:gd name="connsiteY59" fmla="*/ 2822 h 9917"/>
                <a:gd name="connsiteX60" fmla="*/ 6783 w 10000"/>
                <a:gd name="connsiteY60" fmla="*/ 2764 h 9917"/>
                <a:gd name="connsiteX61" fmla="*/ 6812 w 10000"/>
                <a:gd name="connsiteY61" fmla="*/ 2698 h 9917"/>
                <a:gd name="connsiteX62" fmla="*/ 6842 w 10000"/>
                <a:gd name="connsiteY62" fmla="*/ 2632 h 9917"/>
                <a:gd name="connsiteX63" fmla="*/ 6879 w 10000"/>
                <a:gd name="connsiteY63" fmla="*/ 2571 h 9917"/>
                <a:gd name="connsiteX64" fmla="*/ 6909 w 10000"/>
                <a:gd name="connsiteY64" fmla="*/ 2510 h 9917"/>
                <a:gd name="connsiteX65" fmla="*/ 6946 w 10000"/>
                <a:gd name="connsiteY65" fmla="*/ 2443 h 9917"/>
                <a:gd name="connsiteX66" fmla="*/ 6990 w 10000"/>
                <a:gd name="connsiteY66" fmla="*/ 2386 h 9917"/>
                <a:gd name="connsiteX67" fmla="*/ 7027 w 10000"/>
                <a:gd name="connsiteY67" fmla="*/ 2326 h 9917"/>
                <a:gd name="connsiteX68" fmla="*/ 7072 w 10000"/>
                <a:gd name="connsiteY68" fmla="*/ 2268 h 9917"/>
                <a:gd name="connsiteX69" fmla="*/ 7109 w 10000"/>
                <a:gd name="connsiteY69" fmla="*/ 2206 h 9917"/>
                <a:gd name="connsiteX70" fmla="*/ 7161 w 10000"/>
                <a:gd name="connsiteY70" fmla="*/ 2153 h 9917"/>
                <a:gd name="connsiteX71" fmla="*/ 7213 w 10000"/>
                <a:gd name="connsiteY71" fmla="*/ 2092 h 9917"/>
                <a:gd name="connsiteX72" fmla="*/ 7257 w 10000"/>
                <a:gd name="connsiteY72" fmla="*/ 2036 h 9917"/>
                <a:gd name="connsiteX73" fmla="*/ 7309 w 10000"/>
                <a:gd name="connsiteY73" fmla="*/ 1980 h 9917"/>
                <a:gd name="connsiteX74" fmla="*/ 7361 w 10000"/>
                <a:gd name="connsiteY74" fmla="*/ 1921 h 9917"/>
                <a:gd name="connsiteX75" fmla="*/ 7413 w 10000"/>
                <a:gd name="connsiteY75" fmla="*/ 1870 h 9917"/>
                <a:gd name="connsiteX76" fmla="*/ 7472 w 10000"/>
                <a:gd name="connsiteY76" fmla="*/ 1816 h 9917"/>
                <a:gd name="connsiteX77" fmla="*/ 7524 w 10000"/>
                <a:gd name="connsiteY77" fmla="*/ 1765 h 9917"/>
                <a:gd name="connsiteX78" fmla="*/ 7583 w 10000"/>
                <a:gd name="connsiteY78" fmla="*/ 1714 h 9917"/>
                <a:gd name="connsiteX79" fmla="*/ 7610 w 10000"/>
                <a:gd name="connsiteY79" fmla="*/ 1682 h 9917"/>
                <a:gd name="connsiteX80" fmla="*/ 5390 w 10000"/>
                <a:gd name="connsiteY80" fmla="*/ 6 h 9917"/>
                <a:gd name="connsiteX81" fmla="*/ 1401 w 10000"/>
                <a:gd name="connsiteY81" fmla="*/ 0 h 9917"/>
                <a:gd name="connsiteX82" fmla="*/ 1305 w 10000"/>
                <a:gd name="connsiteY82" fmla="*/ 127 h 9917"/>
                <a:gd name="connsiteX83" fmla="*/ 1223 w 10000"/>
                <a:gd name="connsiteY83" fmla="*/ 223 h 9917"/>
                <a:gd name="connsiteX84" fmla="*/ 1149 w 10000"/>
                <a:gd name="connsiteY84" fmla="*/ 325 h 9917"/>
                <a:gd name="connsiteX85" fmla="*/ 1067 w 10000"/>
                <a:gd name="connsiteY85" fmla="*/ 430 h 9917"/>
                <a:gd name="connsiteX86" fmla="*/ 1001 w 10000"/>
                <a:gd name="connsiteY86" fmla="*/ 536 h 9917"/>
                <a:gd name="connsiteX87" fmla="*/ 927 w 10000"/>
                <a:gd name="connsiteY87" fmla="*/ 640 h 9917"/>
                <a:gd name="connsiteX88" fmla="*/ 860 w 10000"/>
                <a:gd name="connsiteY88" fmla="*/ 750 h 9917"/>
                <a:gd name="connsiteX89" fmla="*/ 793 w 10000"/>
                <a:gd name="connsiteY89" fmla="*/ 860 h 9917"/>
                <a:gd name="connsiteX90" fmla="*/ 734 w 10000"/>
                <a:gd name="connsiteY90" fmla="*/ 961 h 9917"/>
                <a:gd name="connsiteX91" fmla="*/ 675 w 10000"/>
                <a:gd name="connsiteY91" fmla="*/ 1074 h 9917"/>
                <a:gd name="connsiteX92" fmla="*/ 615 w 10000"/>
                <a:gd name="connsiteY92" fmla="*/ 1180 h 9917"/>
                <a:gd name="connsiteX93" fmla="*/ 556 w 10000"/>
                <a:gd name="connsiteY93" fmla="*/ 1296 h 9917"/>
                <a:gd name="connsiteX94" fmla="*/ 504 w 10000"/>
                <a:gd name="connsiteY94" fmla="*/ 1399 h 9917"/>
                <a:gd name="connsiteX95" fmla="*/ 452 w 10000"/>
                <a:gd name="connsiteY95" fmla="*/ 1511 h 9917"/>
                <a:gd name="connsiteX96" fmla="*/ 408 w 10000"/>
                <a:gd name="connsiteY96" fmla="*/ 1623 h 9917"/>
                <a:gd name="connsiteX97" fmla="*/ 363 w 10000"/>
                <a:gd name="connsiteY97" fmla="*/ 1735 h 9917"/>
                <a:gd name="connsiteX98" fmla="*/ 319 w 10000"/>
                <a:gd name="connsiteY98" fmla="*/ 1851 h 9917"/>
                <a:gd name="connsiteX99" fmla="*/ 282 w 10000"/>
                <a:gd name="connsiteY99" fmla="*/ 1965 h 9917"/>
                <a:gd name="connsiteX100" fmla="*/ 237 w 10000"/>
                <a:gd name="connsiteY100" fmla="*/ 2083 h 9917"/>
                <a:gd name="connsiteX101" fmla="*/ 208 w 10000"/>
                <a:gd name="connsiteY101" fmla="*/ 2197 h 9917"/>
                <a:gd name="connsiteX102" fmla="*/ 170 w 10000"/>
                <a:gd name="connsiteY102" fmla="*/ 2315 h 9917"/>
                <a:gd name="connsiteX103" fmla="*/ 148 w 10000"/>
                <a:gd name="connsiteY103" fmla="*/ 2434 h 9917"/>
                <a:gd name="connsiteX104" fmla="*/ 119 w 10000"/>
                <a:gd name="connsiteY104" fmla="*/ 2550 h 9917"/>
                <a:gd name="connsiteX105" fmla="*/ 96 w 10000"/>
                <a:gd name="connsiteY105" fmla="*/ 2666 h 9917"/>
                <a:gd name="connsiteX106" fmla="*/ 74 w 10000"/>
                <a:gd name="connsiteY106" fmla="*/ 2788 h 9917"/>
                <a:gd name="connsiteX107" fmla="*/ 52 w 10000"/>
                <a:gd name="connsiteY107" fmla="*/ 2912 h 9917"/>
                <a:gd name="connsiteX108" fmla="*/ 37 w 10000"/>
                <a:gd name="connsiteY108" fmla="*/ 3030 h 9917"/>
                <a:gd name="connsiteX109" fmla="*/ 22 w 10000"/>
                <a:gd name="connsiteY109" fmla="*/ 3149 h 9917"/>
                <a:gd name="connsiteX110" fmla="*/ 15 w 10000"/>
                <a:gd name="connsiteY110" fmla="*/ 3269 h 9917"/>
                <a:gd name="connsiteX111" fmla="*/ 7 w 10000"/>
                <a:gd name="connsiteY111" fmla="*/ 3392 h 9917"/>
                <a:gd name="connsiteX112" fmla="*/ 0 w 10000"/>
                <a:gd name="connsiteY112" fmla="*/ 3513 h 9917"/>
                <a:gd name="connsiteX113" fmla="*/ 0 w 10000"/>
                <a:gd name="connsiteY113" fmla="*/ 3637 h 9917"/>
                <a:gd name="connsiteX114" fmla="*/ 7 w 10000"/>
                <a:gd name="connsiteY114" fmla="*/ 3795 h 9917"/>
                <a:gd name="connsiteX115" fmla="*/ 7 w 10000"/>
                <a:gd name="connsiteY115" fmla="*/ 3952 h 9917"/>
                <a:gd name="connsiteX116" fmla="*/ 22 w 10000"/>
                <a:gd name="connsiteY116" fmla="*/ 4102 h 9917"/>
                <a:gd name="connsiteX117" fmla="*/ 37 w 10000"/>
                <a:gd name="connsiteY117" fmla="*/ 4256 h 9917"/>
                <a:gd name="connsiteX118" fmla="*/ 59 w 10000"/>
                <a:gd name="connsiteY118" fmla="*/ 4411 h 9917"/>
                <a:gd name="connsiteX119" fmla="*/ 89 w 10000"/>
                <a:gd name="connsiteY119" fmla="*/ 4565 h 9917"/>
                <a:gd name="connsiteX120" fmla="*/ 119 w 10000"/>
                <a:gd name="connsiteY120" fmla="*/ 4717 h 9917"/>
                <a:gd name="connsiteX121" fmla="*/ 148 w 10000"/>
                <a:gd name="connsiteY121" fmla="*/ 4871 h 9917"/>
                <a:gd name="connsiteX122" fmla="*/ 193 w 10000"/>
                <a:gd name="connsiteY122" fmla="*/ 5021 h 9917"/>
                <a:gd name="connsiteX123" fmla="*/ 237 w 10000"/>
                <a:gd name="connsiteY123" fmla="*/ 5168 h 9917"/>
                <a:gd name="connsiteX124" fmla="*/ 282 w 10000"/>
                <a:gd name="connsiteY124" fmla="*/ 5318 h 9917"/>
                <a:gd name="connsiteX125" fmla="*/ 334 w 10000"/>
                <a:gd name="connsiteY125" fmla="*/ 5465 h 9917"/>
                <a:gd name="connsiteX126" fmla="*/ 393 w 10000"/>
                <a:gd name="connsiteY126" fmla="*/ 5610 h 9917"/>
                <a:gd name="connsiteX127" fmla="*/ 452 w 10000"/>
                <a:gd name="connsiteY127" fmla="*/ 5754 h 9917"/>
                <a:gd name="connsiteX128" fmla="*/ 519 w 10000"/>
                <a:gd name="connsiteY128" fmla="*/ 5898 h 9917"/>
                <a:gd name="connsiteX129" fmla="*/ 586 w 10000"/>
                <a:gd name="connsiteY129" fmla="*/ 6043 h 9917"/>
                <a:gd name="connsiteX130" fmla="*/ 660 w 10000"/>
                <a:gd name="connsiteY130" fmla="*/ 6181 h 9917"/>
                <a:gd name="connsiteX131" fmla="*/ 741 w 10000"/>
                <a:gd name="connsiteY131" fmla="*/ 6319 h 9917"/>
                <a:gd name="connsiteX132" fmla="*/ 823 w 10000"/>
                <a:gd name="connsiteY132" fmla="*/ 6463 h 9917"/>
                <a:gd name="connsiteX133" fmla="*/ 904 w 10000"/>
                <a:gd name="connsiteY133" fmla="*/ 6597 h 9917"/>
                <a:gd name="connsiteX134" fmla="*/ 993 w 10000"/>
                <a:gd name="connsiteY134" fmla="*/ 6733 h 9917"/>
                <a:gd name="connsiteX135" fmla="*/ 1090 w 10000"/>
                <a:gd name="connsiteY135" fmla="*/ 6859 h 9917"/>
                <a:gd name="connsiteX136" fmla="*/ 1186 w 10000"/>
                <a:gd name="connsiteY136" fmla="*/ 6995 h 9917"/>
                <a:gd name="connsiteX137" fmla="*/ 1290 w 10000"/>
                <a:gd name="connsiteY137" fmla="*/ 7128 h 9917"/>
                <a:gd name="connsiteX138" fmla="*/ 1386 w 10000"/>
                <a:gd name="connsiteY138" fmla="*/ 7258 h 9917"/>
                <a:gd name="connsiteX139" fmla="*/ 1497 w 10000"/>
                <a:gd name="connsiteY139" fmla="*/ 7387 h 9917"/>
                <a:gd name="connsiteX140" fmla="*/ 1609 w 10000"/>
                <a:gd name="connsiteY140" fmla="*/ 7511 h 9917"/>
                <a:gd name="connsiteX141" fmla="*/ 1727 w 10000"/>
                <a:gd name="connsiteY141" fmla="*/ 7640 h 9917"/>
                <a:gd name="connsiteX142" fmla="*/ 1846 w 10000"/>
                <a:gd name="connsiteY142" fmla="*/ 7763 h 9917"/>
                <a:gd name="connsiteX143" fmla="*/ 1964 w 10000"/>
                <a:gd name="connsiteY143" fmla="*/ 7882 h 9917"/>
                <a:gd name="connsiteX144" fmla="*/ 2090 w 10000"/>
                <a:gd name="connsiteY144" fmla="*/ 8000 h 9917"/>
                <a:gd name="connsiteX145" fmla="*/ 2224 w 10000"/>
                <a:gd name="connsiteY145" fmla="*/ 8121 h 9917"/>
                <a:gd name="connsiteX146" fmla="*/ 2350 w 10000"/>
                <a:gd name="connsiteY146" fmla="*/ 8240 h 9917"/>
                <a:gd name="connsiteX147" fmla="*/ 2491 w 10000"/>
                <a:gd name="connsiteY147" fmla="*/ 8353 h 9917"/>
                <a:gd name="connsiteX148" fmla="*/ 2617 w 10000"/>
                <a:gd name="connsiteY148" fmla="*/ 8468 h 9917"/>
                <a:gd name="connsiteX149" fmla="*/ 2765 w 10000"/>
                <a:gd name="connsiteY149" fmla="*/ 8578 h 9917"/>
                <a:gd name="connsiteX150" fmla="*/ 2906 w 10000"/>
                <a:gd name="connsiteY150" fmla="*/ 8686 h 9917"/>
                <a:gd name="connsiteX151" fmla="*/ 3054 w 10000"/>
                <a:gd name="connsiteY151" fmla="*/ 8796 h 9917"/>
                <a:gd name="connsiteX152" fmla="*/ 3210 w 10000"/>
                <a:gd name="connsiteY152" fmla="*/ 8900 h 9917"/>
                <a:gd name="connsiteX153" fmla="*/ 3358 w 10000"/>
                <a:gd name="connsiteY153" fmla="*/ 9004 h 9917"/>
                <a:gd name="connsiteX154" fmla="*/ 3514 w 10000"/>
                <a:gd name="connsiteY154" fmla="*/ 9108 h 9917"/>
                <a:gd name="connsiteX155" fmla="*/ 3677 w 10000"/>
                <a:gd name="connsiteY155" fmla="*/ 9207 h 9917"/>
                <a:gd name="connsiteX156" fmla="*/ 3840 w 10000"/>
                <a:gd name="connsiteY156" fmla="*/ 9301 h 9917"/>
                <a:gd name="connsiteX157" fmla="*/ 4010 w 10000"/>
                <a:gd name="connsiteY157" fmla="*/ 9400 h 9917"/>
                <a:gd name="connsiteX158" fmla="*/ 4181 w 10000"/>
                <a:gd name="connsiteY158" fmla="*/ 9486 h 9917"/>
                <a:gd name="connsiteX159" fmla="*/ 4351 w 10000"/>
                <a:gd name="connsiteY159" fmla="*/ 9577 h 9917"/>
                <a:gd name="connsiteX160" fmla="*/ 4522 w 10000"/>
                <a:gd name="connsiteY160" fmla="*/ 9664 h 9917"/>
                <a:gd name="connsiteX161" fmla="*/ 4700 w 10000"/>
                <a:gd name="connsiteY161" fmla="*/ 9754 h 9917"/>
                <a:gd name="connsiteX162" fmla="*/ 4878 w 10000"/>
                <a:gd name="connsiteY162" fmla="*/ 9837 h 9917"/>
                <a:gd name="connsiteX163" fmla="*/ 5063 w 10000"/>
                <a:gd name="connsiteY163" fmla="*/ 9917 h 9917"/>
                <a:gd name="connsiteX164" fmla="*/ 7539 w 10000"/>
                <a:gd name="connsiteY164" fmla="*/ 8379 h 9917"/>
                <a:gd name="connsiteX165" fmla="*/ 10000 w 10000"/>
                <a:gd name="connsiteY165" fmla="*/ 6632 h 9917"/>
                <a:gd name="connsiteX0" fmla="*/ 10000 w 10000"/>
                <a:gd name="connsiteY0" fmla="*/ 6688 h 9919"/>
                <a:gd name="connsiteX1" fmla="*/ 10000 w 10000"/>
                <a:gd name="connsiteY1" fmla="*/ 6688 h 9919"/>
                <a:gd name="connsiteX2" fmla="*/ 9911 w 10000"/>
                <a:gd name="connsiteY2" fmla="*/ 6672 h 9919"/>
                <a:gd name="connsiteX3" fmla="*/ 9815 w 10000"/>
                <a:gd name="connsiteY3" fmla="*/ 6652 h 9919"/>
                <a:gd name="connsiteX4" fmla="*/ 9726 w 10000"/>
                <a:gd name="connsiteY4" fmla="*/ 6633 h 9919"/>
                <a:gd name="connsiteX5" fmla="*/ 9637 w 10000"/>
                <a:gd name="connsiteY5" fmla="*/ 6607 h 9919"/>
                <a:gd name="connsiteX6" fmla="*/ 9548 w 10000"/>
                <a:gd name="connsiteY6" fmla="*/ 6588 h 9919"/>
                <a:gd name="connsiteX7" fmla="*/ 9466 w 10000"/>
                <a:gd name="connsiteY7" fmla="*/ 6562 h 9919"/>
                <a:gd name="connsiteX8" fmla="*/ 9377 w 10000"/>
                <a:gd name="connsiteY8" fmla="*/ 6538 h 9919"/>
                <a:gd name="connsiteX9" fmla="*/ 9288 w 10000"/>
                <a:gd name="connsiteY9" fmla="*/ 6513 h 9919"/>
                <a:gd name="connsiteX10" fmla="*/ 9118 w 10000"/>
                <a:gd name="connsiteY10" fmla="*/ 6457 h 9919"/>
                <a:gd name="connsiteX11" fmla="*/ 8955 w 10000"/>
                <a:gd name="connsiteY11" fmla="*/ 6397 h 9919"/>
                <a:gd name="connsiteX12" fmla="*/ 8792 w 10000"/>
                <a:gd name="connsiteY12" fmla="*/ 6333 h 9919"/>
                <a:gd name="connsiteX13" fmla="*/ 8636 w 10000"/>
                <a:gd name="connsiteY13" fmla="*/ 6263 h 9919"/>
                <a:gd name="connsiteX14" fmla="*/ 8480 w 10000"/>
                <a:gd name="connsiteY14" fmla="*/ 6190 h 9919"/>
                <a:gd name="connsiteX15" fmla="*/ 8340 w 10000"/>
                <a:gd name="connsiteY15" fmla="*/ 6120 h 9919"/>
                <a:gd name="connsiteX16" fmla="*/ 8199 w 10000"/>
                <a:gd name="connsiteY16" fmla="*/ 6037 h 9919"/>
                <a:gd name="connsiteX17" fmla="*/ 8058 w 10000"/>
                <a:gd name="connsiteY17" fmla="*/ 5951 h 9919"/>
                <a:gd name="connsiteX18" fmla="*/ 7924 w 10000"/>
                <a:gd name="connsiteY18" fmla="*/ 5865 h 9919"/>
                <a:gd name="connsiteX19" fmla="*/ 7798 w 10000"/>
                <a:gd name="connsiteY19" fmla="*/ 5771 h 9919"/>
                <a:gd name="connsiteX20" fmla="*/ 7672 w 10000"/>
                <a:gd name="connsiteY20" fmla="*/ 5678 h 9919"/>
                <a:gd name="connsiteX21" fmla="*/ 7554 w 10000"/>
                <a:gd name="connsiteY21" fmla="*/ 5581 h 9919"/>
                <a:gd name="connsiteX22" fmla="*/ 7450 w 10000"/>
                <a:gd name="connsiteY22" fmla="*/ 5477 h 9919"/>
                <a:gd name="connsiteX23" fmla="*/ 7346 w 10000"/>
                <a:gd name="connsiteY23" fmla="*/ 5372 h 9919"/>
                <a:gd name="connsiteX24" fmla="*/ 7250 w 10000"/>
                <a:gd name="connsiteY24" fmla="*/ 5267 h 9919"/>
                <a:gd name="connsiteX25" fmla="*/ 7161 w 10000"/>
                <a:gd name="connsiteY25" fmla="*/ 5159 h 9919"/>
                <a:gd name="connsiteX26" fmla="*/ 7072 w 10000"/>
                <a:gd name="connsiteY26" fmla="*/ 5047 h 9919"/>
                <a:gd name="connsiteX27" fmla="*/ 6990 w 10000"/>
                <a:gd name="connsiteY27" fmla="*/ 4927 h 9919"/>
                <a:gd name="connsiteX28" fmla="*/ 6953 w 10000"/>
                <a:gd name="connsiteY28" fmla="*/ 4874 h 9919"/>
                <a:gd name="connsiteX29" fmla="*/ 6916 w 10000"/>
                <a:gd name="connsiteY29" fmla="*/ 4811 h 9919"/>
                <a:gd name="connsiteX30" fmla="*/ 6887 w 10000"/>
                <a:gd name="connsiteY30" fmla="*/ 4752 h 9919"/>
                <a:gd name="connsiteX31" fmla="*/ 6850 w 10000"/>
                <a:gd name="connsiteY31" fmla="*/ 4692 h 9919"/>
                <a:gd name="connsiteX32" fmla="*/ 6820 w 10000"/>
                <a:gd name="connsiteY32" fmla="*/ 4632 h 9919"/>
                <a:gd name="connsiteX33" fmla="*/ 6790 w 10000"/>
                <a:gd name="connsiteY33" fmla="*/ 4572 h 9919"/>
                <a:gd name="connsiteX34" fmla="*/ 6768 w 10000"/>
                <a:gd name="connsiteY34" fmla="*/ 4507 h 9919"/>
                <a:gd name="connsiteX35" fmla="*/ 6738 w 10000"/>
                <a:gd name="connsiteY35" fmla="*/ 4448 h 9919"/>
                <a:gd name="connsiteX36" fmla="*/ 6723 w 10000"/>
                <a:gd name="connsiteY36" fmla="*/ 4381 h 9919"/>
                <a:gd name="connsiteX37" fmla="*/ 6694 w 10000"/>
                <a:gd name="connsiteY37" fmla="*/ 4321 h 9919"/>
                <a:gd name="connsiteX38" fmla="*/ 6679 w 10000"/>
                <a:gd name="connsiteY38" fmla="*/ 4256 h 9919"/>
                <a:gd name="connsiteX39" fmla="*/ 6664 w 10000"/>
                <a:gd name="connsiteY39" fmla="*/ 4193 h 9919"/>
                <a:gd name="connsiteX40" fmla="*/ 6649 w 10000"/>
                <a:gd name="connsiteY40" fmla="*/ 4126 h 9919"/>
                <a:gd name="connsiteX41" fmla="*/ 6635 w 10000"/>
                <a:gd name="connsiteY41" fmla="*/ 4067 h 9919"/>
                <a:gd name="connsiteX42" fmla="*/ 6620 w 10000"/>
                <a:gd name="connsiteY42" fmla="*/ 4001 h 9919"/>
                <a:gd name="connsiteX43" fmla="*/ 6612 w 10000"/>
                <a:gd name="connsiteY43" fmla="*/ 3938 h 9919"/>
                <a:gd name="connsiteX44" fmla="*/ 6605 w 10000"/>
                <a:gd name="connsiteY44" fmla="*/ 3870 h 9919"/>
                <a:gd name="connsiteX45" fmla="*/ 6597 w 10000"/>
                <a:gd name="connsiteY45" fmla="*/ 3801 h 9919"/>
                <a:gd name="connsiteX46" fmla="*/ 6597 w 10000"/>
                <a:gd name="connsiteY46" fmla="*/ 3736 h 9919"/>
                <a:gd name="connsiteX47" fmla="*/ 6590 w 10000"/>
                <a:gd name="connsiteY47" fmla="*/ 3667 h 9919"/>
                <a:gd name="connsiteX48" fmla="*/ 6597 w 10000"/>
                <a:gd name="connsiteY48" fmla="*/ 3600 h 9919"/>
                <a:gd name="connsiteX49" fmla="*/ 6605 w 10000"/>
                <a:gd name="connsiteY49" fmla="*/ 3529 h 9919"/>
                <a:gd name="connsiteX50" fmla="*/ 6605 w 10000"/>
                <a:gd name="connsiteY50" fmla="*/ 3457 h 9919"/>
                <a:gd name="connsiteX51" fmla="*/ 6612 w 10000"/>
                <a:gd name="connsiteY51" fmla="*/ 3385 h 9919"/>
                <a:gd name="connsiteX52" fmla="*/ 6620 w 10000"/>
                <a:gd name="connsiteY52" fmla="*/ 3316 h 9919"/>
                <a:gd name="connsiteX53" fmla="*/ 6635 w 10000"/>
                <a:gd name="connsiteY53" fmla="*/ 3253 h 9919"/>
                <a:gd name="connsiteX54" fmla="*/ 6649 w 10000"/>
                <a:gd name="connsiteY54" fmla="*/ 3180 h 9919"/>
                <a:gd name="connsiteX55" fmla="*/ 6664 w 10000"/>
                <a:gd name="connsiteY55" fmla="*/ 3116 h 9919"/>
                <a:gd name="connsiteX56" fmla="*/ 6686 w 10000"/>
                <a:gd name="connsiteY56" fmla="*/ 3045 h 9919"/>
                <a:gd name="connsiteX57" fmla="*/ 6709 w 10000"/>
                <a:gd name="connsiteY57" fmla="*/ 2982 h 9919"/>
                <a:gd name="connsiteX58" fmla="*/ 6731 w 10000"/>
                <a:gd name="connsiteY58" fmla="*/ 2915 h 9919"/>
                <a:gd name="connsiteX59" fmla="*/ 6753 w 10000"/>
                <a:gd name="connsiteY59" fmla="*/ 2846 h 9919"/>
                <a:gd name="connsiteX60" fmla="*/ 6783 w 10000"/>
                <a:gd name="connsiteY60" fmla="*/ 2787 h 9919"/>
                <a:gd name="connsiteX61" fmla="*/ 6812 w 10000"/>
                <a:gd name="connsiteY61" fmla="*/ 2721 h 9919"/>
                <a:gd name="connsiteX62" fmla="*/ 6842 w 10000"/>
                <a:gd name="connsiteY62" fmla="*/ 2654 h 9919"/>
                <a:gd name="connsiteX63" fmla="*/ 6879 w 10000"/>
                <a:gd name="connsiteY63" fmla="*/ 2593 h 9919"/>
                <a:gd name="connsiteX64" fmla="*/ 6909 w 10000"/>
                <a:gd name="connsiteY64" fmla="*/ 2531 h 9919"/>
                <a:gd name="connsiteX65" fmla="*/ 6946 w 10000"/>
                <a:gd name="connsiteY65" fmla="*/ 2463 h 9919"/>
                <a:gd name="connsiteX66" fmla="*/ 6990 w 10000"/>
                <a:gd name="connsiteY66" fmla="*/ 2406 h 9919"/>
                <a:gd name="connsiteX67" fmla="*/ 7027 w 10000"/>
                <a:gd name="connsiteY67" fmla="*/ 2345 h 9919"/>
                <a:gd name="connsiteX68" fmla="*/ 7072 w 10000"/>
                <a:gd name="connsiteY68" fmla="*/ 2287 h 9919"/>
                <a:gd name="connsiteX69" fmla="*/ 7109 w 10000"/>
                <a:gd name="connsiteY69" fmla="*/ 2224 h 9919"/>
                <a:gd name="connsiteX70" fmla="*/ 7161 w 10000"/>
                <a:gd name="connsiteY70" fmla="*/ 2171 h 9919"/>
                <a:gd name="connsiteX71" fmla="*/ 7213 w 10000"/>
                <a:gd name="connsiteY71" fmla="*/ 2110 h 9919"/>
                <a:gd name="connsiteX72" fmla="*/ 7257 w 10000"/>
                <a:gd name="connsiteY72" fmla="*/ 2053 h 9919"/>
                <a:gd name="connsiteX73" fmla="*/ 7309 w 10000"/>
                <a:gd name="connsiteY73" fmla="*/ 1997 h 9919"/>
                <a:gd name="connsiteX74" fmla="*/ 7361 w 10000"/>
                <a:gd name="connsiteY74" fmla="*/ 1937 h 9919"/>
                <a:gd name="connsiteX75" fmla="*/ 7413 w 10000"/>
                <a:gd name="connsiteY75" fmla="*/ 1886 h 9919"/>
                <a:gd name="connsiteX76" fmla="*/ 7472 w 10000"/>
                <a:gd name="connsiteY76" fmla="*/ 1831 h 9919"/>
                <a:gd name="connsiteX77" fmla="*/ 7524 w 10000"/>
                <a:gd name="connsiteY77" fmla="*/ 1780 h 9919"/>
                <a:gd name="connsiteX78" fmla="*/ 7583 w 10000"/>
                <a:gd name="connsiteY78" fmla="*/ 1728 h 9919"/>
                <a:gd name="connsiteX79" fmla="*/ 7610 w 10000"/>
                <a:gd name="connsiteY79" fmla="*/ 1696 h 9919"/>
                <a:gd name="connsiteX80" fmla="*/ 5390 w 10000"/>
                <a:gd name="connsiteY80" fmla="*/ 6 h 9919"/>
                <a:gd name="connsiteX81" fmla="*/ 1401 w 10000"/>
                <a:gd name="connsiteY81" fmla="*/ 0 h 9919"/>
                <a:gd name="connsiteX82" fmla="*/ 1305 w 10000"/>
                <a:gd name="connsiteY82" fmla="*/ 128 h 9919"/>
                <a:gd name="connsiteX83" fmla="*/ 1223 w 10000"/>
                <a:gd name="connsiteY83" fmla="*/ 225 h 9919"/>
                <a:gd name="connsiteX84" fmla="*/ 1149 w 10000"/>
                <a:gd name="connsiteY84" fmla="*/ 328 h 9919"/>
                <a:gd name="connsiteX85" fmla="*/ 1067 w 10000"/>
                <a:gd name="connsiteY85" fmla="*/ 434 h 9919"/>
                <a:gd name="connsiteX86" fmla="*/ 1001 w 10000"/>
                <a:gd name="connsiteY86" fmla="*/ 540 h 9919"/>
                <a:gd name="connsiteX87" fmla="*/ 927 w 10000"/>
                <a:gd name="connsiteY87" fmla="*/ 645 h 9919"/>
                <a:gd name="connsiteX88" fmla="*/ 860 w 10000"/>
                <a:gd name="connsiteY88" fmla="*/ 756 h 9919"/>
                <a:gd name="connsiteX89" fmla="*/ 793 w 10000"/>
                <a:gd name="connsiteY89" fmla="*/ 867 h 9919"/>
                <a:gd name="connsiteX90" fmla="*/ 734 w 10000"/>
                <a:gd name="connsiteY90" fmla="*/ 969 h 9919"/>
                <a:gd name="connsiteX91" fmla="*/ 675 w 10000"/>
                <a:gd name="connsiteY91" fmla="*/ 1083 h 9919"/>
                <a:gd name="connsiteX92" fmla="*/ 615 w 10000"/>
                <a:gd name="connsiteY92" fmla="*/ 1190 h 9919"/>
                <a:gd name="connsiteX93" fmla="*/ 556 w 10000"/>
                <a:gd name="connsiteY93" fmla="*/ 1307 h 9919"/>
                <a:gd name="connsiteX94" fmla="*/ 504 w 10000"/>
                <a:gd name="connsiteY94" fmla="*/ 1411 h 9919"/>
                <a:gd name="connsiteX95" fmla="*/ 452 w 10000"/>
                <a:gd name="connsiteY95" fmla="*/ 1524 h 9919"/>
                <a:gd name="connsiteX96" fmla="*/ 408 w 10000"/>
                <a:gd name="connsiteY96" fmla="*/ 1637 h 9919"/>
                <a:gd name="connsiteX97" fmla="*/ 363 w 10000"/>
                <a:gd name="connsiteY97" fmla="*/ 1750 h 9919"/>
                <a:gd name="connsiteX98" fmla="*/ 319 w 10000"/>
                <a:gd name="connsiteY98" fmla="*/ 1866 h 9919"/>
                <a:gd name="connsiteX99" fmla="*/ 282 w 10000"/>
                <a:gd name="connsiteY99" fmla="*/ 1981 h 9919"/>
                <a:gd name="connsiteX100" fmla="*/ 237 w 10000"/>
                <a:gd name="connsiteY100" fmla="*/ 2100 h 9919"/>
                <a:gd name="connsiteX101" fmla="*/ 208 w 10000"/>
                <a:gd name="connsiteY101" fmla="*/ 2215 h 9919"/>
                <a:gd name="connsiteX102" fmla="*/ 170 w 10000"/>
                <a:gd name="connsiteY102" fmla="*/ 2334 h 9919"/>
                <a:gd name="connsiteX103" fmla="*/ 148 w 10000"/>
                <a:gd name="connsiteY103" fmla="*/ 2454 h 9919"/>
                <a:gd name="connsiteX104" fmla="*/ 119 w 10000"/>
                <a:gd name="connsiteY104" fmla="*/ 2571 h 9919"/>
                <a:gd name="connsiteX105" fmla="*/ 96 w 10000"/>
                <a:gd name="connsiteY105" fmla="*/ 2688 h 9919"/>
                <a:gd name="connsiteX106" fmla="*/ 74 w 10000"/>
                <a:gd name="connsiteY106" fmla="*/ 2811 h 9919"/>
                <a:gd name="connsiteX107" fmla="*/ 52 w 10000"/>
                <a:gd name="connsiteY107" fmla="*/ 2936 h 9919"/>
                <a:gd name="connsiteX108" fmla="*/ 37 w 10000"/>
                <a:gd name="connsiteY108" fmla="*/ 3055 h 9919"/>
                <a:gd name="connsiteX109" fmla="*/ 22 w 10000"/>
                <a:gd name="connsiteY109" fmla="*/ 3175 h 9919"/>
                <a:gd name="connsiteX110" fmla="*/ 15 w 10000"/>
                <a:gd name="connsiteY110" fmla="*/ 3296 h 9919"/>
                <a:gd name="connsiteX111" fmla="*/ 7 w 10000"/>
                <a:gd name="connsiteY111" fmla="*/ 3420 h 9919"/>
                <a:gd name="connsiteX112" fmla="*/ 0 w 10000"/>
                <a:gd name="connsiteY112" fmla="*/ 3542 h 9919"/>
                <a:gd name="connsiteX113" fmla="*/ 0 w 10000"/>
                <a:gd name="connsiteY113" fmla="*/ 3667 h 9919"/>
                <a:gd name="connsiteX114" fmla="*/ 7 w 10000"/>
                <a:gd name="connsiteY114" fmla="*/ 3827 h 9919"/>
                <a:gd name="connsiteX115" fmla="*/ 7 w 10000"/>
                <a:gd name="connsiteY115" fmla="*/ 3985 h 9919"/>
                <a:gd name="connsiteX116" fmla="*/ 22 w 10000"/>
                <a:gd name="connsiteY116" fmla="*/ 4136 h 9919"/>
                <a:gd name="connsiteX117" fmla="*/ 37 w 10000"/>
                <a:gd name="connsiteY117" fmla="*/ 4292 h 9919"/>
                <a:gd name="connsiteX118" fmla="*/ 59 w 10000"/>
                <a:gd name="connsiteY118" fmla="*/ 4448 h 9919"/>
                <a:gd name="connsiteX119" fmla="*/ 89 w 10000"/>
                <a:gd name="connsiteY119" fmla="*/ 4603 h 9919"/>
                <a:gd name="connsiteX120" fmla="*/ 119 w 10000"/>
                <a:gd name="connsiteY120" fmla="*/ 4756 h 9919"/>
                <a:gd name="connsiteX121" fmla="*/ 148 w 10000"/>
                <a:gd name="connsiteY121" fmla="*/ 4912 h 9919"/>
                <a:gd name="connsiteX122" fmla="*/ 193 w 10000"/>
                <a:gd name="connsiteY122" fmla="*/ 5063 h 9919"/>
                <a:gd name="connsiteX123" fmla="*/ 237 w 10000"/>
                <a:gd name="connsiteY123" fmla="*/ 5211 h 9919"/>
                <a:gd name="connsiteX124" fmla="*/ 282 w 10000"/>
                <a:gd name="connsiteY124" fmla="*/ 5363 h 9919"/>
                <a:gd name="connsiteX125" fmla="*/ 334 w 10000"/>
                <a:gd name="connsiteY125" fmla="*/ 5511 h 9919"/>
                <a:gd name="connsiteX126" fmla="*/ 393 w 10000"/>
                <a:gd name="connsiteY126" fmla="*/ 5657 h 9919"/>
                <a:gd name="connsiteX127" fmla="*/ 452 w 10000"/>
                <a:gd name="connsiteY127" fmla="*/ 5802 h 9919"/>
                <a:gd name="connsiteX128" fmla="*/ 519 w 10000"/>
                <a:gd name="connsiteY128" fmla="*/ 5947 h 9919"/>
                <a:gd name="connsiteX129" fmla="*/ 586 w 10000"/>
                <a:gd name="connsiteY129" fmla="*/ 6094 h 9919"/>
                <a:gd name="connsiteX130" fmla="*/ 660 w 10000"/>
                <a:gd name="connsiteY130" fmla="*/ 6233 h 9919"/>
                <a:gd name="connsiteX131" fmla="*/ 741 w 10000"/>
                <a:gd name="connsiteY131" fmla="*/ 6372 h 9919"/>
                <a:gd name="connsiteX132" fmla="*/ 823 w 10000"/>
                <a:gd name="connsiteY132" fmla="*/ 6517 h 9919"/>
                <a:gd name="connsiteX133" fmla="*/ 904 w 10000"/>
                <a:gd name="connsiteY133" fmla="*/ 6652 h 9919"/>
                <a:gd name="connsiteX134" fmla="*/ 993 w 10000"/>
                <a:gd name="connsiteY134" fmla="*/ 6789 h 9919"/>
                <a:gd name="connsiteX135" fmla="*/ 1090 w 10000"/>
                <a:gd name="connsiteY135" fmla="*/ 6916 h 9919"/>
                <a:gd name="connsiteX136" fmla="*/ 1186 w 10000"/>
                <a:gd name="connsiteY136" fmla="*/ 7054 h 9919"/>
                <a:gd name="connsiteX137" fmla="*/ 1290 w 10000"/>
                <a:gd name="connsiteY137" fmla="*/ 7188 h 9919"/>
                <a:gd name="connsiteX138" fmla="*/ 1386 w 10000"/>
                <a:gd name="connsiteY138" fmla="*/ 7319 h 9919"/>
                <a:gd name="connsiteX139" fmla="*/ 1497 w 10000"/>
                <a:gd name="connsiteY139" fmla="*/ 7449 h 9919"/>
                <a:gd name="connsiteX140" fmla="*/ 1609 w 10000"/>
                <a:gd name="connsiteY140" fmla="*/ 7574 h 9919"/>
                <a:gd name="connsiteX141" fmla="*/ 1727 w 10000"/>
                <a:gd name="connsiteY141" fmla="*/ 7704 h 9919"/>
                <a:gd name="connsiteX142" fmla="*/ 1846 w 10000"/>
                <a:gd name="connsiteY142" fmla="*/ 7828 h 9919"/>
                <a:gd name="connsiteX143" fmla="*/ 1964 w 10000"/>
                <a:gd name="connsiteY143" fmla="*/ 7948 h 9919"/>
                <a:gd name="connsiteX144" fmla="*/ 2090 w 10000"/>
                <a:gd name="connsiteY144" fmla="*/ 8067 h 9919"/>
                <a:gd name="connsiteX145" fmla="*/ 2224 w 10000"/>
                <a:gd name="connsiteY145" fmla="*/ 8189 h 9919"/>
                <a:gd name="connsiteX146" fmla="*/ 2350 w 10000"/>
                <a:gd name="connsiteY146" fmla="*/ 8309 h 9919"/>
                <a:gd name="connsiteX147" fmla="*/ 2491 w 10000"/>
                <a:gd name="connsiteY147" fmla="*/ 8423 h 9919"/>
                <a:gd name="connsiteX148" fmla="*/ 2617 w 10000"/>
                <a:gd name="connsiteY148" fmla="*/ 8539 h 9919"/>
                <a:gd name="connsiteX149" fmla="*/ 2765 w 10000"/>
                <a:gd name="connsiteY149" fmla="*/ 8650 h 9919"/>
                <a:gd name="connsiteX150" fmla="*/ 2906 w 10000"/>
                <a:gd name="connsiteY150" fmla="*/ 8759 h 9919"/>
                <a:gd name="connsiteX151" fmla="*/ 3054 w 10000"/>
                <a:gd name="connsiteY151" fmla="*/ 8870 h 9919"/>
                <a:gd name="connsiteX152" fmla="*/ 3210 w 10000"/>
                <a:gd name="connsiteY152" fmla="*/ 8974 h 9919"/>
                <a:gd name="connsiteX153" fmla="*/ 3358 w 10000"/>
                <a:gd name="connsiteY153" fmla="*/ 9079 h 9919"/>
                <a:gd name="connsiteX154" fmla="*/ 3514 w 10000"/>
                <a:gd name="connsiteY154" fmla="*/ 9184 h 9919"/>
                <a:gd name="connsiteX155" fmla="*/ 3677 w 10000"/>
                <a:gd name="connsiteY155" fmla="*/ 9284 h 9919"/>
                <a:gd name="connsiteX156" fmla="*/ 3840 w 10000"/>
                <a:gd name="connsiteY156" fmla="*/ 9379 h 9919"/>
                <a:gd name="connsiteX157" fmla="*/ 4010 w 10000"/>
                <a:gd name="connsiteY157" fmla="*/ 9479 h 9919"/>
                <a:gd name="connsiteX158" fmla="*/ 4181 w 10000"/>
                <a:gd name="connsiteY158" fmla="*/ 9565 h 9919"/>
                <a:gd name="connsiteX159" fmla="*/ 4351 w 10000"/>
                <a:gd name="connsiteY159" fmla="*/ 9657 h 9919"/>
                <a:gd name="connsiteX160" fmla="*/ 4522 w 10000"/>
                <a:gd name="connsiteY160" fmla="*/ 9745 h 9919"/>
                <a:gd name="connsiteX161" fmla="*/ 4700 w 10000"/>
                <a:gd name="connsiteY161" fmla="*/ 9836 h 9919"/>
                <a:gd name="connsiteX162" fmla="*/ 4878 w 10000"/>
                <a:gd name="connsiteY162" fmla="*/ 9919 h 9919"/>
                <a:gd name="connsiteX163" fmla="*/ 7539 w 10000"/>
                <a:gd name="connsiteY163" fmla="*/ 8449 h 9919"/>
                <a:gd name="connsiteX164" fmla="*/ 10000 w 10000"/>
                <a:gd name="connsiteY164" fmla="*/ 6688 h 9919"/>
                <a:gd name="connsiteX0" fmla="*/ 10000 w 10000"/>
                <a:gd name="connsiteY0" fmla="*/ 6743 h 9916"/>
                <a:gd name="connsiteX1" fmla="*/ 10000 w 10000"/>
                <a:gd name="connsiteY1" fmla="*/ 6743 h 9916"/>
                <a:gd name="connsiteX2" fmla="*/ 9911 w 10000"/>
                <a:gd name="connsiteY2" fmla="*/ 6726 h 9916"/>
                <a:gd name="connsiteX3" fmla="*/ 9815 w 10000"/>
                <a:gd name="connsiteY3" fmla="*/ 6706 h 9916"/>
                <a:gd name="connsiteX4" fmla="*/ 9726 w 10000"/>
                <a:gd name="connsiteY4" fmla="*/ 6687 h 9916"/>
                <a:gd name="connsiteX5" fmla="*/ 9637 w 10000"/>
                <a:gd name="connsiteY5" fmla="*/ 6661 h 9916"/>
                <a:gd name="connsiteX6" fmla="*/ 9548 w 10000"/>
                <a:gd name="connsiteY6" fmla="*/ 6642 h 9916"/>
                <a:gd name="connsiteX7" fmla="*/ 9466 w 10000"/>
                <a:gd name="connsiteY7" fmla="*/ 6616 h 9916"/>
                <a:gd name="connsiteX8" fmla="*/ 9377 w 10000"/>
                <a:gd name="connsiteY8" fmla="*/ 6591 h 9916"/>
                <a:gd name="connsiteX9" fmla="*/ 9288 w 10000"/>
                <a:gd name="connsiteY9" fmla="*/ 6566 h 9916"/>
                <a:gd name="connsiteX10" fmla="*/ 9118 w 10000"/>
                <a:gd name="connsiteY10" fmla="*/ 6510 h 9916"/>
                <a:gd name="connsiteX11" fmla="*/ 8955 w 10000"/>
                <a:gd name="connsiteY11" fmla="*/ 6449 h 9916"/>
                <a:gd name="connsiteX12" fmla="*/ 8792 w 10000"/>
                <a:gd name="connsiteY12" fmla="*/ 6385 h 9916"/>
                <a:gd name="connsiteX13" fmla="*/ 8636 w 10000"/>
                <a:gd name="connsiteY13" fmla="*/ 6314 h 9916"/>
                <a:gd name="connsiteX14" fmla="*/ 8480 w 10000"/>
                <a:gd name="connsiteY14" fmla="*/ 6241 h 9916"/>
                <a:gd name="connsiteX15" fmla="*/ 8340 w 10000"/>
                <a:gd name="connsiteY15" fmla="*/ 6170 h 9916"/>
                <a:gd name="connsiteX16" fmla="*/ 8199 w 10000"/>
                <a:gd name="connsiteY16" fmla="*/ 6086 h 9916"/>
                <a:gd name="connsiteX17" fmla="*/ 8058 w 10000"/>
                <a:gd name="connsiteY17" fmla="*/ 6000 h 9916"/>
                <a:gd name="connsiteX18" fmla="*/ 7924 w 10000"/>
                <a:gd name="connsiteY18" fmla="*/ 5913 h 9916"/>
                <a:gd name="connsiteX19" fmla="*/ 7798 w 10000"/>
                <a:gd name="connsiteY19" fmla="*/ 5818 h 9916"/>
                <a:gd name="connsiteX20" fmla="*/ 7672 w 10000"/>
                <a:gd name="connsiteY20" fmla="*/ 5724 h 9916"/>
                <a:gd name="connsiteX21" fmla="*/ 7554 w 10000"/>
                <a:gd name="connsiteY21" fmla="*/ 5627 h 9916"/>
                <a:gd name="connsiteX22" fmla="*/ 7450 w 10000"/>
                <a:gd name="connsiteY22" fmla="*/ 5522 h 9916"/>
                <a:gd name="connsiteX23" fmla="*/ 7346 w 10000"/>
                <a:gd name="connsiteY23" fmla="*/ 5416 h 9916"/>
                <a:gd name="connsiteX24" fmla="*/ 7250 w 10000"/>
                <a:gd name="connsiteY24" fmla="*/ 5310 h 9916"/>
                <a:gd name="connsiteX25" fmla="*/ 7161 w 10000"/>
                <a:gd name="connsiteY25" fmla="*/ 5201 h 9916"/>
                <a:gd name="connsiteX26" fmla="*/ 7072 w 10000"/>
                <a:gd name="connsiteY26" fmla="*/ 5088 h 9916"/>
                <a:gd name="connsiteX27" fmla="*/ 6990 w 10000"/>
                <a:gd name="connsiteY27" fmla="*/ 4967 h 9916"/>
                <a:gd name="connsiteX28" fmla="*/ 6953 w 10000"/>
                <a:gd name="connsiteY28" fmla="*/ 4914 h 9916"/>
                <a:gd name="connsiteX29" fmla="*/ 6916 w 10000"/>
                <a:gd name="connsiteY29" fmla="*/ 4850 h 9916"/>
                <a:gd name="connsiteX30" fmla="*/ 6887 w 10000"/>
                <a:gd name="connsiteY30" fmla="*/ 4791 h 9916"/>
                <a:gd name="connsiteX31" fmla="*/ 6850 w 10000"/>
                <a:gd name="connsiteY31" fmla="*/ 4730 h 9916"/>
                <a:gd name="connsiteX32" fmla="*/ 6820 w 10000"/>
                <a:gd name="connsiteY32" fmla="*/ 4670 h 9916"/>
                <a:gd name="connsiteX33" fmla="*/ 6790 w 10000"/>
                <a:gd name="connsiteY33" fmla="*/ 4609 h 9916"/>
                <a:gd name="connsiteX34" fmla="*/ 6768 w 10000"/>
                <a:gd name="connsiteY34" fmla="*/ 4544 h 9916"/>
                <a:gd name="connsiteX35" fmla="*/ 6738 w 10000"/>
                <a:gd name="connsiteY35" fmla="*/ 4484 h 9916"/>
                <a:gd name="connsiteX36" fmla="*/ 6723 w 10000"/>
                <a:gd name="connsiteY36" fmla="*/ 4417 h 9916"/>
                <a:gd name="connsiteX37" fmla="*/ 6694 w 10000"/>
                <a:gd name="connsiteY37" fmla="*/ 4356 h 9916"/>
                <a:gd name="connsiteX38" fmla="*/ 6679 w 10000"/>
                <a:gd name="connsiteY38" fmla="*/ 4291 h 9916"/>
                <a:gd name="connsiteX39" fmla="*/ 6664 w 10000"/>
                <a:gd name="connsiteY39" fmla="*/ 4227 h 9916"/>
                <a:gd name="connsiteX40" fmla="*/ 6649 w 10000"/>
                <a:gd name="connsiteY40" fmla="*/ 4160 h 9916"/>
                <a:gd name="connsiteX41" fmla="*/ 6635 w 10000"/>
                <a:gd name="connsiteY41" fmla="*/ 4100 h 9916"/>
                <a:gd name="connsiteX42" fmla="*/ 6620 w 10000"/>
                <a:gd name="connsiteY42" fmla="*/ 4034 h 9916"/>
                <a:gd name="connsiteX43" fmla="*/ 6612 w 10000"/>
                <a:gd name="connsiteY43" fmla="*/ 3970 h 9916"/>
                <a:gd name="connsiteX44" fmla="*/ 6605 w 10000"/>
                <a:gd name="connsiteY44" fmla="*/ 3902 h 9916"/>
                <a:gd name="connsiteX45" fmla="*/ 6597 w 10000"/>
                <a:gd name="connsiteY45" fmla="*/ 3832 h 9916"/>
                <a:gd name="connsiteX46" fmla="*/ 6597 w 10000"/>
                <a:gd name="connsiteY46" fmla="*/ 3767 h 9916"/>
                <a:gd name="connsiteX47" fmla="*/ 6590 w 10000"/>
                <a:gd name="connsiteY47" fmla="*/ 3697 h 9916"/>
                <a:gd name="connsiteX48" fmla="*/ 6597 w 10000"/>
                <a:gd name="connsiteY48" fmla="*/ 3629 h 9916"/>
                <a:gd name="connsiteX49" fmla="*/ 6605 w 10000"/>
                <a:gd name="connsiteY49" fmla="*/ 3558 h 9916"/>
                <a:gd name="connsiteX50" fmla="*/ 6605 w 10000"/>
                <a:gd name="connsiteY50" fmla="*/ 3485 h 9916"/>
                <a:gd name="connsiteX51" fmla="*/ 6612 w 10000"/>
                <a:gd name="connsiteY51" fmla="*/ 3413 h 9916"/>
                <a:gd name="connsiteX52" fmla="*/ 6620 w 10000"/>
                <a:gd name="connsiteY52" fmla="*/ 3343 h 9916"/>
                <a:gd name="connsiteX53" fmla="*/ 6635 w 10000"/>
                <a:gd name="connsiteY53" fmla="*/ 3280 h 9916"/>
                <a:gd name="connsiteX54" fmla="*/ 6649 w 10000"/>
                <a:gd name="connsiteY54" fmla="*/ 3206 h 9916"/>
                <a:gd name="connsiteX55" fmla="*/ 6664 w 10000"/>
                <a:gd name="connsiteY55" fmla="*/ 3141 h 9916"/>
                <a:gd name="connsiteX56" fmla="*/ 6686 w 10000"/>
                <a:gd name="connsiteY56" fmla="*/ 3070 h 9916"/>
                <a:gd name="connsiteX57" fmla="*/ 6709 w 10000"/>
                <a:gd name="connsiteY57" fmla="*/ 3006 h 9916"/>
                <a:gd name="connsiteX58" fmla="*/ 6731 w 10000"/>
                <a:gd name="connsiteY58" fmla="*/ 2939 h 9916"/>
                <a:gd name="connsiteX59" fmla="*/ 6753 w 10000"/>
                <a:gd name="connsiteY59" fmla="*/ 2869 h 9916"/>
                <a:gd name="connsiteX60" fmla="*/ 6783 w 10000"/>
                <a:gd name="connsiteY60" fmla="*/ 2810 h 9916"/>
                <a:gd name="connsiteX61" fmla="*/ 6812 w 10000"/>
                <a:gd name="connsiteY61" fmla="*/ 2743 h 9916"/>
                <a:gd name="connsiteX62" fmla="*/ 6842 w 10000"/>
                <a:gd name="connsiteY62" fmla="*/ 2676 h 9916"/>
                <a:gd name="connsiteX63" fmla="*/ 6879 w 10000"/>
                <a:gd name="connsiteY63" fmla="*/ 2614 h 9916"/>
                <a:gd name="connsiteX64" fmla="*/ 6909 w 10000"/>
                <a:gd name="connsiteY64" fmla="*/ 2552 h 9916"/>
                <a:gd name="connsiteX65" fmla="*/ 6946 w 10000"/>
                <a:gd name="connsiteY65" fmla="*/ 2483 h 9916"/>
                <a:gd name="connsiteX66" fmla="*/ 6990 w 10000"/>
                <a:gd name="connsiteY66" fmla="*/ 2426 h 9916"/>
                <a:gd name="connsiteX67" fmla="*/ 7027 w 10000"/>
                <a:gd name="connsiteY67" fmla="*/ 2364 h 9916"/>
                <a:gd name="connsiteX68" fmla="*/ 7072 w 10000"/>
                <a:gd name="connsiteY68" fmla="*/ 2306 h 9916"/>
                <a:gd name="connsiteX69" fmla="*/ 7109 w 10000"/>
                <a:gd name="connsiteY69" fmla="*/ 2242 h 9916"/>
                <a:gd name="connsiteX70" fmla="*/ 7161 w 10000"/>
                <a:gd name="connsiteY70" fmla="*/ 2189 h 9916"/>
                <a:gd name="connsiteX71" fmla="*/ 7213 w 10000"/>
                <a:gd name="connsiteY71" fmla="*/ 2127 h 9916"/>
                <a:gd name="connsiteX72" fmla="*/ 7257 w 10000"/>
                <a:gd name="connsiteY72" fmla="*/ 2070 h 9916"/>
                <a:gd name="connsiteX73" fmla="*/ 7309 w 10000"/>
                <a:gd name="connsiteY73" fmla="*/ 2013 h 9916"/>
                <a:gd name="connsiteX74" fmla="*/ 7361 w 10000"/>
                <a:gd name="connsiteY74" fmla="*/ 1953 h 9916"/>
                <a:gd name="connsiteX75" fmla="*/ 7413 w 10000"/>
                <a:gd name="connsiteY75" fmla="*/ 1901 h 9916"/>
                <a:gd name="connsiteX76" fmla="*/ 7472 w 10000"/>
                <a:gd name="connsiteY76" fmla="*/ 1846 h 9916"/>
                <a:gd name="connsiteX77" fmla="*/ 7524 w 10000"/>
                <a:gd name="connsiteY77" fmla="*/ 1795 h 9916"/>
                <a:gd name="connsiteX78" fmla="*/ 7583 w 10000"/>
                <a:gd name="connsiteY78" fmla="*/ 1742 h 9916"/>
                <a:gd name="connsiteX79" fmla="*/ 7610 w 10000"/>
                <a:gd name="connsiteY79" fmla="*/ 1710 h 9916"/>
                <a:gd name="connsiteX80" fmla="*/ 5390 w 10000"/>
                <a:gd name="connsiteY80" fmla="*/ 6 h 9916"/>
                <a:gd name="connsiteX81" fmla="*/ 1401 w 10000"/>
                <a:gd name="connsiteY81" fmla="*/ 0 h 9916"/>
                <a:gd name="connsiteX82" fmla="*/ 1305 w 10000"/>
                <a:gd name="connsiteY82" fmla="*/ 129 h 9916"/>
                <a:gd name="connsiteX83" fmla="*/ 1223 w 10000"/>
                <a:gd name="connsiteY83" fmla="*/ 227 h 9916"/>
                <a:gd name="connsiteX84" fmla="*/ 1149 w 10000"/>
                <a:gd name="connsiteY84" fmla="*/ 331 h 9916"/>
                <a:gd name="connsiteX85" fmla="*/ 1067 w 10000"/>
                <a:gd name="connsiteY85" fmla="*/ 438 h 9916"/>
                <a:gd name="connsiteX86" fmla="*/ 1001 w 10000"/>
                <a:gd name="connsiteY86" fmla="*/ 544 h 9916"/>
                <a:gd name="connsiteX87" fmla="*/ 927 w 10000"/>
                <a:gd name="connsiteY87" fmla="*/ 650 h 9916"/>
                <a:gd name="connsiteX88" fmla="*/ 860 w 10000"/>
                <a:gd name="connsiteY88" fmla="*/ 762 h 9916"/>
                <a:gd name="connsiteX89" fmla="*/ 793 w 10000"/>
                <a:gd name="connsiteY89" fmla="*/ 874 h 9916"/>
                <a:gd name="connsiteX90" fmla="*/ 734 w 10000"/>
                <a:gd name="connsiteY90" fmla="*/ 977 h 9916"/>
                <a:gd name="connsiteX91" fmla="*/ 675 w 10000"/>
                <a:gd name="connsiteY91" fmla="*/ 1092 h 9916"/>
                <a:gd name="connsiteX92" fmla="*/ 615 w 10000"/>
                <a:gd name="connsiteY92" fmla="*/ 1200 h 9916"/>
                <a:gd name="connsiteX93" fmla="*/ 556 w 10000"/>
                <a:gd name="connsiteY93" fmla="*/ 1318 h 9916"/>
                <a:gd name="connsiteX94" fmla="*/ 504 w 10000"/>
                <a:gd name="connsiteY94" fmla="*/ 1423 h 9916"/>
                <a:gd name="connsiteX95" fmla="*/ 452 w 10000"/>
                <a:gd name="connsiteY95" fmla="*/ 1536 h 9916"/>
                <a:gd name="connsiteX96" fmla="*/ 408 w 10000"/>
                <a:gd name="connsiteY96" fmla="*/ 1650 h 9916"/>
                <a:gd name="connsiteX97" fmla="*/ 363 w 10000"/>
                <a:gd name="connsiteY97" fmla="*/ 1764 h 9916"/>
                <a:gd name="connsiteX98" fmla="*/ 319 w 10000"/>
                <a:gd name="connsiteY98" fmla="*/ 1881 h 9916"/>
                <a:gd name="connsiteX99" fmla="*/ 282 w 10000"/>
                <a:gd name="connsiteY99" fmla="*/ 1997 h 9916"/>
                <a:gd name="connsiteX100" fmla="*/ 237 w 10000"/>
                <a:gd name="connsiteY100" fmla="*/ 2117 h 9916"/>
                <a:gd name="connsiteX101" fmla="*/ 208 w 10000"/>
                <a:gd name="connsiteY101" fmla="*/ 2233 h 9916"/>
                <a:gd name="connsiteX102" fmla="*/ 170 w 10000"/>
                <a:gd name="connsiteY102" fmla="*/ 2353 h 9916"/>
                <a:gd name="connsiteX103" fmla="*/ 148 w 10000"/>
                <a:gd name="connsiteY103" fmla="*/ 2474 h 9916"/>
                <a:gd name="connsiteX104" fmla="*/ 119 w 10000"/>
                <a:gd name="connsiteY104" fmla="*/ 2592 h 9916"/>
                <a:gd name="connsiteX105" fmla="*/ 96 w 10000"/>
                <a:gd name="connsiteY105" fmla="*/ 2710 h 9916"/>
                <a:gd name="connsiteX106" fmla="*/ 74 w 10000"/>
                <a:gd name="connsiteY106" fmla="*/ 2834 h 9916"/>
                <a:gd name="connsiteX107" fmla="*/ 52 w 10000"/>
                <a:gd name="connsiteY107" fmla="*/ 2960 h 9916"/>
                <a:gd name="connsiteX108" fmla="*/ 37 w 10000"/>
                <a:gd name="connsiteY108" fmla="*/ 3080 h 9916"/>
                <a:gd name="connsiteX109" fmla="*/ 22 w 10000"/>
                <a:gd name="connsiteY109" fmla="*/ 3201 h 9916"/>
                <a:gd name="connsiteX110" fmla="*/ 15 w 10000"/>
                <a:gd name="connsiteY110" fmla="*/ 3323 h 9916"/>
                <a:gd name="connsiteX111" fmla="*/ 7 w 10000"/>
                <a:gd name="connsiteY111" fmla="*/ 3448 h 9916"/>
                <a:gd name="connsiteX112" fmla="*/ 0 w 10000"/>
                <a:gd name="connsiteY112" fmla="*/ 3571 h 9916"/>
                <a:gd name="connsiteX113" fmla="*/ 0 w 10000"/>
                <a:gd name="connsiteY113" fmla="*/ 3697 h 9916"/>
                <a:gd name="connsiteX114" fmla="*/ 7 w 10000"/>
                <a:gd name="connsiteY114" fmla="*/ 3858 h 9916"/>
                <a:gd name="connsiteX115" fmla="*/ 7 w 10000"/>
                <a:gd name="connsiteY115" fmla="*/ 4018 h 9916"/>
                <a:gd name="connsiteX116" fmla="*/ 22 w 10000"/>
                <a:gd name="connsiteY116" fmla="*/ 4170 h 9916"/>
                <a:gd name="connsiteX117" fmla="*/ 37 w 10000"/>
                <a:gd name="connsiteY117" fmla="*/ 4327 h 9916"/>
                <a:gd name="connsiteX118" fmla="*/ 59 w 10000"/>
                <a:gd name="connsiteY118" fmla="*/ 4484 h 9916"/>
                <a:gd name="connsiteX119" fmla="*/ 89 w 10000"/>
                <a:gd name="connsiteY119" fmla="*/ 4641 h 9916"/>
                <a:gd name="connsiteX120" fmla="*/ 119 w 10000"/>
                <a:gd name="connsiteY120" fmla="*/ 4795 h 9916"/>
                <a:gd name="connsiteX121" fmla="*/ 148 w 10000"/>
                <a:gd name="connsiteY121" fmla="*/ 4952 h 9916"/>
                <a:gd name="connsiteX122" fmla="*/ 193 w 10000"/>
                <a:gd name="connsiteY122" fmla="*/ 5104 h 9916"/>
                <a:gd name="connsiteX123" fmla="*/ 237 w 10000"/>
                <a:gd name="connsiteY123" fmla="*/ 5254 h 9916"/>
                <a:gd name="connsiteX124" fmla="*/ 282 w 10000"/>
                <a:gd name="connsiteY124" fmla="*/ 5407 h 9916"/>
                <a:gd name="connsiteX125" fmla="*/ 334 w 10000"/>
                <a:gd name="connsiteY125" fmla="*/ 5556 h 9916"/>
                <a:gd name="connsiteX126" fmla="*/ 393 w 10000"/>
                <a:gd name="connsiteY126" fmla="*/ 5703 h 9916"/>
                <a:gd name="connsiteX127" fmla="*/ 452 w 10000"/>
                <a:gd name="connsiteY127" fmla="*/ 5849 h 9916"/>
                <a:gd name="connsiteX128" fmla="*/ 519 w 10000"/>
                <a:gd name="connsiteY128" fmla="*/ 5996 h 9916"/>
                <a:gd name="connsiteX129" fmla="*/ 586 w 10000"/>
                <a:gd name="connsiteY129" fmla="*/ 6144 h 9916"/>
                <a:gd name="connsiteX130" fmla="*/ 660 w 10000"/>
                <a:gd name="connsiteY130" fmla="*/ 6284 h 9916"/>
                <a:gd name="connsiteX131" fmla="*/ 741 w 10000"/>
                <a:gd name="connsiteY131" fmla="*/ 6424 h 9916"/>
                <a:gd name="connsiteX132" fmla="*/ 823 w 10000"/>
                <a:gd name="connsiteY132" fmla="*/ 6570 h 9916"/>
                <a:gd name="connsiteX133" fmla="*/ 904 w 10000"/>
                <a:gd name="connsiteY133" fmla="*/ 6706 h 9916"/>
                <a:gd name="connsiteX134" fmla="*/ 993 w 10000"/>
                <a:gd name="connsiteY134" fmla="*/ 6844 h 9916"/>
                <a:gd name="connsiteX135" fmla="*/ 1090 w 10000"/>
                <a:gd name="connsiteY135" fmla="*/ 6972 h 9916"/>
                <a:gd name="connsiteX136" fmla="*/ 1186 w 10000"/>
                <a:gd name="connsiteY136" fmla="*/ 7112 h 9916"/>
                <a:gd name="connsiteX137" fmla="*/ 1290 w 10000"/>
                <a:gd name="connsiteY137" fmla="*/ 7247 h 9916"/>
                <a:gd name="connsiteX138" fmla="*/ 1386 w 10000"/>
                <a:gd name="connsiteY138" fmla="*/ 7379 h 9916"/>
                <a:gd name="connsiteX139" fmla="*/ 1497 w 10000"/>
                <a:gd name="connsiteY139" fmla="*/ 7510 h 9916"/>
                <a:gd name="connsiteX140" fmla="*/ 1609 w 10000"/>
                <a:gd name="connsiteY140" fmla="*/ 7636 h 9916"/>
                <a:gd name="connsiteX141" fmla="*/ 1727 w 10000"/>
                <a:gd name="connsiteY141" fmla="*/ 7767 h 9916"/>
                <a:gd name="connsiteX142" fmla="*/ 1846 w 10000"/>
                <a:gd name="connsiteY142" fmla="*/ 7892 h 9916"/>
                <a:gd name="connsiteX143" fmla="*/ 1964 w 10000"/>
                <a:gd name="connsiteY143" fmla="*/ 8013 h 9916"/>
                <a:gd name="connsiteX144" fmla="*/ 2090 w 10000"/>
                <a:gd name="connsiteY144" fmla="*/ 8133 h 9916"/>
                <a:gd name="connsiteX145" fmla="*/ 2224 w 10000"/>
                <a:gd name="connsiteY145" fmla="*/ 8256 h 9916"/>
                <a:gd name="connsiteX146" fmla="*/ 2350 w 10000"/>
                <a:gd name="connsiteY146" fmla="*/ 8377 h 9916"/>
                <a:gd name="connsiteX147" fmla="*/ 2491 w 10000"/>
                <a:gd name="connsiteY147" fmla="*/ 8492 h 9916"/>
                <a:gd name="connsiteX148" fmla="*/ 2617 w 10000"/>
                <a:gd name="connsiteY148" fmla="*/ 8609 h 9916"/>
                <a:gd name="connsiteX149" fmla="*/ 2765 w 10000"/>
                <a:gd name="connsiteY149" fmla="*/ 8721 h 9916"/>
                <a:gd name="connsiteX150" fmla="*/ 2906 w 10000"/>
                <a:gd name="connsiteY150" fmla="*/ 8831 h 9916"/>
                <a:gd name="connsiteX151" fmla="*/ 3054 w 10000"/>
                <a:gd name="connsiteY151" fmla="*/ 8942 h 9916"/>
                <a:gd name="connsiteX152" fmla="*/ 3210 w 10000"/>
                <a:gd name="connsiteY152" fmla="*/ 9047 h 9916"/>
                <a:gd name="connsiteX153" fmla="*/ 3358 w 10000"/>
                <a:gd name="connsiteY153" fmla="*/ 9153 h 9916"/>
                <a:gd name="connsiteX154" fmla="*/ 3514 w 10000"/>
                <a:gd name="connsiteY154" fmla="*/ 9259 h 9916"/>
                <a:gd name="connsiteX155" fmla="*/ 3677 w 10000"/>
                <a:gd name="connsiteY155" fmla="*/ 9360 h 9916"/>
                <a:gd name="connsiteX156" fmla="*/ 3840 w 10000"/>
                <a:gd name="connsiteY156" fmla="*/ 9456 h 9916"/>
                <a:gd name="connsiteX157" fmla="*/ 4010 w 10000"/>
                <a:gd name="connsiteY157" fmla="*/ 9556 h 9916"/>
                <a:gd name="connsiteX158" fmla="*/ 4181 w 10000"/>
                <a:gd name="connsiteY158" fmla="*/ 9643 h 9916"/>
                <a:gd name="connsiteX159" fmla="*/ 4351 w 10000"/>
                <a:gd name="connsiteY159" fmla="*/ 9736 h 9916"/>
                <a:gd name="connsiteX160" fmla="*/ 4522 w 10000"/>
                <a:gd name="connsiteY160" fmla="*/ 9825 h 9916"/>
                <a:gd name="connsiteX161" fmla="*/ 4700 w 10000"/>
                <a:gd name="connsiteY161" fmla="*/ 9916 h 9916"/>
                <a:gd name="connsiteX162" fmla="*/ 7539 w 10000"/>
                <a:gd name="connsiteY162" fmla="*/ 8518 h 9916"/>
                <a:gd name="connsiteX163" fmla="*/ 10000 w 10000"/>
                <a:gd name="connsiteY163" fmla="*/ 6743 h 9916"/>
                <a:gd name="connsiteX0" fmla="*/ 10000 w 10000"/>
                <a:gd name="connsiteY0" fmla="*/ 6800 h 9908"/>
                <a:gd name="connsiteX1" fmla="*/ 10000 w 10000"/>
                <a:gd name="connsiteY1" fmla="*/ 6800 h 9908"/>
                <a:gd name="connsiteX2" fmla="*/ 9911 w 10000"/>
                <a:gd name="connsiteY2" fmla="*/ 6783 h 9908"/>
                <a:gd name="connsiteX3" fmla="*/ 9815 w 10000"/>
                <a:gd name="connsiteY3" fmla="*/ 6763 h 9908"/>
                <a:gd name="connsiteX4" fmla="*/ 9726 w 10000"/>
                <a:gd name="connsiteY4" fmla="*/ 6744 h 9908"/>
                <a:gd name="connsiteX5" fmla="*/ 9637 w 10000"/>
                <a:gd name="connsiteY5" fmla="*/ 6717 h 9908"/>
                <a:gd name="connsiteX6" fmla="*/ 9548 w 10000"/>
                <a:gd name="connsiteY6" fmla="*/ 6698 h 9908"/>
                <a:gd name="connsiteX7" fmla="*/ 9466 w 10000"/>
                <a:gd name="connsiteY7" fmla="*/ 6672 h 9908"/>
                <a:gd name="connsiteX8" fmla="*/ 9377 w 10000"/>
                <a:gd name="connsiteY8" fmla="*/ 6647 h 9908"/>
                <a:gd name="connsiteX9" fmla="*/ 9288 w 10000"/>
                <a:gd name="connsiteY9" fmla="*/ 6622 h 9908"/>
                <a:gd name="connsiteX10" fmla="*/ 9118 w 10000"/>
                <a:gd name="connsiteY10" fmla="*/ 6565 h 9908"/>
                <a:gd name="connsiteX11" fmla="*/ 8955 w 10000"/>
                <a:gd name="connsiteY11" fmla="*/ 6504 h 9908"/>
                <a:gd name="connsiteX12" fmla="*/ 8792 w 10000"/>
                <a:gd name="connsiteY12" fmla="*/ 6439 h 9908"/>
                <a:gd name="connsiteX13" fmla="*/ 8636 w 10000"/>
                <a:gd name="connsiteY13" fmla="*/ 6367 h 9908"/>
                <a:gd name="connsiteX14" fmla="*/ 8480 w 10000"/>
                <a:gd name="connsiteY14" fmla="*/ 6294 h 9908"/>
                <a:gd name="connsiteX15" fmla="*/ 8340 w 10000"/>
                <a:gd name="connsiteY15" fmla="*/ 6222 h 9908"/>
                <a:gd name="connsiteX16" fmla="*/ 8199 w 10000"/>
                <a:gd name="connsiteY16" fmla="*/ 6138 h 9908"/>
                <a:gd name="connsiteX17" fmla="*/ 8058 w 10000"/>
                <a:gd name="connsiteY17" fmla="*/ 6051 h 9908"/>
                <a:gd name="connsiteX18" fmla="*/ 7924 w 10000"/>
                <a:gd name="connsiteY18" fmla="*/ 5963 h 9908"/>
                <a:gd name="connsiteX19" fmla="*/ 7798 w 10000"/>
                <a:gd name="connsiteY19" fmla="*/ 5867 h 9908"/>
                <a:gd name="connsiteX20" fmla="*/ 7672 w 10000"/>
                <a:gd name="connsiteY20" fmla="*/ 5772 h 9908"/>
                <a:gd name="connsiteX21" fmla="*/ 7554 w 10000"/>
                <a:gd name="connsiteY21" fmla="*/ 5675 h 9908"/>
                <a:gd name="connsiteX22" fmla="*/ 7450 w 10000"/>
                <a:gd name="connsiteY22" fmla="*/ 5569 h 9908"/>
                <a:gd name="connsiteX23" fmla="*/ 7346 w 10000"/>
                <a:gd name="connsiteY23" fmla="*/ 5462 h 9908"/>
                <a:gd name="connsiteX24" fmla="*/ 7250 w 10000"/>
                <a:gd name="connsiteY24" fmla="*/ 5355 h 9908"/>
                <a:gd name="connsiteX25" fmla="*/ 7161 w 10000"/>
                <a:gd name="connsiteY25" fmla="*/ 5245 h 9908"/>
                <a:gd name="connsiteX26" fmla="*/ 7072 w 10000"/>
                <a:gd name="connsiteY26" fmla="*/ 5131 h 9908"/>
                <a:gd name="connsiteX27" fmla="*/ 6990 w 10000"/>
                <a:gd name="connsiteY27" fmla="*/ 5009 h 9908"/>
                <a:gd name="connsiteX28" fmla="*/ 6953 w 10000"/>
                <a:gd name="connsiteY28" fmla="*/ 4956 h 9908"/>
                <a:gd name="connsiteX29" fmla="*/ 6916 w 10000"/>
                <a:gd name="connsiteY29" fmla="*/ 4891 h 9908"/>
                <a:gd name="connsiteX30" fmla="*/ 6887 w 10000"/>
                <a:gd name="connsiteY30" fmla="*/ 4832 h 9908"/>
                <a:gd name="connsiteX31" fmla="*/ 6850 w 10000"/>
                <a:gd name="connsiteY31" fmla="*/ 4770 h 9908"/>
                <a:gd name="connsiteX32" fmla="*/ 6820 w 10000"/>
                <a:gd name="connsiteY32" fmla="*/ 4710 h 9908"/>
                <a:gd name="connsiteX33" fmla="*/ 6790 w 10000"/>
                <a:gd name="connsiteY33" fmla="*/ 4648 h 9908"/>
                <a:gd name="connsiteX34" fmla="*/ 6768 w 10000"/>
                <a:gd name="connsiteY34" fmla="*/ 4582 h 9908"/>
                <a:gd name="connsiteX35" fmla="*/ 6738 w 10000"/>
                <a:gd name="connsiteY35" fmla="*/ 4522 h 9908"/>
                <a:gd name="connsiteX36" fmla="*/ 6723 w 10000"/>
                <a:gd name="connsiteY36" fmla="*/ 4454 h 9908"/>
                <a:gd name="connsiteX37" fmla="*/ 6694 w 10000"/>
                <a:gd name="connsiteY37" fmla="*/ 4393 h 9908"/>
                <a:gd name="connsiteX38" fmla="*/ 6679 w 10000"/>
                <a:gd name="connsiteY38" fmla="*/ 4327 h 9908"/>
                <a:gd name="connsiteX39" fmla="*/ 6664 w 10000"/>
                <a:gd name="connsiteY39" fmla="*/ 4263 h 9908"/>
                <a:gd name="connsiteX40" fmla="*/ 6649 w 10000"/>
                <a:gd name="connsiteY40" fmla="*/ 4195 h 9908"/>
                <a:gd name="connsiteX41" fmla="*/ 6635 w 10000"/>
                <a:gd name="connsiteY41" fmla="*/ 4135 h 9908"/>
                <a:gd name="connsiteX42" fmla="*/ 6620 w 10000"/>
                <a:gd name="connsiteY42" fmla="*/ 4068 h 9908"/>
                <a:gd name="connsiteX43" fmla="*/ 6612 w 10000"/>
                <a:gd name="connsiteY43" fmla="*/ 4004 h 9908"/>
                <a:gd name="connsiteX44" fmla="*/ 6605 w 10000"/>
                <a:gd name="connsiteY44" fmla="*/ 3935 h 9908"/>
                <a:gd name="connsiteX45" fmla="*/ 6597 w 10000"/>
                <a:gd name="connsiteY45" fmla="*/ 3864 h 9908"/>
                <a:gd name="connsiteX46" fmla="*/ 6597 w 10000"/>
                <a:gd name="connsiteY46" fmla="*/ 3799 h 9908"/>
                <a:gd name="connsiteX47" fmla="*/ 6590 w 10000"/>
                <a:gd name="connsiteY47" fmla="*/ 3728 h 9908"/>
                <a:gd name="connsiteX48" fmla="*/ 6597 w 10000"/>
                <a:gd name="connsiteY48" fmla="*/ 3660 h 9908"/>
                <a:gd name="connsiteX49" fmla="*/ 6605 w 10000"/>
                <a:gd name="connsiteY49" fmla="*/ 3588 h 9908"/>
                <a:gd name="connsiteX50" fmla="*/ 6605 w 10000"/>
                <a:gd name="connsiteY50" fmla="*/ 3515 h 9908"/>
                <a:gd name="connsiteX51" fmla="*/ 6612 w 10000"/>
                <a:gd name="connsiteY51" fmla="*/ 3442 h 9908"/>
                <a:gd name="connsiteX52" fmla="*/ 6620 w 10000"/>
                <a:gd name="connsiteY52" fmla="*/ 3371 h 9908"/>
                <a:gd name="connsiteX53" fmla="*/ 6635 w 10000"/>
                <a:gd name="connsiteY53" fmla="*/ 3308 h 9908"/>
                <a:gd name="connsiteX54" fmla="*/ 6649 w 10000"/>
                <a:gd name="connsiteY54" fmla="*/ 3233 h 9908"/>
                <a:gd name="connsiteX55" fmla="*/ 6664 w 10000"/>
                <a:gd name="connsiteY55" fmla="*/ 3168 h 9908"/>
                <a:gd name="connsiteX56" fmla="*/ 6686 w 10000"/>
                <a:gd name="connsiteY56" fmla="*/ 3096 h 9908"/>
                <a:gd name="connsiteX57" fmla="*/ 6709 w 10000"/>
                <a:gd name="connsiteY57" fmla="*/ 3031 h 9908"/>
                <a:gd name="connsiteX58" fmla="*/ 6731 w 10000"/>
                <a:gd name="connsiteY58" fmla="*/ 2964 h 9908"/>
                <a:gd name="connsiteX59" fmla="*/ 6753 w 10000"/>
                <a:gd name="connsiteY59" fmla="*/ 2893 h 9908"/>
                <a:gd name="connsiteX60" fmla="*/ 6783 w 10000"/>
                <a:gd name="connsiteY60" fmla="*/ 2834 h 9908"/>
                <a:gd name="connsiteX61" fmla="*/ 6812 w 10000"/>
                <a:gd name="connsiteY61" fmla="*/ 2766 h 9908"/>
                <a:gd name="connsiteX62" fmla="*/ 6842 w 10000"/>
                <a:gd name="connsiteY62" fmla="*/ 2699 h 9908"/>
                <a:gd name="connsiteX63" fmla="*/ 6879 w 10000"/>
                <a:gd name="connsiteY63" fmla="*/ 2636 h 9908"/>
                <a:gd name="connsiteX64" fmla="*/ 6909 w 10000"/>
                <a:gd name="connsiteY64" fmla="*/ 2574 h 9908"/>
                <a:gd name="connsiteX65" fmla="*/ 6946 w 10000"/>
                <a:gd name="connsiteY65" fmla="*/ 2504 h 9908"/>
                <a:gd name="connsiteX66" fmla="*/ 6990 w 10000"/>
                <a:gd name="connsiteY66" fmla="*/ 2447 h 9908"/>
                <a:gd name="connsiteX67" fmla="*/ 7027 w 10000"/>
                <a:gd name="connsiteY67" fmla="*/ 2384 h 9908"/>
                <a:gd name="connsiteX68" fmla="*/ 7072 w 10000"/>
                <a:gd name="connsiteY68" fmla="*/ 2326 h 9908"/>
                <a:gd name="connsiteX69" fmla="*/ 7109 w 10000"/>
                <a:gd name="connsiteY69" fmla="*/ 2261 h 9908"/>
                <a:gd name="connsiteX70" fmla="*/ 7161 w 10000"/>
                <a:gd name="connsiteY70" fmla="*/ 2208 h 9908"/>
                <a:gd name="connsiteX71" fmla="*/ 7213 w 10000"/>
                <a:gd name="connsiteY71" fmla="*/ 2145 h 9908"/>
                <a:gd name="connsiteX72" fmla="*/ 7257 w 10000"/>
                <a:gd name="connsiteY72" fmla="*/ 2088 h 9908"/>
                <a:gd name="connsiteX73" fmla="*/ 7309 w 10000"/>
                <a:gd name="connsiteY73" fmla="*/ 2030 h 9908"/>
                <a:gd name="connsiteX74" fmla="*/ 7361 w 10000"/>
                <a:gd name="connsiteY74" fmla="*/ 1970 h 9908"/>
                <a:gd name="connsiteX75" fmla="*/ 7413 w 10000"/>
                <a:gd name="connsiteY75" fmla="*/ 1917 h 9908"/>
                <a:gd name="connsiteX76" fmla="*/ 7472 w 10000"/>
                <a:gd name="connsiteY76" fmla="*/ 1862 h 9908"/>
                <a:gd name="connsiteX77" fmla="*/ 7524 w 10000"/>
                <a:gd name="connsiteY77" fmla="*/ 1810 h 9908"/>
                <a:gd name="connsiteX78" fmla="*/ 7583 w 10000"/>
                <a:gd name="connsiteY78" fmla="*/ 1757 h 9908"/>
                <a:gd name="connsiteX79" fmla="*/ 7610 w 10000"/>
                <a:gd name="connsiteY79" fmla="*/ 1724 h 9908"/>
                <a:gd name="connsiteX80" fmla="*/ 5390 w 10000"/>
                <a:gd name="connsiteY80" fmla="*/ 6 h 9908"/>
                <a:gd name="connsiteX81" fmla="*/ 1401 w 10000"/>
                <a:gd name="connsiteY81" fmla="*/ 0 h 9908"/>
                <a:gd name="connsiteX82" fmla="*/ 1305 w 10000"/>
                <a:gd name="connsiteY82" fmla="*/ 130 h 9908"/>
                <a:gd name="connsiteX83" fmla="*/ 1223 w 10000"/>
                <a:gd name="connsiteY83" fmla="*/ 229 h 9908"/>
                <a:gd name="connsiteX84" fmla="*/ 1149 w 10000"/>
                <a:gd name="connsiteY84" fmla="*/ 334 h 9908"/>
                <a:gd name="connsiteX85" fmla="*/ 1067 w 10000"/>
                <a:gd name="connsiteY85" fmla="*/ 442 h 9908"/>
                <a:gd name="connsiteX86" fmla="*/ 1001 w 10000"/>
                <a:gd name="connsiteY86" fmla="*/ 549 h 9908"/>
                <a:gd name="connsiteX87" fmla="*/ 927 w 10000"/>
                <a:gd name="connsiteY87" fmla="*/ 656 h 9908"/>
                <a:gd name="connsiteX88" fmla="*/ 860 w 10000"/>
                <a:gd name="connsiteY88" fmla="*/ 768 h 9908"/>
                <a:gd name="connsiteX89" fmla="*/ 793 w 10000"/>
                <a:gd name="connsiteY89" fmla="*/ 881 h 9908"/>
                <a:gd name="connsiteX90" fmla="*/ 734 w 10000"/>
                <a:gd name="connsiteY90" fmla="*/ 985 h 9908"/>
                <a:gd name="connsiteX91" fmla="*/ 675 w 10000"/>
                <a:gd name="connsiteY91" fmla="*/ 1101 h 9908"/>
                <a:gd name="connsiteX92" fmla="*/ 615 w 10000"/>
                <a:gd name="connsiteY92" fmla="*/ 1210 h 9908"/>
                <a:gd name="connsiteX93" fmla="*/ 556 w 10000"/>
                <a:gd name="connsiteY93" fmla="*/ 1329 h 9908"/>
                <a:gd name="connsiteX94" fmla="*/ 504 w 10000"/>
                <a:gd name="connsiteY94" fmla="*/ 1435 h 9908"/>
                <a:gd name="connsiteX95" fmla="*/ 452 w 10000"/>
                <a:gd name="connsiteY95" fmla="*/ 1549 h 9908"/>
                <a:gd name="connsiteX96" fmla="*/ 408 w 10000"/>
                <a:gd name="connsiteY96" fmla="*/ 1664 h 9908"/>
                <a:gd name="connsiteX97" fmla="*/ 363 w 10000"/>
                <a:gd name="connsiteY97" fmla="*/ 1779 h 9908"/>
                <a:gd name="connsiteX98" fmla="*/ 319 w 10000"/>
                <a:gd name="connsiteY98" fmla="*/ 1897 h 9908"/>
                <a:gd name="connsiteX99" fmla="*/ 282 w 10000"/>
                <a:gd name="connsiteY99" fmla="*/ 2014 h 9908"/>
                <a:gd name="connsiteX100" fmla="*/ 237 w 10000"/>
                <a:gd name="connsiteY100" fmla="*/ 2135 h 9908"/>
                <a:gd name="connsiteX101" fmla="*/ 208 w 10000"/>
                <a:gd name="connsiteY101" fmla="*/ 2252 h 9908"/>
                <a:gd name="connsiteX102" fmla="*/ 170 w 10000"/>
                <a:gd name="connsiteY102" fmla="*/ 2373 h 9908"/>
                <a:gd name="connsiteX103" fmla="*/ 148 w 10000"/>
                <a:gd name="connsiteY103" fmla="*/ 2495 h 9908"/>
                <a:gd name="connsiteX104" fmla="*/ 119 w 10000"/>
                <a:gd name="connsiteY104" fmla="*/ 2614 h 9908"/>
                <a:gd name="connsiteX105" fmla="*/ 96 w 10000"/>
                <a:gd name="connsiteY105" fmla="*/ 2733 h 9908"/>
                <a:gd name="connsiteX106" fmla="*/ 74 w 10000"/>
                <a:gd name="connsiteY106" fmla="*/ 2858 h 9908"/>
                <a:gd name="connsiteX107" fmla="*/ 52 w 10000"/>
                <a:gd name="connsiteY107" fmla="*/ 2985 h 9908"/>
                <a:gd name="connsiteX108" fmla="*/ 37 w 10000"/>
                <a:gd name="connsiteY108" fmla="*/ 3106 h 9908"/>
                <a:gd name="connsiteX109" fmla="*/ 22 w 10000"/>
                <a:gd name="connsiteY109" fmla="*/ 3228 h 9908"/>
                <a:gd name="connsiteX110" fmla="*/ 15 w 10000"/>
                <a:gd name="connsiteY110" fmla="*/ 3351 h 9908"/>
                <a:gd name="connsiteX111" fmla="*/ 7 w 10000"/>
                <a:gd name="connsiteY111" fmla="*/ 3477 h 9908"/>
                <a:gd name="connsiteX112" fmla="*/ 0 w 10000"/>
                <a:gd name="connsiteY112" fmla="*/ 3601 h 9908"/>
                <a:gd name="connsiteX113" fmla="*/ 0 w 10000"/>
                <a:gd name="connsiteY113" fmla="*/ 3728 h 9908"/>
                <a:gd name="connsiteX114" fmla="*/ 7 w 10000"/>
                <a:gd name="connsiteY114" fmla="*/ 3891 h 9908"/>
                <a:gd name="connsiteX115" fmla="*/ 7 w 10000"/>
                <a:gd name="connsiteY115" fmla="*/ 4052 h 9908"/>
                <a:gd name="connsiteX116" fmla="*/ 22 w 10000"/>
                <a:gd name="connsiteY116" fmla="*/ 4205 h 9908"/>
                <a:gd name="connsiteX117" fmla="*/ 37 w 10000"/>
                <a:gd name="connsiteY117" fmla="*/ 4364 h 9908"/>
                <a:gd name="connsiteX118" fmla="*/ 59 w 10000"/>
                <a:gd name="connsiteY118" fmla="*/ 4522 h 9908"/>
                <a:gd name="connsiteX119" fmla="*/ 89 w 10000"/>
                <a:gd name="connsiteY119" fmla="*/ 4680 h 9908"/>
                <a:gd name="connsiteX120" fmla="*/ 119 w 10000"/>
                <a:gd name="connsiteY120" fmla="*/ 4836 h 9908"/>
                <a:gd name="connsiteX121" fmla="*/ 148 w 10000"/>
                <a:gd name="connsiteY121" fmla="*/ 4994 h 9908"/>
                <a:gd name="connsiteX122" fmla="*/ 193 w 10000"/>
                <a:gd name="connsiteY122" fmla="*/ 5147 h 9908"/>
                <a:gd name="connsiteX123" fmla="*/ 237 w 10000"/>
                <a:gd name="connsiteY123" fmla="*/ 5299 h 9908"/>
                <a:gd name="connsiteX124" fmla="*/ 282 w 10000"/>
                <a:gd name="connsiteY124" fmla="*/ 5453 h 9908"/>
                <a:gd name="connsiteX125" fmla="*/ 334 w 10000"/>
                <a:gd name="connsiteY125" fmla="*/ 5603 h 9908"/>
                <a:gd name="connsiteX126" fmla="*/ 393 w 10000"/>
                <a:gd name="connsiteY126" fmla="*/ 5751 h 9908"/>
                <a:gd name="connsiteX127" fmla="*/ 452 w 10000"/>
                <a:gd name="connsiteY127" fmla="*/ 5899 h 9908"/>
                <a:gd name="connsiteX128" fmla="*/ 519 w 10000"/>
                <a:gd name="connsiteY128" fmla="*/ 6047 h 9908"/>
                <a:gd name="connsiteX129" fmla="*/ 586 w 10000"/>
                <a:gd name="connsiteY129" fmla="*/ 6196 h 9908"/>
                <a:gd name="connsiteX130" fmla="*/ 660 w 10000"/>
                <a:gd name="connsiteY130" fmla="*/ 6337 h 9908"/>
                <a:gd name="connsiteX131" fmla="*/ 741 w 10000"/>
                <a:gd name="connsiteY131" fmla="*/ 6478 h 9908"/>
                <a:gd name="connsiteX132" fmla="*/ 823 w 10000"/>
                <a:gd name="connsiteY132" fmla="*/ 6626 h 9908"/>
                <a:gd name="connsiteX133" fmla="*/ 904 w 10000"/>
                <a:gd name="connsiteY133" fmla="*/ 6763 h 9908"/>
                <a:gd name="connsiteX134" fmla="*/ 993 w 10000"/>
                <a:gd name="connsiteY134" fmla="*/ 6902 h 9908"/>
                <a:gd name="connsiteX135" fmla="*/ 1090 w 10000"/>
                <a:gd name="connsiteY135" fmla="*/ 7031 h 9908"/>
                <a:gd name="connsiteX136" fmla="*/ 1186 w 10000"/>
                <a:gd name="connsiteY136" fmla="*/ 7172 h 9908"/>
                <a:gd name="connsiteX137" fmla="*/ 1290 w 10000"/>
                <a:gd name="connsiteY137" fmla="*/ 7308 h 9908"/>
                <a:gd name="connsiteX138" fmla="*/ 1386 w 10000"/>
                <a:gd name="connsiteY138" fmla="*/ 7442 h 9908"/>
                <a:gd name="connsiteX139" fmla="*/ 1497 w 10000"/>
                <a:gd name="connsiteY139" fmla="*/ 7574 h 9908"/>
                <a:gd name="connsiteX140" fmla="*/ 1609 w 10000"/>
                <a:gd name="connsiteY140" fmla="*/ 7701 h 9908"/>
                <a:gd name="connsiteX141" fmla="*/ 1727 w 10000"/>
                <a:gd name="connsiteY141" fmla="*/ 7833 h 9908"/>
                <a:gd name="connsiteX142" fmla="*/ 1846 w 10000"/>
                <a:gd name="connsiteY142" fmla="*/ 7959 h 9908"/>
                <a:gd name="connsiteX143" fmla="*/ 1964 w 10000"/>
                <a:gd name="connsiteY143" fmla="*/ 8081 h 9908"/>
                <a:gd name="connsiteX144" fmla="*/ 2090 w 10000"/>
                <a:gd name="connsiteY144" fmla="*/ 8202 h 9908"/>
                <a:gd name="connsiteX145" fmla="*/ 2224 w 10000"/>
                <a:gd name="connsiteY145" fmla="*/ 8326 h 9908"/>
                <a:gd name="connsiteX146" fmla="*/ 2350 w 10000"/>
                <a:gd name="connsiteY146" fmla="*/ 8448 h 9908"/>
                <a:gd name="connsiteX147" fmla="*/ 2491 w 10000"/>
                <a:gd name="connsiteY147" fmla="*/ 8564 h 9908"/>
                <a:gd name="connsiteX148" fmla="*/ 2617 w 10000"/>
                <a:gd name="connsiteY148" fmla="*/ 8682 h 9908"/>
                <a:gd name="connsiteX149" fmla="*/ 2765 w 10000"/>
                <a:gd name="connsiteY149" fmla="*/ 8795 h 9908"/>
                <a:gd name="connsiteX150" fmla="*/ 2906 w 10000"/>
                <a:gd name="connsiteY150" fmla="*/ 8906 h 9908"/>
                <a:gd name="connsiteX151" fmla="*/ 3054 w 10000"/>
                <a:gd name="connsiteY151" fmla="*/ 9018 h 9908"/>
                <a:gd name="connsiteX152" fmla="*/ 3210 w 10000"/>
                <a:gd name="connsiteY152" fmla="*/ 9124 h 9908"/>
                <a:gd name="connsiteX153" fmla="*/ 3358 w 10000"/>
                <a:gd name="connsiteY153" fmla="*/ 9231 h 9908"/>
                <a:gd name="connsiteX154" fmla="*/ 3514 w 10000"/>
                <a:gd name="connsiteY154" fmla="*/ 9337 h 9908"/>
                <a:gd name="connsiteX155" fmla="*/ 3677 w 10000"/>
                <a:gd name="connsiteY155" fmla="*/ 9439 h 9908"/>
                <a:gd name="connsiteX156" fmla="*/ 3840 w 10000"/>
                <a:gd name="connsiteY156" fmla="*/ 9536 h 9908"/>
                <a:gd name="connsiteX157" fmla="*/ 4010 w 10000"/>
                <a:gd name="connsiteY157" fmla="*/ 9637 h 9908"/>
                <a:gd name="connsiteX158" fmla="*/ 4181 w 10000"/>
                <a:gd name="connsiteY158" fmla="*/ 9725 h 9908"/>
                <a:gd name="connsiteX159" fmla="*/ 4351 w 10000"/>
                <a:gd name="connsiteY159" fmla="*/ 9818 h 9908"/>
                <a:gd name="connsiteX160" fmla="*/ 4522 w 10000"/>
                <a:gd name="connsiteY160" fmla="*/ 9908 h 9908"/>
                <a:gd name="connsiteX161" fmla="*/ 7539 w 10000"/>
                <a:gd name="connsiteY161" fmla="*/ 8590 h 9908"/>
                <a:gd name="connsiteX162" fmla="*/ 10000 w 10000"/>
                <a:gd name="connsiteY162" fmla="*/ 6800 h 9908"/>
                <a:gd name="connsiteX0" fmla="*/ 10000 w 10000"/>
                <a:gd name="connsiteY0" fmla="*/ 6863 h 9909"/>
                <a:gd name="connsiteX1" fmla="*/ 10000 w 10000"/>
                <a:gd name="connsiteY1" fmla="*/ 6863 h 9909"/>
                <a:gd name="connsiteX2" fmla="*/ 9911 w 10000"/>
                <a:gd name="connsiteY2" fmla="*/ 6846 h 9909"/>
                <a:gd name="connsiteX3" fmla="*/ 9815 w 10000"/>
                <a:gd name="connsiteY3" fmla="*/ 6826 h 9909"/>
                <a:gd name="connsiteX4" fmla="*/ 9726 w 10000"/>
                <a:gd name="connsiteY4" fmla="*/ 6807 h 9909"/>
                <a:gd name="connsiteX5" fmla="*/ 9637 w 10000"/>
                <a:gd name="connsiteY5" fmla="*/ 6779 h 9909"/>
                <a:gd name="connsiteX6" fmla="*/ 9548 w 10000"/>
                <a:gd name="connsiteY6" fmla="*/ 6760 h 9909"/>
                <a:gd name="connsiteX7" fmla="*/ 9466 w 10000"/>
                <a:gd name="connsiteY7" fmla="*/ 6734 h 9909"/>
                <a:gd name="connsiteX8" fmla="*/ 9377 w 10000"/>
                <a:gd name="connsiteY8" fmla="*/ 6709 h 9909"/>
                <a:gd name="connsiteX9" fmla="*/ 9288 w 10000"/>
                <a:gd name="connsiteY9" fmla="*/ 6683 h 9909"/>
                <a:gd name="connsiteX10" fmla="*/ 9118 w 10000"/>
                <a:gd name="connsiteY10" fmla="*/ 6626 h 9909"/>
                <a:gd name="connsiteX11" fmla="*/ 8955 w 10000"/>
                <a:gd name="connsiteY11" fmla="*/ 6564 h 9909"/>
                <a:gd name="connsiteX12" fmla="*/ 8792 w 10000"/>
                <a:gd name="connsiteY12" fmla="*/ 6499 h 9909"/>
                <a:gd name="connsiteX13" fmla="*/ 8636 w 10000"/>
                <a:gd name="connsiteY13" fmla="*/ 6426 h 9909"/>
                <a:gd name="connsiteX14" fmla="*/ 8480 w 10000"/>
                <a:gd name="connsiteY14" fmla="*/ 6352 h 9909"/>
                <a:gd name="connsiteX15" fmla="*/ 8340 w 10000"/>
                <a:gd name="connsiteY15" fmla="*/ 6280 h 9909"/>
                <a:gd name="connsiteX16" fmla="*/ 8199 w 10000"/>
                <a:gd name="connsiteY16" fmla="*/ 6195 h 9909"/>
                <a:gd name="connsiteX17" fmla="*/ 8058 w 10000"/>
                <a:gd name="connsiteY17" fmla="*/ 6107 h 9909"/>
                <a:gd name="connsiteX18" fmla="*/ 7924 w 10000"/>
                <a:gd name="connsiteY18" fmla="*/ 6018 h 9909"/>
                <a:gd name="connsiteX19" fmla="*/ 7798 w 10000"/>
                <a:gd name="connsiteY19" fmla="*/ 5921 h 9909"/>
                <a:gd name="connsiteX20" fmla="*/ 7672 w 10000"/>
                <a:gd name="connsiteY20" fmla="*/ 5826 h 9909"/>
                <a:gd name="connsiteX21" fmla="*/ 7554 w 10000"/>
                <a:gd name="connsiteY21" fmla="*/ 5728 h 9909"/>
                <a:gd name="connsiteX22" fmla="*/ 7450 w 10000"/>
                <a:gd name="connsiteY22" fmla="*/ 5621 h 9909"/>
                <a:gd name="connsiteX23" fmla="*/ 7346 w 10000"/>
                <a:gd name="connsiteY23" fmla="*/ 5513 h 9909"/>
                <a:gd name="connsiteX24" fmla="*/ 7250 w 10000"/>
                <a:gd name="connsiteY24" fmla="*/ 5405 h 9909"/>
                <a:gd name="connsiteX25" fmla="*/ 7161 w 10000"/>
                <a:gd name="connsiteY25" fmla="*/ 5294 h 9909"/>
                <a:gd name="connsiteX26" fmla="*/ 7072 w 10000"/>
                <a:gd name="connsiteY26" fmla="*/ 5179 h 9909"/>
                <a:gd name="connsiteX27" fmla="*/ 6990 w 10000"/>
                <a:gd name="connsiteY27" fmla="*/ 5056 h 9909"/>
                <a:gd name="connsiteX28" fmla="*/ 6953 w 10000"/>
                <a:gd name="connsiteY28" fmla="*/ 5002 h 9909"/>
                <a:gd name="connsiteX29" fmla="*/ 6916 w 10000"/>
                <a:gd name="connsiteY29" fmla="*/ 4936 h 9909"/>
                <a:gd name="connsiteX30" fmla="*/ 6887 w 10000"/>
                <a:gd name="connsiteY30" fmla="*/ 4877 h 9909"/>
                <a:gd name="connsiteX31" fmla="*/ 6850 w 10000"/>
                <a:gd name="connsiteY31" fmla="*/ 4814 h 9909"/>
                <a:gd name="connsiteX32" fmla="*/ 6820 w 10000"/>
                <a:gd name="connsiteY32" fmla="*/ 4754 h 9909"/>
                <a:gd name="connsiteX33" fmla="*/ 6790 w 10000"/>
                <a:gd name="connsiteY33" fmla="*/ 4691 h 9909"/>
                <a:gd name="connsiteX34" fmla="*/ 6768 w 10000"/>
                <a:gd name="connsiteY34" fmla="*/ 4625 h 9909"/>
                <a:gd name="connsiteX35" fmla="*/ 6738 w 10000"/>
                <a:gd name="connsiteY35" fmla="*/ 4564 h 9909"/>
                <a:gd name="connsiteX36" fmla="*/ 6723 w 10000"/>
                <a:gd name="connsiteY36" fmla="*/ 4495 h 9909"/>
                <a:gd name="connsiteX37" fmla="*/ 6694 w 10000"/>
                <a:gd name="connsiteY37" fmla="*/ 4434 h 9909"/>
                <a:gd name="connsiteX38" fmla="*/ 6679 w 10000"/>
                <a:gd name="connsiteY38" fmla="*/ 4367 h 9909"/>
                <a:gd name="connsiteX39" fmla="*/ 6664 w 10000"/>
                <a:gd name="connsiteY39" fmla="*/ 4303 h 9909"/>
                <a:gd name="connsiteX40" fmla="*/ 6649 w 10000"/>
                <a:gd name="connsiteY40" fmla="*/ 4234 h 9909"/>
                <a:gd name="connsiteX41" fmla="*/ 6635 w 10000"/>
                <a:gd name="connsiteY41" fmla="*/ 4173 h 9909"/>
                <a:gd name="connsiteX42" fmla="*/ 6620 w 10000"/>
                <a:gd name="connsiteY42" fmla="*/ 4106 h 9909"/>
                <a:gd name="connsiteX43" fmla="*/ 6612 w 10000"/>
                <a:gd name="connsiteY43" fmla="*/ 4041 h 9909"/>
                <a:gd name="connsiteX44" fmla="*/ 6605 w 10000"/>
                <a:gd name="connsiteY44" fmla="*/ 3972 h 9909"/>
                <a:gd name="connsiteX45" fmla="*/ 6597 w 10000"/>
                <a:gd name="connsiteY45" fmla="*/ 3900 h 9909"/>
                <a:gd name="connsiteX46" fmla="*/ 6597 w 10000"/>
                <a:gd name="connsiteY46" fmla="*/ 3834 h 9909"/>
                <a:gd name="connsiteX47" fmla="*/ 6590 w 10000"/>
                <a:gd name="connsiteY47" fmla="*/ 3763 h 9909"/>
                <a:gd name="connsiteX48" fmla="*/ 6597 w 10000"/>
                <a:gd name="connsiteY48" fmla="*/ 3694 h 9909"/>
                <a:gd name="connsiteX49" fmla="*/ 6605 w 10000"/>
                <a:gd name="connsiteY49" fmla="*/ 3621 h 9909"/>
                <a:gd name="connsiteX50" fmla="*/ 6605 w 10000"/>
                <a:gd name="connsiteY50" fmla="*/ 3548 h 9909"/>
                <a:gd name="connsiteX51" fmla="*/ 6612 w 10000"/>
                <a:gd name="connsiteY51" fmla="*/ 3474 h 9909"/>
                <a:gd name="connsiteX52" fmla="*/ 6620 w 10000"/>
                <a:gd name="connsiteY52" fmla="*/ 3402 h 9909"/>
                <a:gd name="connsiteX53" fmla="*/ 6635 w 10000"/>
                <a:gd name="connsiteY53" fmla="*/ 3339 h 9909"/>
                <a:gd name="connsiteX54" fmla="*/ 6649 w 10000"/>
                <a:gd name="connsiteY54" fmla="*/ 3263 h 9909"/>
                <a:gd name="connsiteX55" fmla="*/ 6664 w 10000"/>
                <a:gd name="connsiteY55" fmla="*/ 3197 h 9909"/>
                <a:gd name="connsiteX56" fmla="*/ 6686 w 10000"/>
                <a:gd name="connsiteY56" fmla="*/ 3125 h 9909"/>
                <a:gd name="connsiteX57" fmla="*/ 6709 w 10000"/>
                <a:gd name="connsiteY57" fmla="*/ 3059 h 9909"/>
                <a:gd name="connsiteX58" fmla="*/ 6731 w 10000"/>
                <a:gd name="connsiteY58" fmla="*/ 2992 h 9909"/>
                <a:gd name="connsiteX59" fmla="*/ 6753 w 10000"/>
                <a:gd name="connsiteY59" fmla="*/ 2920 h 9909"/>
                <a:gd name="connsiteX60" fmla="*/ 6783 w 10000"/>
                <a:gd name="connsiteY60" fmla="*/ 2860 h 9909"/>
                <a:gd name="connsiteX61" fmla="*/ 6812 w 10000"/>
                <a:gd name="connsiteY61" fmla="*/ 2792 h 9909"/>
                <a:gd name="connsiteX62" fmla="*/ 6842 w 10000"/>
                <a:gd name="connsiteY62" fmla="*/ 2724 h 9909"/>
                <a:gd name="connsiteX63" fmla="*/ 6879 w 10000"/>
                <a:gd name="connsiteY63" fmla="*/ 2660 h 9909"/>
                <a:gd name="connsiteX64" fmla="*/ 6909 w 10000"/>
                <a:gd name="connsiteY64" fmla="*/ 2598 h 9909"/>
                <a:gd name="connsiteX65" fmla="*/ 6946 w 10000"/>
                <a:gd name="connsiteY65" fmla="*/ 2527 h 9909"/>
                <a:gd name="connsiteX66" fmla="*/ 6990 w 10000"/>
                <a:gd name="connsiteY66" fmla="*/ 2470 h 9909"/>
                <a:gd name="connsiteX67" fmla="*/ 7027 w 10000"/>
                <a:gd name="connsiteY67" fmla="*/ 2406 h 9909"/>
                <a:gd name="connsiteX68" fmla="*/ 7072 w 10000"/>
                <a:gd name="connsiteY68" fmla="*/ 2348 h 9909"/>
                <a:gd name="connsiteX69" fmla="*/ 7109 w 10000"/>
                <a:gd name="connsiteY69" fmla="*/ 2282 h 9909"/>
                <a:gd name="connsiteX70" fmla="*/ 7161 w 10000"/>
                <a:gd name="connsiteY70" fmla="*/ 2229 h 9909"/>
                <a:gd name="connsiteX71" fmla="*/ 7213 w 10000"/>
                <a:gd name="connsiteY71" fmla="*/ 2165 h 9909"/>
                <a:gd name="connsiteX72" fmla="*/ 7257 w 10000"/>
                <a:gd name="connsiteY72" fmla="*/ 2107 h 9909"/>
                <a:gd name="connsiteX73" fmla="*/ 7309 w 10000"/>
                <a:gd name="connsiteY73" fmla="*/ 2049 h 9909"/>
                <a:gd name="connsiteX74" fmla="*/ 7361 w 10000"/>
                <a:gd name="connsiteY74" fmla="*/ 1988 h 9909"/>
                <a:gd name="connsiteX75" fmla="*/ 7413 w 10000"/>
                <a:gd name="connsiteY75" fmla="*/ 1935 h 9909"/>
                <a:gd name="connsiteX76" fmla="*/ 7472 w 10000"/>
                <a:gd name="connsiteY76" fmla="*/ 1879 h 9909"/>
                <a:gd name="connsiteX77" fmla="*/ 7524 w 10000"/>
                <a:gd name="connsiteY77" fmla="*/ 1827 h 9909"/>
                <a:gd name="connsiteX78" fmla="*/ 7583 w 10000"/>
                <a:gd name="connsiteY78" fmla="*/ 1773 h 9909"/>
                <a:gd name="connsiteX79" fmla="*/ 7610 w 10000"/>
                <a:gd name="connsiteY79" fmla="*/ 1740 h 9909"/>
                <a:gd name="connsiteX80" fmla="*/ 5390 w 10000"/>
                <a:gd name="connsiteY80" fmla="*/ 6 h 9909"/>
                <a:gd name="connsiteX81" fmla="*/ 1401 w 10000"/>
                <a:gd name="connsiteY81" fmla="*/ 0 h 9909"/>
                <a:gd name="connsiteX82" fmla="*/ 1305 w 10000"/>
                <a:gd name="connsiteY82" fmla="*/ 131 h 9909"/>
                <a:gd name="connsiteX83" fmla="*/ 1223 w 10000"/>
                <a:gd name="connsiteY83" fmla="*/ 231 h 9909"/>
                <a:gd name="connsiteX84" fmla="*/ 1149 w 10000"/>
                <a:gd name="connsiteY84" fmla="*/ 337 h 9909"/>
                <a:gd name="connsiteX85" fmla="*/ 1067 w 10000"/>
                <a:gd name="connsiteY85" fmla="*/ 446 h 9909"/>
                <a:gd name="connsiteX86" fmla="*/ 1001 w 10000"/>
                <a:gd name="connsiteY86" fmla="*/ 554 h 9909"/>
                <a:gd name="connsiteX87" fmla="*/ 927 w 10000"/>
                <a:gd name="connsiteY87" fmla="*/ 662 h 9909"/>
                <a:gd name="connsiteX88" fmla="*/ 860 w 10000"/>
                <a:gd name="connsiteY88" fmla="*/ 775 h 9909"/>
                <a:gd name="connsiteX89" fmla="*/ 793 w 10000"/>
                <a:gd name="connsiteY89" fmla="*/ 889 h 9909"/>
                <a:gd name="connsiteX90" fmla="*/ 734 w 10000"/>
                <a:gd name="connsiteY90" fmla="*/ 994 h 9909"/>
                <a:gd name="connsiteX91" fmla="*/ 675 w 10000"/>
                <a:gd name="connsiteY91" fmla="*/ 1111 h 9909"/>
                <a:gd name="connsiteX92" fmla="*/ 615 w 10000"/>
                <a:gd name="connsiteY92" fmla="*/ 1221 h 9909"/>
                <a:gd name="connsiteX93" fmla="*/ 556 w 10000"/>
                <a:gd name="connsiteY93" fmla="*/ 1341 h 9909"/>
                <a:gd name="connsiteX94" fmla="*/ 504 w 10000"/>
                <a:gd name="connsiteY94" fmla="*/ 1448 h 9909"/>
                <a:gd name="connsiteX95" fmla="*/ 452 w 10000"/>
                <a:gd name="connsiteY95" fmla="*/ 1563 h 9909"/>
                <a:gd name="connsiteX96" fmla="*/ 408 w 10000"/>
                <a:gd name="connsiteY96" fmla="*/ 1679 h 9909"/>
                <a:gd name="connsiteX97" fmla="*/ 363 w 10000"/>
                <a:gd name="connsiteY97" fmla="*/ 1796 h 9909"/>
                <a:gd name="connsiteX98" fmla="*/ 319 w 10000"/>
                <a:gd name="connsiteY98" fmla="*/ 1915 h 9909"/>
                <a:gd name="connsiteX99" fmla="*/ 282 w 10000"/>
                <a:gd name="connsiteY99" fmla="*/ 2033 h 9909"/>
                <a:gd name="connsiteX100" fmla="*/ 237 w 10000"/>
                <a:gd name="connsiteY100" fmla="*/ 2155 h 9909"/>
                <a:gd name="connsiteX101" fmla="*/ 208 w 10000"/>
                <a:gd name="connsiteY101" fmla="*/ 2273 h 9909"/>
                <a:gd name="connsiteX102" fmla="*/ 170 w 10000"/>
                <a:gd name="connsiteY102" fmla="*/ 2395 h 9909"/>
                <a:gd name="connsiteX103" fmla="*/ 148 w 10000"/>
                <a:gd name="connsiteY103" fmla="*/ 2518 h 9909"/>
                <a:gd name="connsiteX104" fmla="*/ 119 w 10000"/>
                <a:gd name="connsiteY104" fmla="*/ 2638 h 9909"/>
                <a:gd name="connsiteX105" fmla="*/ 96 w 10000"/>
                <a:gd name="connsiteY105" fmla="*/ 2758 h 9909"/>
                <a:gd name="connsiteX106" fmla="*/ 74 w 10000"/>
                <a:gd name="connsiteY106" fmla="*/ 2885 h 9909"/>
                <a:gd name="connsiteX107" fmla="*/ 52 w 10000"/>
                <a:gd name="connsiteY107" fmla="*/ 3013 h 9909"/>
                <a:gd name="connsiteX108" fmla="*/ 37 w 10000"/>
                <a:gd name="connsiteY108" fmla="*/ 3135 h 9909"/>
                <a:gd name="connsiteX109" fmla="*/ 22 w 10000"/>
                <a:gd name="connsiteY109" fmla="*/ 3258 h 9909"/>
                <a:gd name="connsiteX110" fmla="*/ 15 w 10000"/>
                <a:gd name="connsiteY110" fmla="*/ 3382 h 9909"/>
                <a:gd name="connsiteX111" fmla="*/ 7 w 10000"/>
                <a:gd name="connsiteY111" fmla="*/ 3509 h 9909"/>
                <a:gd name="connsiteX112" fmla="*/ 0 w 10000"/>
                <a:gd name="connsiteY112" fmla="*/ 3634 h 9909"/>
                <a:gd name="connsiteX113" fmla="*/ 0 w 10000"/>
                <a:gd name="connsiteY113" fmla="*/ 3763 h 9909"/>
                <a:gd name="connsiteX114" fmla="*/ 7 w 10000"/>
                <a:gd name="connsiteY114" fmla="*/ 3927 h 9909"/>
                <a:gd name="connsiteX115" fmla="*/ 7 w 10000"/>
                <a:gd name="connsiteY115" fmla="*/ 4090 h 9909"/>
                <a:gd name="connsiteX116" fmla="*/ 22 w 10000"/>
                <a:gd name="connsiteY116" fmla="*/ 4244 h 9909"/>
                <a:gd name="connsiteX117" fmla="*/ 37 w 10000"/>
                <a:gd name="connsiteY117" fmla="*/ 4405 h 9909"/>
                <a:gd name="connsiteX118" fmla="*/ 59 w 10000"/>
                <a:gd name="connsiteY118" fmla="*/ 4564 h 9909"/>
                <a:gd name="connsiteX119" fmla="*/ 89 w 10000"/>
                <a:gd name="connsiteY119" fmla="*/ 4723 h 9909"/>
                <a:gd name="connsiteX120" fmla="*/ 119 w 10000"/>
                <a:gd name="connsiteY120" fmla="*/ 4881 h 9909"/>
                <a:gd name="connsiteX121" fmla="*/ 148 w 10000"/>
                <a:gd name="connsiteY121" fmla="*/ 5040 h 9909"/>
                <a:gd name="connsiteX122" fmla="*/ 193 w 10000"/>
                <a:gd name="connsiteY122" fmla="*/ 5195 h 9909"/>
                <a:gd name="connsiteX123" fmla="*/ 237 w 10000"/>
                <a:gd name="connsiteY123" fmla="*/ 5348 h 9909"/>
                <a:gd name="connsiteX124" fmla="*/ 282 w 10000"/>
                <a:gd name="connsiteY124" fmla="*/ 5504 h 9909"/>
                <a:gd name="connsiteX125" fmla="*/ 334 w 10000"/>
                <a:gd name="connsiteY125" fmla="*/ 5655 h 9909"/>
                <a:gd name="connsiteX126" fmla="*/ 393 w 10000"/>
                <a:gd name="connsiteY126" fmla="*/ 5804 h 9909"/>
                <a:gd name="connsiteX127" fmla="*/ 452 w 10000"/>
                <a:gd name="connsiteY127" fmla="*/ 5954 h 9909"/>
                <a:gd name="connsiteX128" fmla="*/ 519 w 10000"/>
                <a:gd name="connsiteY128" fmla="*/ 6103 h 9909"/>
                <a:gd name="connsiteX129" fmla="*/ 586 w 10000"/>
                <a:gd name="connsiteY129" fmla="*/ 6254 h 9909"/>
                <a:gd name="connsiteX130" fmla="*/ 660 w 10000"/>
                <a:gd name="connsiteY130" fmla="*/ 6396 h 9909"/>
                <a:gd name="connsiteX131" fmla="*/ 741 w 10000"/>
                <a:gd name="connsiteY131" fmla="*/ 6538 h 9909"/>
                <a:gd name="connsiteX132" fmla="*/ 823 w 10000"/>
                <a:gd name="connsiteY132" fmla="*/ 6688 h 9909"/>
                <a:gd name="connsiteX133" fmla="*/ 904 w 10000"/>
                <a:gd name="connsiteY133" fmla="*/ 6826 h 9909"/>
                <a:gd name="connsiteX134" fmla="*/ 993 w 10000"/>
                <a:gd name="connsiteY134" fmla="*/ 6966 h 9909"/>
                <a:gd name="connsiteX135" fmla="*/ 1090 w 10000"/>
                <a:gd name="connsiteY135" fmla="*/ 7096 h 9909"/>
                <a:gd name="connsiteX136" fmla="*/ 1186 w 10000"/>
                <a:gd name="connsiteY136" fmla="*/ 7239 h 9909"/>
                <a:gd name="connsiteX137" fmla="*/ 1290 w 10000"/>
                <a:gd name="connsiteY137" fmla="*/ 7376 h 9909"/>
                <a:gd name="connsiteX138" fmla="*/ 1386 w 10000"/>
                <a:gd name="connsiteY138" fmla="*/ 7511 h 9909"/>
                <a:gd name="connsiteX139" fmla="*/ 1497 w 10000"/>
                <a:gd name="connsiteY139" fmla="*/ 7644 h 9909"/>
                <a:gd name="connsiteX140" fmla="*/ 1609 w 10000"/>
                <a:gd name="connsiteY140" fmla="*/ 7773 h 9909"/>
                <a:gd name="connsiteX141" fmla="*/ 1727 w 10000"/>
                <a:gd name="connsiteY141" fmla="*/ 7906 h 9909"/>
                <a:gd name="connsiteX142" fmla="*/ 1846 w 10000"/>
                <a:gd name="connsiteY142" fmla="*/ 8033 h 9909"/>
                <a:gd name="connsiteX143" fmla="*/ 1964 w 10000"/>
                <a:gd name="connsiteY143" fmla="*/ 8156 h 9909"/>
                <a:gd name="connsiteX144" fmla="*/ 2090 w 10000"/>
                <a:gd name="connsiteY144" fmla="*/ 8278 h 9909"/>
                <a:gd name="connsiteX145" fmla="*/ 2224 w 10000"/>
                <a:gd name="connsiteY145" fmla="*/ 8403 h 9909"/>
                <a:gd name="connsiteX146" fmla="*/ 2350 w 10000"/>
                <a:gd name="connsiteY146" fmla="*/ 8526 h 9909"/>
                <a:gd name="connsiteX147" fmla="*/ 2491 w 10000"/>
                <a:gd name="connsiteY147" fmla="*/ 8644 h 9909"/>
                <a:gd name="connsiteX148" fmla="*/ 2617 w 10000"/>
                <a:gd name="connsiteY148" fmla="*/ 8763 h 9909"/>
                <a:gd name="connsiteX149" fmla="*/ 2765 w 10000"/>
                <a:gd name="connsiteY149" fmla="*/ 8877 h 9909"/>
                <a:gd name="connsiteX150" fmla="*/ 2906 w 10000"/>
                <a:gd name="connsiteY150" fmla="*/ 8989 h 9909"/>
                <a:gd name="connsiteX151" fmla="*/ 3054 w 10000"/>
                <a:gd name="connsiteY151" fmla="*/ 9102 h 9909"/>
                <a:gd name="connsiteX152" fmla="*/ 3210 w 10000"/>
                <a:gd name="connsiteY152" fmla="*/ 9209 h 9909"/>
                <a:gd name="connsiteX153" fmla="*/ 3358 w 10000"/>
                <a:gd name="connsiteY153" fmla="*/ 9317 h 9909"/>
                <a:gd name="connsiteX154" fmla="*/ 3514 w 10000"/>
                <a:gd name="connsiteY154" fmla="*/ 9424 h 9909"/>
                <a:gd name="connsiteX155" fmla="*/ 3677 w 10000"/>
                <a:gd name="connsiteY155" fmla="*/ 9527 h 9909"/>
                <a:gd name="connsiteX156" fmla="*/ 3840 w 10000"/>
                <a:gd name="connsiteY156" fmla="*/ 9625 h 9909"/>
                <a:gd name="connsiteX157" fmla="*/ 4010 w 10000"/>
                <a:gd name="connsiteY157" fmla="*/ 9726 h 9909"/>
                <a:gd name="connsiteX158" fmla="*/ 4181 w 10000"/>
                <a:gd name="connsiteY158" fmla="*/ 9815 h 9909"/>
                <a:gd name="connsiteX159" fmla="*/ 4351 w 10000"/>
                <a:gd name="connsiteY159" fmla="*/ 9909 h 9909"/>
                <a:gd name="connsiteX160" fmla="*/ 7539 w 10000"/>
                <a:gd name="connsiteY160" fmla="*/ 8670 h 9909"/>
                <a:gd name="connsiteX161" fmla="*/ 10000 w 10000"/>
                <a:gd name="connsiteY161" fmla="*/ 6863 h 9909"/>
                <a:gd name="connsiteX0" fmla="*/ 10000 w 10000"/>
                <a:gd name="connsiteY0" fmla="*/ 6926 h 9905"/>
                <a:gd name="connsiteX1" fmla="*/ 10000 w 10000"/>
                <a:gd name="connsiteY1" fmla="*/ 6926 h 9905"/>
                <a:gd name="connsiteX2" fmla="*/ 9911 w 10000"/>
                <a:gd name="connsiteY2" fmla="*/ 6909 h 9905"/>
                <a:gd name="connsiteX3" fmla="*/ 9815 w 10000"/>
                <a:gd name="connsiteY3" fmla="*/ 6889 h 9905"/>
                <a:gd name="connsiteX4" fmla="*/ 9726 w 10000"/>
                <a:gd name="connsiteY4" fmla="*/ 6870 h 9905"/>
                <a:gd name="connsiteX5" fmla="*/ 9637 w 10000"/>
                <a:gd name="connsiteY5" fmla="*/ 6841 h 9905"/>
                <a:gd name="connsiteX6" fmla="*/ 9548 w 10000"/>
                <a:gd name="connsiteY6" fmla="*/ 6822 h 9905"/>
                <a:gd name="connsiteX7" fmla="*/ 9466 w 10000"/>
                <a:gd name="connsiteY7" fmla="*/ 6796 h 9905"/>
                <a:gd name="connsiteX8" fmla="*/ 9377 w 10000"/>
                <a:gd name="connsiteY8" fmla="*/ 6771 h 9905"/>
                <a:gd name="connsiteX9" fmla="*/ 9288 w 10000"/>
                <a:gd name="connsiteY9" fmla="*/ 6744 h 9905"/>
                <a:gd name="connsiteX10" fmla="*/ 9118 w 10000"/>
                <a:gd name="connsiteY10" fmla="*/ 6687 h 9905"/>
                <a:gd name="connsiteX11" fmla="*/ 8955 w 10000"/>
                <a:gd name="connsiteY11" fmla="*/ 6624 h 9905"/>
                <a:gd name="connsiteX12" fmla="*/ 8792 w 10000"/>
                <a:gd name="connsiteY12" fmla="*/ 6559 h 9905"/>
                <a:gd name="connsiteX13" fmla="*/ 8636 w 10000"/>
                <a:gd name="connsiteY13" fmla="*/ 6485 h 9905"/>
                <a:gd name="connsiteX14" fmla="*/ 8480 w 10000"/>
                <a:gd name="connsiteY14" fmla="*/ 6410 h 9905"/>
                <a:gd name="connsiteX15" fmla="*/ 8340 w 10000"/>
                <a:gd name="connsiteY15" fmla="*/ 6338 h 9905"/>
                <a:gd name="connsiteX16" fmla="*/ 8199 w 10000"/>
                <a:gd name="connsiteY16" fmla="*/ 6252 h 9905"/>
                <a:gd name="connsiteX17" fmla="*/ 8058 w 10000"/>
                <a:gd name="connsiteY17" fmla="*/ 6163 h 9905"/>
                <a:gd name="connsiteX18" fmla="*/ 7924 w 10000"/>
                <a:gd name="connsiteY18" fmla="*/ 6073 h 9905"/>
                <a:gd name="connsiteX19" fmla="*/ 7798 w 10000"/>
                <a:gd name="connsiteY19" fmla="*/ 5975 h 9905"/>
                <a:gd name="connsiteX20" fmla="*/ 7672 w 10000"/>
                <a:gd name="connsiteY20" fmla="*/ 5880 h 9905"/>
                <a:gd name="connsiteX21" fmla="*/ 7554 w 10000"/>
                <a:gd name="connsiteY21" fmla="*/ 5781 h 9905"/>
                <a:gd name="connsiteX22" fmla="*/ 7450 w 10000"/>
                <a:gd name="connsiteY22" fmla="*/ 5673 h 9905"/>
                <a:gd name="connsiteX23" fmla="*/ 7346 w 10000"/>
                <a:gd name="connsiteY23" fmla="*/ 5564 h 9905"/>
                <a:gd name="connsiteX24" fmla="*/ 7250 w 10000"/>
                <a:gd name="connsiteY24" fmla="*/ 5455 h 9905"/>
                <a:gd name="connsiteX25" fmla="*/ 7161 w 10000"/>
                <a:gd name="connsiteY25" fmla="*/ 5343 h 9905"/>
                <a:gd name="connsiteX26" fmla="*/ 7072 w 10000"/>
                <a:gd name="connsiteY26" fmla="*/ 5227 h 9905"/>
                <a:gd name="connsiteX27" fmla="*/ 6990 w 10000"/>
                <a:gd name="connsiteY27" fmla="*/ 5102 h 9905"/>
                <a:gd name="connsiteX28" fmla="*/ 6953 w 10000"/>
                <a:gd name="connsiteY28" fmla="*/ 5048 h 9905"/>
                <a:gd name="connsiteX29" fmla="*/ 6916 w 10000"/>
                <a:gd name="connsiteY29" fmla="*/ 4981 h 9905"/>
                <a:gd name="connsiteX30" fmla="*/ 6887 w 10000"/>
                <a:gd name="connsiteY30" fmla="*/ 4922 h 9905"/>
                <a:gd name="connsiteX31" fmla="*/ 6850 w 10000"/>
                <a:gd name="connsiteY31" fmla="*/ 4858 h 9905"/>
                <a:gd name="connsiteX32" fmla="*/ 6820 w 10000"/>
                <a:gd name="connsiteY32" fmla="*/ 4798 h 9905"/>
                <a:gd name="connsiteX33" fmla="*/ 6790 w 10000"/>
                <a:gd name="connsiteY33" fmla="*/ 4734 h 9905"/>
                <a:gd name="connsiteX34" fmla="*/ 6768 w 10000"/>
                <a:gd name="connsiteY34" fmla="*/ 4667 h 9905"/>
                <a:gd name="connsiteX35" fmla="*/ 6738 w 10000"/>
                <a:gd name="connsiteY35" fmla="*/ 4606 h 9905"/>
                <a:gd name="connsiteX36" fmla="*/ 6723 w 10000"/>
                <a:gd name="connsiteY36" fmla="*/ 4536 h 9905"/>
                <a:gd name="connsiteX37" fmla="*/ 6694 w 10000"/>
                <a:gd name="connsiteY37" fmla="*/ 4475 h 9905"/>
                <a:gd name="connsiteX38" fmla="*/ 6679 w 10000"/>
                <a:gd name="connsiteY38" fmla="*/ 4407 h 9905"/>
                <a:gd name="connsiteX39" fmla="*/ 6664 w 10000"/>
                <a:gd name="connsiteY39" fmla="*/ 4343 h 9905"/>
                <a:gd name="connsiteX40" fmla="*/ 6649 w 10000"/>
                <a:gd name="connsiteY40" fmla="*/ 4273 h 9905"/>
                <a:gd name="connsiteX41" fmla="*/ 6635 w 10000"/>
                <a:gd name="connsiteY41" fmla="*/ 4211 h 9905"/>
                <a:gd name="connsiteX42" fmla="*/ 6620 w 10000"/>
                <a:gd name="connsiteY42" fmla="*/ 4144 h 9905"/>
                <a:gd name="connsiteX43" fmla="*/ 6612 w 10000"/>
                <a:gd name="connsiteY43" fmla="*/ 4078 h 9905"/>
                <a:gd name="connsiteX44" fmla="*/ 6605 w 10000"/>
                <a:gd name="connsiteY44" fmla="*/ 4008 h 9905"/>
                <a:gd name="connsiteX45" fmla="*/ 6597 w 10000"/>
                <a:gd name="connsiteY45" fmla="*/ 3936 h 9905"/>
                <a:gd name="connsiteX46" fmla="*/ 6597 w 10000"/>
                <a:gd name="connsiteY46" fmla="*/ 3869 h 9905"/>
                <a:gd name="connsiteX47" fmla="*/ 6590 w 10000"/>
                <a:gd name="connsiteY47" fmla="*/ 3798 h 9905"/>
                <a:gd name="connsiteX48" fmla="*/ 6597 w 10000"/>
                <a:gd name="connsiteY48" fmla="*/ 3728 h 9905"/>
                <a:gd name="connsiteX49" fmla="*/ 6605 w 10000"/>
                <a:gd name="connsiteY49" fmla="*/ 3654 h 9905"/>
                <a:gd name="connsiteX50" fmla="*/ 6605 w 10000"/>
                <a:gd name="connsiteY50" fmla="*/ 3581 h 9905"/>
                <a:gd name="connsiteX51" fmla="*/ 6612 w 10000"/>
                <a:gd name="connsiteY51" fmla="*/ 3506 h 9905"/>
                <a:gd name="connsiteX52" fmla="*/ 6620 w 10000"/>
                <a:gd name="connsiteY52" fmla="*/ 3433 h 9905"/>
                <a:gd name="connsiteX53" fmla="*/ 6635 w 10000"/>
                <a:gd name="connsiteY53" fmla="*/ 3370 h 9905"/>
                <a:gd name="connsiteX54" fmla="*/ 6649 w 10000"/>
                <a:gd name="connsiteY54" fmla="*/ 3293 h 9905"/>
                <a:gd name="connsiteX55" fmla="*/ 6664 w 10000"/>
                <a:gd name="connsiteY55" fmla="*/ 3226 h 9905"/>
                <a:gd name="connsiteX56" fmla="*/ 6686 w 10000"/>
                <a:gd name="connsiteY56" fmla="*/ 3154 h 9905"/>
                <a:gd name="connsiteX57" fmla="*/ 6709 w 10000"/>
                <a:gd name="connsiteY57" fmla="*/ 3087 h 9905"/>
                <a:gd name="connsiteX58" fmla="*/ 6731 w 10000"/>
                <a:gd name="connsiteY58" fmla="*/ 3019 h 9905"/>
                <a:gd name="connsiteX59" fmla="*/ 6753 w 10000"/>
                <a:gd name="connsiteY59" fmla="*/ 2947 h 9905"/>
                <a:gd name="connsiteX60" fmla="*/ 6783 w 10000"/>
                <a:gd name="connsiteY60" fmla="*/ 2886 h 9905"/>
                <a:gd name="connsiteX61" fmla="*/ 6812 w 10000"/>
                <a:gd name="connsiteY61" fmla="*/ 2818 h 9905"/>
                <a:gd name="connsiteX62" fmla="*/ 6842 w 10000"/>
                <a:gd name="connsiteY62" fmla="*/ 2749 h 9905"/>
                <a:gd name="connsiteX63" fmla="*/ 6879 w 10000"/>
                <a:gd name="connsiteY63" fmla="*/ 2684 h 9905"/>
                <a:gd name="connsiteX64" fmla="*/ 6909 w 10000"/>
                <a:gd name="connsiteY64" fmla="*/ 2622 h 9905"/>
                <a:gd name="connsiteX65" fmla="*/ 6946 w 10000"/>
                <a:gd name="connsiteY65" fmla="*/ 2550 h 9905"/>
                <a:gd name="connsiteX66" fmla="*/ 6990 w 10000"/>
                <a:gd name="connsiteY66" fmla="*/ 2493 h 9905"/>
                <a:gd name="connsiteX67" fmla="*/ 7027 w 10000"/>
                <a:gd name="connsiteY67" fmla="*/ 2428 h 9905"/>
                <a:gd name="connsiteX68" fmla="*/ 7072 w 10000"/>
                <a:gd name="connsiteY68" fmla="*/ 2370 h 9905"/>
                <a:gd name="connsiteX69" fmla="*/ 7109 w 10000"/>
                <a:gd name="connsiteY69" fmla="*/ 2303 h 9905"/>
                <a:gd name="connsiteX70" fmla="*/ 7161 w 10000"/>
                <a:gd name="connsiteY70" fmla="*/ 2249 h 9905"/>
                <a:gd name="connsiteX71" fmla="*/ 7213 w 10000"/>
                <a:gd name="connsiteY71" fmla="*/ 2185 h 9905"/>
                <a:gd name="connsiteX72" fmla="*/ 7257 w 10000"/>
                <a:gd name="connsiteY72" fmla="*/ 2126 h 9905"/>
                <a:gd name="connsiteX73" fmla="*/ 7309 w 10000"/>
                <a:gd name="connsiteY73" fmla="*/ 2068 h 9905"/>
                <a:gd name="connsiteX74" fmla="*/ 7361 w 10000"/>
                <a:gd name="connsiteY74" fmla="*/ 2006 h 9905"/>
                <a:gd name="connsiteX75" fmla="*/ 7413 w 10000"/>
                <a:gd name="connsiteY75" fmla="*/ 1953 h 9905"/>
                <a:gd name="connsiteX76" fmla="*/ 7472 w 10000"/>
                <a:gd name="connsiteY76" fmla="*/ 1896 h 9905"/>
                <a:gd name="connsiteX77" fmla="*/ 7524 w 10000"/>
                <a:gd name="connsiteY77" fmla="*/ 1844 h 9905"/>
                <a:gd name="connsiteX78" fmla="*/ 7583 w 10000"/>
                <a:gd name="connsiteY78" fmla="*/ 1789 h 9905"/>
                <a:gd name="connsiteX79" fmla="*/ 7610 w 10000"/>
                <a:gd name="connsiteY79" fmla="*/ 1756 h 9905"/>
                <a:gd name="connsiteX80" fmla="*/ 5390 w 10000"/>
                <a:gd name="connsiteY80" fmla="*/ 6 h 9905"/>
                <a:gd name="connsiteX81" fmla="*/ 1401 w 10000"/>
                <a:gd name="connsiteY81" fmla="*/ 0 h 9905"/>
                <a:gd name="connsiteX82" fmla="*/ 1305 w 10000"/>
                <a:gd name="connsiteY82" fmla="*/ 132 h 9905"/>
                <a:gd name="connsiteX83" fmla="*/ 1223 w 10000"/>
                <a:gd name="connsiteY83" fmla="*/ 233 h 9905"/>
                <a:gd name="connsiteX84" fmla="*/ 1149 w 10000"/>
                <a:gd name="connsiteY84" fmla="*/ 340 h 9905"/>
                <a:gd name="connsiteX85" fmla="*/ 1067 w 10000"/>
                <a:gd name="connsiteY85" fmla="*/ 450 h 9905"/>
                <a:gd name="connsiteX86" fmla="*/ 1001 w 10000"/>
                <a:gd name="connsiteY86" fmla="*/ 559 h 9905"/>
                <a:gd name="connsiteX87" fmla="*/ 927 w 10000"/>
                <a:gd name="connsiteY87" fmla="*/ 668 h 9905"/>
                <a:gd name="connsiteX88" fmla="*/ 860 w 10000"/>
                <a:gd name="connsiteY88" fmla="*/ 782 h 9905"/>
                <a:gd name="connsiteX89" fmla="*/ 793 w 10000"/>
                <a:gd name="connsiteY89" fmla="*/ 897 h 9905"/>
                <a:gd name="connsiteX90" fmla="*/ 734 w 10000"/>
                <a:gd name="connsiteY90" fmla="*/ 1003 h 9905"/>
                <a:gd name="connsiteX91" fmla="*/ 675 w 10000"/>
                <a:gd name="connsiteY91" fmla="*/ 1121 h 9905"/>
                <a:gd name="connsiteX92" fmla="*/ 615 w 10000"/>
                <a:gd name="connsiteY92" fmla="*/ 1232 h 9905"/>
                <a:gd name="connsiteX93" fmla="*/ 556 w 10000"/>
                <a:gd name="connsiteY93" fmla="*/ 1353 h 9905"/>
                <a:gd name="connsiteX94" fmla="*/ 504 w 10000"/>
                <a:gd name="connsiteY94" fmla="*/ 1461 h 9905"/>
                <a:gd name="connsiteX95" fmla="*/ 452 w 10000"/>
                <a:gd name="connsiteY95" fmla="*/ 1577 h 9905"/>
                <a:gd name="connsiteX96" fmla="*/ 408 w 10000"/>
                <a:gd name="connsiteY96" fmla="*/ 1694 h 9905"/>
                <a:gd name="connsiteX97" fmla="*/ 363 w 10000"/>
                <a:gd name="connsiteY97" fmla="*/ 1812 h 9905"/>
                <a:gd name="connsiteX98" fmla="*/ 319 w 10000"/>
                <a:gd name="connsiteY98" fmla="*/ 1933 h 9905"/>
                <a:gd name="connsiteX99" fmla="*/ 282 w 10000"/>
                <a:gd name="connsiteY99" fmla="*/ 2052 h 9905"/>
                <a:gd name="connsiteX100" fmla="*/ 237 w 10000"/>
                <a:gd name="connsiteY100" fmla="*/ 2175 h 9905"/>
                <a:gd name="connsiteX101" fmla="*/ 208 w 10000"/>
                <a:gd name="connsiteY101" fmla="*/ 2294 h 9905"/>
                <a:gd name="connsiteX102" fmla="*/ 170 w 10000"/>
                <a:gd name="connsiteY102" fmla="*/ 2417 h 9905"/>
                <a:gd name="connsiteX103" fmla="*/ 148 w 10000"/>
                <a:gd name="connsiteY103" fmla="*/ 2541 h 9905"/>
                <a:gd name="connsiteX104" fmla="*/ 119 w 10000"/>
                <a:gd name="connsiteY104" fmla="*/ 2662 h 9905"/>
                <a:gd name="connsiteX105" fmla="*/ 96 w 10000"/>
                <a:gd name="connsiteY105" fmla="*/ 2783 h 9905"/>
                <a:gd name="connsiteX106" fmla="*/ 74 w 10000"/>
                <a:gd name="connsiteY106" fmla="*/ 2911 h 9905"/>
                <a:gd name="connsiteX107" fmla="*/ 52 w 10000"/>
                <a:gd name="connsiteY107" fmla="*/ 3041 h 9905"/>
                <a:gd name="connsiteX108" fmla="*/ 37 w 10000"/>
                <a:gd name="connsiteY108" fmla="*/ 3164 h 9905"/>
                <a:gd name="connsiteX109" fmla="*/ 22 w 10000"/>
                <a:gd name="connsiteY109" fmla="*/ 3288 h 9905"/>
                <a:gd name="connsiteX110" fmla="*/ 15 w 10000"/>
                <a:gd name="connsiteY110" fmla="*/ 3413 h 9905"/>
                <a:gd name="connsiteX111" fmla="*/ 7 w 10000"/>
                <a:gd name="connsiteY111" fmla="*/ 3541 h 9905"/>
                <a:gd name="connsiteX112" fmla="*/ 0 w 10000"/>
                <a:gd name="connsiteY112" fmla="*/ 3667 h 9905"/>
                <a:gd name="connsiteX113" fmla="*/ 0 w 10000"/>
                <a:gd name="connsiteY113" fmla="*/ 3798 h 9905"/>
                <a:gd name="connsiteX114" fmla="*/ 7 w 10000"/>
                <a:gd name="connsiteY114" fmla="*/ 3963 h 9905"/>
                <a:gd name="connsiteX115" fmla="*/ 7 w 10000"/>
                <a:gd name="connsiteY115" fmla="*/ 4128 h 9905"/>
                <a:gd name="connsiteX116" fmla="*/ 22 w 10000"/>
                <a:gd name="connsiteY116" fmla="*/ 4283 h 9905"/>
                <a:gd name="connsiteX117" fmla="*/ 37 w 10000"/>
                <a:gd name="connsiteY117" fmla="*/ 4445 h 9905"/>
                <a:gd name="connsiteX118" fmla="*/ 59 w 10000"/>
                <a:gd name="connsiteY118" fmla="*/ 4606 h 9905"/>
                <a:gd name="connsiteX119" fmla="*/ 89 w 10000"/>
                <a:gd name="connsiteY119" fmla="*/ 4766 h 9905"/>
                <a:gd name="connsiteX120" fmla="*/ 119 w 10000"/>
                <a:gd name="connsiteY120" fmla="*/ 4926 h 9905"/>
                <a:gd name="connsiteX121" fmla="*/ 148 w 10000"/>
                <a:gd name="connsiteY121" fmla="*/ 5086 h 9905"/>
                <a:gd name="connsiteX122" fmla="*/ 193 w 10000"/>
                <a:gd name="connsiteY122" fmla="*/ 5243 h 9905"/>
                <a:gd name="connsiteX123" fmla="*/ 237 w 10000"/>
                <a:gd name="connsiteY123" fmla="*/ 5397 h 9905"/>
                <a:gd name="connsiteX124" fmla="*/ 282 w 10000"/>
                <a:gd name="connsiteY124" fmla="*/ 5555 h 9905"/>
                <a:gd name="connsiteX125" fmla="*/ 334 w 10000"/>
                <a:gd name="connsiteY125" fmla="*/ 5707 h 9905"/>
                <a:gd name="connsiteX126" fmla="*/ 393 w 10000"/>
                <a:gd name="connsiteY126" fmla="*/ 5857 h 9905"/>
                <a:gd name="connsiteX127" fmla="*/ 452 w 10000"/>
                <a:gd name="connsiteY127" fmla="*/ 6009 h 9905"/>
                <a:gd name="connsiteX128" fmla="*/ 519 w 10000"/>
                <a:gd name="connsiteY128" fmla="*/ 6159 h 9905"/>
                <a:gd name="connsiteX129" fmla="*/ 586 w 10000"/>
                <a:gd name="connsiteY129" fmla="*/ 6311 h 9905"/>
                <a:gd name="connsiteX130" fmla="*/ 660 w 10000"/>
                <a:gd name="connsiteY130" fmla="*/ 6455 h 9905"/>
                <a:gd name="connsiteX131" fmla="*/ 741 w 10000"/>
                <a:gd name="connsiteY131" fmla="*/ 6598 h 9905"/>
                <a:gd name="connsiteX132" fmla="*/ 823 w 10000"/>
                <a:gd name="connsiteY132" fmla="*/ 6749 h 9905"/>
                <a:gd name="connsiteX133" fmla="*/ 904 w 10000"/>
                <a:gd name="connsiteY133" fmla="*/ 6889 h 9905"/>
                <a:gd name="connsiteX134" fmla="*/ 993 w 10000"/>
                <a:gd name="connsiteY134" fmla="*/ 7030 h 9905"/>
                <a:gd name="connsiteX135" fmla="*/ 1090 w 10000"/>
                <a:gd name="connsiteY135" fmla="*/ 7161 h 9905"/>
                <a:gd name="connsiteX136" fmla="*/ 1186 w 10000"/>
                <a:gd name="connsiteY136" fmla="*/ 7305 h 9905"/>
                <a:gd name="connsiteX137" fmla="*/ 1290 w 10000"/>
                <a:gd name="connsiteY137" fmla="*/ 7444 h 9905"/>
                <a:gd name="connsiteX138" fmla="*/ 1386 w 10000"/>
                <a:gd name="connsiteY138" fmla="*/ 7580 h 9905"/>
                <a:gd name="connsiteX139" fmla="*/ 1497 w 10000"/>
                <a:gd name="connsiteY139" fmla="*/ 7714 h 9905"/>
                <a:gd name="connsiteX140" fmla="*/ 1609 w 10000"/>
                <a:gd name="connsiteY140" fmla="*/ 7844 h 9905"/>
                <a:gd name="connsiteX141" fmla="*/ 1727 w 10000"/>
                <a:gd name="connsiteY141" fmla="*/ 7979 h 9905"/>
                <a:gd name="connsiteX142" fmla="*/ 1846 w 10000"/>
                <a:gd name="connsiteY142" fmla="*/ 8107 h 9905"/>
                <a:gd name="connsiteX143" fmla="*/ 1964 w 10000"/>
                <a:gd name="connsiteY143" fmla="*/ 8231 h 9905"/>
                <a:gd name="connsiteX144" fmla="*/ 2090 w 10000"/>
                <a:gd name="connsiteY144" fmla="*/ 8354 h 9905"/>
                <a:gd name="connsiteX145" fmla="*/ 2224 w 10000"/>
                <a:gd name="connsiteY145" fmla="*/ 8480 h 9905"/>
                <a:gd name="connsiteX146" fmla="*/ 2350 w 10000"/>
                <a:gd name="connsiteY146" fmla="*/ 8604 h 9905"/>
                <a:gd name="connsiteX147" fmla="*/ 2491 w 10000"/>
                <a:gd name="connsiteY147" fmla="*/ 8723 h 9905"/>
                <a:gd name="connsiteX148" fmla="*/ 2617 w 10000"/>
                <a:gd name="connsiteY148" fmla="*/ 8843 h 9905"/>
                <a:gd name="connsiteX149" fmla="*/ 2765 w 10000"/>
                <a:gd name="connsiteY149" fmla="*/ 8959 h 9905"/>
                <a:gd name="connsiteX150" fmla="*/ 2906 w 10000"/>
                <a:gd name="connsiteY150" fmla="*/ 9072 h 9905"/>
                <a:gd name="connsiteX151" fmla="*/ 3054 w 10000"/>
                <a:gd name="connsiteY151" fmla="*/ 9186 h 9905"/>
                <a:gd name="connsiteX152" fmla="*/ 3210 w 10000"/>
                <a:gd name="connsiteY152" fmla="*/ 9294 h 9905"/>
                <a:gd name="connsiteX153" fmla="*/ 3358 w 10000"/>
                <a:gd name="connsiteY153" fmla="*/ 9403 h 9905"/>
                <a:gd name="connsiteX154" fmla="*/ 3514 w 10000"/>
                <a:gd name="connsiteY154" fmla="*/ 9511 h 9905"/>
                <a:gd name="connsiteX155" fmla="*/ 3677 w 10000"/>
                <a:gd name="connsiteY155" fmla="*/ 9614 h 9905"/>
                <a:gd name="connsiteX156" fmla="*/ 3840 w 10000"/>
                <a:gd name="connsiteY156" fmla="*/ 9713 h 9905"/>
                <a:gd name="connsiteX157" fmla="*/ 4010 w 10000"/>
                <a:gd name="connsiteY157" fmla="*/ 9815 h 9905"/>
                <a:gd name="connsiteX158" fmla="*/ 4181 w 10000"/>
                <a:gd name="connsiteY158" fmla="*/ 9905 h 9905"/>
                <a:gd name="connsiteX159" fmla="*/ 7539 w 10000"/>
                <a:gd name="connsiteY159" fmla="*/ 8750 h 9905"/>
                <a:gd name="connsiteX160" fmla="*/ 10000 w 10000"/>
                <a:gd name="connsiteY160" fmla="*/ 6926 h 9905"/>
                <a:gd name="connsiteX0" fmla="*/ 10000 w 10000"/>
                <a:gd name="connsiteY0" fmla="*/ 6992 h 9909"/>
                <a:gd name="connsiteX1" fmla="*/ 10000 w 10000"/>
                <a:gd name="connsiteY1" fmla="*/ 6992 h 9909"/>
                <a:gd name="connsiteX2" fmla="*/ 9911 w 10000"/>
                <a:gd name="connsiteY2" fmla="*/ 6975 h 9909"/>
                <a:gd name="connsiteX3" fmla="*/ 9815 w 10000"/>
                <a:gd name="connsiteY3" fmla="*/ 6955 h 9909"/>
                <a:gd name="connsiteX4" fmla="*/ 9726 w 10000"/>
                <a:gd name="connsiteY4" fmla="*/ 6936 h 9909"/>
                <a:gd name="connsiteX5" fmla="*/ 9637 w 10000"/>
                <a:gd name="connsiteY5" fmla="*/ 6907 h 9909"/>
                <a:gd name="connsiteX6" fmla="*/ 9548 w 10000"/>
                <a:gd name="connsiteY6" fmla="*/ 6887 h 9909"/>
                <a:gd name="connsiteX7" fmla="*/ 9466 w 10000"/>
                <a:gd name="connsiteY7" fmla="*/ 6861 h 9909"/>
                <a:gd name="connsiteX8" fmla="*/ 9377 w 10000"/>
                <a:gd name="connsiteY8" fmla="*/ 6836 h 9909"/>
                <a:gd name="connsiteX9" fmla="*/ 9288 w 10000"/>
                <a:gd name="connsiteY9" fmla="*/ 6809 h 9909"/>
                <a:gd name="connsiteX10" fmla="*/ 9118 w 10000"/>
                <a:gd name="connsiteY10" fmla="*/ 6751 h 9909"/>
                <a:gd name="connsiteX11" fmla="*/ 8955 w 10000"/>
                <a:gd name="connsiteY11" fmla="*/ 6688 h 9909"/>
                <a:gd name="connsiteX12" fmla="*/ 8792 w 10000"/>
                <a:gd name="connsiteY12" fmla="*/ 6622 h 9909"/>
                <a:gd name="connsiteX13" fmla="*/ 8636 w 10000"/>
                <a:gd name="connsiteY13" fmla="*/ 6547 h 9909"/>
                <a:gd name="connsiteX14" fmla="*/ 8480 w 10000"/>
                <a:gd name="connsiteY14" fmla="*/ 6471 h 9909"/>
                <a:gd name="connsiteX15" fmla="*/ 8340 w 10000"/>
                <a:gd name="connsiteY15" fmla="*/ 6399 h 9909"/>
                <a:gd name="connsiteX16" fmla="*/ 8199 w 10000"/>
                <a:gd name="connsiteY16" fmla="*/ 6312 h 9909"/>
                <a:gd name="connsiteX17" fmla="*/ 8058 w 10000"/>
                <a:gd name="connsiteY17" fmla="*/ 6222 h 9909"/>
                <a:gd name="connsiteX18" fmla="*/ 7924 w 10000"/>
                <a:gd name="connsiteY18" fmla="*/ 6131 h 9909"/>
                <a:gd name="connsiteX19" fmla="*/ 7798 w 10000"/>
                <a:gd name="connsiteY19" fmla="*/ 6032 h 9909"/>
                <a:gd name="connsiteX20" fmla="*/ 7672 w 10000"/>
                <a:gd name="connsiteY20" fmla="*/ 5936 h 9909"/>
                <a:gd name="connsiteX21" fmla="*/ 7554 w 10000"/>
                <a:gd name="connsiteY21" fmla="*/ 5836 h 9909"/>
                <a:gd name="connsiteX22" fmla="*/ 7450 w 10000"/>
                <a:gd name="connsiteY22" fmla="*/ 5727 h 9909"/>
                <a:gd name="connsiteX23" fmla="*/ 7346 w 10000"/>
                <a:gd name="connsiteY23" fmla="*/ 5617 h 9909"/>
                <a:gd name="connsiteX24" fmla="*/ 7250 w 10000"/>
                <a:gd name="connsiteY24" fmla="*/ 5507 h 9909"/>
                <a:gd name="connsiteX25" fmla="*/ 7161 w 10000"/>
                <a:gd name="connsiteY25" fmla="*/ 5394 h 9909"/>
                <a:gd name="connsiteX26" fmla="*/ 7072 w 10000"/>
                <a:gd name="connsiteY26" fmla="*/ 5277 h 9909"/>
                <a:gd name="connsiteX27" fmla="*/ 6990 w 10000"/>
                <a:gd name="connsiteY27" fmla="*/ 5151 h 9909"/>
                <a:gd name="connsiteX28" fmla="*/ 6953 w 10000"/>
                <a:gd name="connsiteY28" fmla="*/ 5096 h 9909"/>
                <a:gd name="connsiteX29" fmla="*/ 6916 w 10000"/>
                <a:gd name="connsiteY29" fmla="*/ 5029 h 9909"/>
                <a:gd name="connsiteX30" fmla="*/ 6887 w 10000"/>
                <a:gd name="connsiteY30" fmla="*/ 4969 h 9909"/>
                <a:gd name="connsiteX31" fmla="*/ 6850 w 10000"/>
                <a:gd name="connsiteY31" fmla="*/ 4905 h 9909"/>
                <a:gd name="connsiteX32" fmla="*/ 6820 w 10000"/>
                <a:gd name="connsiteY32" fmla="*/ 4844 h 9909"/>
                <a:gd name="connsiteX33" fmla="*/ 6790 w 10000"/>
                <a:gd name="connsiteY33" fmla="*/ 4779 h 9909"/>
                <a:gd name="connsiteX34" fmla="*/ 6768 w 10000"/>
                <a:gd name="connsiteY34" fmla="*/ 4712 h 9909"/>
                <a:gd name="connsiteX35" fmla="*/ 6738 w 10000"/>
                <a:gd name="connsiteY35" fmla="*/ 4650 h 9909"/>
                <a:gd name="connsiteX36" fmla="*/ 6723 w 10000"/>
                <a:gd name="connsiteY36" fmla="*/ 4580 h 9909"/>
                <a:gd name="connsiteX37" fmla="*/ 6694 w 10000"/>
                <a:gd name="connsiteY37" fmla="*/ 4518 h 9909"/>
                <a:gd name="connsiteX38" fmla="*/ 6679 w 10000"/>
                <a:gd name="connsiteY38" fmla="*/ 4449 h 9909"/>
                <a:gd name="connsiteX39" fmla="*/ 6664 w 10000"/>
                <a:gd name="connsiteY39" fmla="*/ 4385 h 9909"/>
                <a:gd name="connsiteX40" fmla="*/ 6649 w 10000"/>
                <a:gd name="connsiteY40" fmla="*/ 4314 h 9909"/>
                <a:gd name="connsiteX41" fmla="*/ 6635 w 10000"/>
                <a:gd name="connsiteY41" fmla="*/ 4251 h 9909"/>
                <a:gd name="connsiteX42" fmla="*/ 6620 w 10000"/>
                <a:gd name="connsiteY42" fmla="*/ 4184 h 9909"/>
                <a:gd name="connsiteX43" fmla="*/ 6612 w 10000"/>
                <a:gd name="connsiteY43" fmla="*/ 4117 h 9909"/>
                <a:gd name="connsiteX44" fmla="*/ 6605 w 10000"/>
                <a:gd name="connsiteY44" fmla="*/ 4046 h 9909"/>
                <a:gd name="connsiteX45" fmla="*/ 6597 w 10000"/>
                <a:gd name="connsiteY45" fmla="*/ 3974 h 9909"/>
                <a:gd name="connsiteX46" fmla="*/ 6597 w 10000"/>
                <a:gd name="connsiteY46" fmla="*/ 3906 h 9909"/>
                <a:gd name="connsiteX47" fmla="*/ 6590 w 10000"/>
                <a:gd name="connsiteY47" fmla="*/ 3834 h 9909"/>
                <a:gd name="connsiteX48" fmla="*/ 6597 w 10000"/>
                <a:gd name="connsiteY48" fmla="*/ 3764 h 9909"/>
                <a:gd name="connsiteX49" fmla="*/ 6605 w 10000"/>
                <a:gd name="connsiteY49" fmla="*/ 3689 h 9909"/>
                <a:gd name="connsiteX50" fmla="*/ 6605 w 10000"/>
                <a:gd name="connsiteY50" fmla="*/ 3615 h 9909"/>
                <a:gd name="connsiteX51" fmla="*/ 6612 w 10000"/>
                <a:gd name="connsiteY51" fmla="*/ 3540 h 9909"/>
                <a:gd name="connsiteX52" fmla="*/ 6620 w 10000"/>
                <a:gd name="connsiteY52" fmla="*/ 3466 h 9909"/>
                <a:gd name="connsiteX53" fmla="*/ 6635 w 10000"/>
                <a:gd name="connsiteY53" fmla="*/ 3402 h 9909"/>
                <a:gd name="connsiteX54" fmla="*/ 6649 w 10000"/>
                <a:gd name="connsiteY54" fmla="*/ 3325 h 9909"/>
                <a:gd name="connsiteX55" fmla="*/ 6664 w 10000"/>
                <a:gd name="connsiteY55" fmla="*/ 3257 h 9909"/>
                <a:gd name="connsiteX56" fmla="*/ 6686 w 10000"/>
                <a:gd name="connsiteY56" fmla="*/ 3184 h 9909"/>
                <a:gd name="connsiteX57" fmla="*/ 6709 w 10000"/>
                <a:gd name="connsiteY57" fmla="*/ 3117 h 9909"/>
                <a:gd name="connsiteX58" fmla="*/ 6731 w 10000"/>
                <a:gd name="connsiteY58" fmla="*/ 3048 h 9909"/>
                <a:gd name="connsiteX59" fmla="*/ 6753 w 10000"/>
                <a:gd name="connsiteY59" fmla="*/ 2975 h 9909"/>
                <a:gd name="connsiteX60" fmla="*/ 6783 w 10000"/>
                <a:gd name="connsiteY60" fmla="*/ 2914 h 9909"/>
                <a:gd name="connsiteX61" fmla="*/ 6812 w 10000"/>
                <a:gd name="connsiteY61" fmla="*/ 2845 h 9909"/>
                <a:gd name="connsiteX62" fmla="*/ 6842 w 10000"/>
                <a:gd name="connsiteY62" fmla="*/ 2775 h 9909"/>
                <a:gd name="connsiteX63" fmla="*/ 6879 w 10000"/>
                <a:gd name="connsiteY63" fmla="*/ 2710 h 9909"/>
                <a:gd name="connsiteX64" fmla="*/ 6909 w 10000"/>
                <a:gd name="connsiteY64" fmla="*/ 2647 h 9909"/>
                <a:gd name="connsiteX65" fmla="*/ 6946 w 10000"/>
                <a:gd name="connsiteY65" fmla="*/ 2574 h 9909"/>
                <a:gd name="connsiteX66" fmla="*/ 6990 w 10000"/>
                <a:gd name="connsiteY66" fmla="*/ 2517 h 9909"/>
                <a:gd name="connsiteX67" fmla="*/ 7027 w 10000"/>
                <a:gd name="connsiteY67" fmla="*/ 2451 h 9909"/>
                <a:gd name="connsiteX68" fmla="*/ 7072 w 10000"/>
                <a:gd name="connsiteY68" fmla="*/ 2393 h 9909"/>
                <a:gd name="connsiteX69" fmla="*/ 7109 w 10000"/>
                <a:gd name="connsiteY69" fmla="*/ 2325 h 9909"/>
                <a:gd name="connsiteX70" fmla="*/ 7161 w 10000"/>
                <a:gd name="connsiteY70" fmla="*/ 2271 h 9909"/>
                <a:gd name="connsiteX71" fmla="*/ 7213 w 10000"/>
                <a:gd name="connsiteY71" fmla="*/ 2206 h 9909"/>
                <a:gd name="connsiteX72" fmla="*/ 7257 w 10000"/>
                <a:gd name="connsiteY72" fmla="*/ 2146 h 9909"/>
                <a:gd name="connsiteX73" fmla="*/ 7309 w 10000"/>
                <a:gd name="connsiteY73" fmla="*/ 2088 h 9909"/>
                <a:gd name="connsiteX74" fmla="*/ 7361 w 10000"/>
                <a:gd name="connsiteY74" fmla="*/ 2025 h 9909"/>
                <a:gd name="connsiteX75" fmla="*/ 7413 w 10000"/>
                <a:gd name="connsiteY75" fmla="*/ 1972 h 9909"/>
                <a:gd name="connsiteX76" fmla="*/ 7472 w 10000"/>
                <a:gd name="connsiteY76" fmla="*/ 1914 h 9909"/>
                <a:gd name="connsiteX77" fmla="*/ 7524 w 10000"/>
                <a:gd name="connsiteY77" fmla="*/ 1862 h 9909"/>
                <a:gd name="connsiteX78" fmla="*/ 7583 w 10000"/>
                <a:gd name="connsiteY78" fmla="*/ 1806 h 9909"/>
                <a:gd name="connsiteX79" fmla="*/ 7610 w 10000"/>
                <a:gd name="connsiteY79" fmla="*/ 1773 h 9909"/>
                <a:gd name="connsiteX80" fmla="*/ 5390 w 10000"/>
                <a:gd name="connsiteY80" fmla="*/ 6 h 9909"/>
                <a:gd name="connsiteX81" fmla="*/ 1401 w 10000"/>
                <a:gd name="connsiteY81" fmla="*/ 0 h 9909"/>
                <a:gd name="connsiteX82" fmla="*/ 1305 w 10000"/>
                <a:gd name="connsiteY82" fmla="*/ 133 h 9909"/>
                <a:gd name="connsiteX83" fmla="*/ 1223 w 10000"/>
                <a:gd name="connsiteY83" fmla="*/ 235 h 9909"/>
                <a:gd name="connsiteX84" fmla="*/ 1149 w 10000"/>
                <a:gd name="connsiteY84" fmla="*/ 343 h 9909"/>
                <a:gd name="connsiteX85" fmla="*/ 1067 w 10000"/>
                <a:gd name="connsiteY85" fmla="*/ 454 h 9909"/>
                <a:gd name="connsiteX86" fmla="*/ 1001 w 10000"/>
                <a:gd name="connsiteY86" fmla="*/ 564 h 9909"/>
                <a:gd name="connsiteX87" fmla="*/ 927 w 10000"/>
                <a:gd name="connsiteY87" fmla="*/ 674 h 9909"/>
                <a:gd name="connsiteX88" fmla="*/ 860 w 10000"/>
                <a:gd name="connsiteY88" fmla="*/ 790 h 9909"/>
                <a:gd name="connsiteX89" fmla="*/ 793 w 10000"/>
                <a:gd name="connsiteY89" fmla="*/ 906 h 9909"/>
                <a:gd name="connsiteX90" fmla="*/ 734 w 10000"/>
                <a:gd name="connsiteY90" fmla="*/ 1013 h 9909"/>
                <a:gd name="connsiteX91" fmla="*/ 675 w 10000"/>
                <a:gd name="connsiteY91" fmla="*/ 1132 h 9909"/>
                <a:gd name="connsiteX92" fmla="*/ 615 w 10000"/>
                <a:gd name="connsiteY92" fmla="*/ 1244 h 9909"/>
                <a:gd name="connsiteX93" fmla="*/ 556 w 10000"/>
                <a:gd name="connsiteY93" fmla="*/ 1366 h 9909"/>
                <a:gd name="connsiteX94" fmla="*/ 504 w 10000"/>
                <a:gd name="connsiteY94" fmla="*/ 1475 h 9909"/>
                <a:gd name="connsiteX95" fmla="*/ 452 w 10000"/>
                <a:gd name="connsiteY95" fmla="*/ 1592 h 9909"/>
                <a:gd name="connsiteX96" fmla="*/ 408 w 10000"/>
                <a:gd name="connsiteY96" fmla="*/ 1710 h 9909"/>
                <a:gd name="connsiteX97" fmla="*/ 363 w 10000"/>
                <a:gd name="connsiteY97" fmla="*/ 1829 h 9909"/>
                <a:gd name="connsiteX98" fmla="*/ 319 w 10000"/>
                <a:gd name="connsiteY98" fmla="*/ 1952 h 9909"/>
                <a:gd name="connsiteX99" fmla="*/ 282 w 10000"/>
                <a:gd name="connsiteY99" fmla="*/ 2072 h 9909"/>
                <a:gd name="connsiteX100" fmla="*/ 237 w 10000"/>
                <a:gd name="connsiteY100" fmla="*/ 2196 h 9909"/>
                <a:gd name="connsiteX101" fmla="*/ 208 w 10000"/>
                <a:gd name="connsiteY101" fmla="*/ 2316 h 9909"/>
                <a:gd name="connsiteX102" fmla="*/ 170 w 10000"/>
                <a:gd name="connsiteY102" fmla="*/ 2440 h 9909"/>
                <a:gd name="connsiteX103" fmla="*/ 148 w 10000"/>
                <a:gd name="connsiteY103" fmla="*/ 2565 h 9909"/>
                <a:gd name="connsiteX104" fmla="*/ 119 w 10000"/>
                <a:gd name="connsiteY104" fmla="*/ 2688 h 9909"/>
                <a:gd name="connsiteX105" fmla="*/ 96 w 10000"/>
                <a:gd name="connsiteY105" fmla="*/ 2810 h 9909"/>
                <a:gd name="connsiteX106" fmla="*/ 74 w 10000"/>
                <a:gd name="connsiteY106" fmla="*/ 2939 h 9909"/>
                <a:gd name="connsiteX107" fmla="*/ 52 w 10000"/>
                <a:gd name="connsiteY107" fmla="*/ 3070 h 9909"/>
                <a:gd name="connsiteX108" fmla="*/ 37 w 10000"/>
                <a:gd name="connsiteY108" fmla="*/ 3194 h 9909"/>
                <a:gd name="connsiteX109" fmla="*/ 22 w 10000"/>
                <a:gd name="connsiteY109" fmla="*/ 3320 h 9909"/>
                <a:gd name="connsiteX110" fmla="*/ 15 w 10000"/>
                <a:gd name="connsiteY110" fmla="*/ 3446 h 9909"/>
                <a:gd name="connsiteX111" fmla="*/ 7 w 10000"/>
                <a:gd name="connsiteY111" fmla="*/ 3575 h 9909"/>
                <a:gd name="connsiteX112" fmla="*/ 0 w 10000"/>
                <a:gd name="connsiteY112" fmla="*/ 3702 h 9909"/>
                <a:gd name="connsiteX113" fmla="*/ 0 w 10000"/>
                <a:gd name="connsiteY113" fmla="*/ 3834 h 9909"/>
                <a:gd name="connsiteX114" fmla="*/ 7 w 10000"/>
                <a:gd name="connsiteY114" fmla="*/ 4001 h 9909"/>
                <a:gd name="connsiteX115" fmla="*/ 7 w 10000"/>
                <a:gd name="connsiteY115" fmla="*/ 4168 h 9909"/>
                <a:gd name="connsiteX116" fmla="*/ 22 w 10000"/>
                <a:gd name="connsiteY116" fmla="*/ 4324 h 9909"/>
                <a:gd name="connsiteX117" fmla="*/ 37 w 10000"/>
                <a:gd name="connsiteY117" fmla="*/ 4488 h 9909"/>
                <a:gd name="connsiteX118" fmla="*/ 59 w 10000"/>
                <a:gd name="connsiteY118" fmla="*/ 4650 h 9909"/>
                <a:gd name="connsiteX119" fmla="*/ 89 w 10000"/>
                <a:gd name="connsiteY119" fmla="*/ 4812 h 9909"/>
                <a:gd name="connsiteX120" fmla="*/ 119 w 10000"/>
                <a:gd name="connsiteY120" fmla="*/ 4973 h 9909"/>
                <a:gd name="connsiteX121" fmla="*/ 148 w 10000"/>
                <a:gd name="connsiteY121" fmla="*/ 5135 h 9909"/>
                <a:gd name="connsiteX122" fmla="*/ 193 w 10000"/>
                <a:gd name="connsiteY122" fmla="*/ 5293 h 9909"/>
                <a:gd name="connsiteX123" fmla="*/ 237 w 10000"/>
                <a:gd name="connsiteY123" fmla="*/ 5449 h 9909"/>
                <a:gd name="connsiteX124" fmla="*/ 282 w 10000"/>
                <a:gd name="connsiteY124" fmla="*/ 5608 h 9909"/>
                <a:gd name="connsiteX125" fmla="*/ 334 w 10000"/>
                <a:gd name="connsiteY125" fmla="*/ 5762 h 9909"/>
                <a:gd name="connsiteX126" fmla="*/ 393 w 10000"/>
                <a:gd name="connsiteY126" fmla="*/ 5913 h 9909"/>
                <a:gd name="connsiteX127" fmla="*/ 452 w 10000"/>
                <a:gd name="connsiteY127" fmla="*/ 6067 h 9909"/>
                <a:gd name="connsiteX128" fmla="*/ 519 w 10000"/>
                <a:gd name="connsiteY128" fmla="*/ 6218 h 9909"/>
                <a:gd name="connsiteX129" fmla="*/ 586 w 10000"/>
                <a:gd name="connsiteY129" fmla="*/ 6372 h 9909"/>
                <a:gd name="connsiteX130" fmla="*/ 660 w 10000"/>
                <a:gd name="connsiteY130" fmla="*/ 6517 h 9909"/>
                <a:gd name="connsiteX131" fmla="*/ 741 w 10000"/>
                <a:gd name="connsiteY131" fmla="*/ 6661 h 9909"/>
                <a:gd name="connsiteX132" fmla="*/ 823 w 10000"/>
                <a:gd name="connsiteY132" fmla="*/ 6814 h 9909"/>
                <a:gd name="connsiteX133" fmla="*/ 904 w 10000"/>
                <a:gd name="connsiteY133" fmla="*/ 6955 h 9909"/>
                <a:gd name="connsiteX134" fmla="*/ 993 w 10000"/>
                <a:gd name="connsiteY134" fmla="*/ 7097 h 9909"/>
                <a:gd name="connsiteX135" fmla="*/ 1090 w 10000"/>
                <a:gd name="connsiteY135" fmla="*/ 7230 h 9909"/>
                <a:gd name="connsiteX136" fmla="*/ 1186 w 10000"/>
                <a:gd name="connsiteY136" fmla="*/ 7375 h 9909"/>
                <a:gd name="connsiteX137" fmla="*/ 1290 w 10000"/>
                <a:gd name="connsiteY137" fmla="*/ 7515 h 9909"/>
                <a:gd name="connsiteX138" fmla="*/ 1386 w 10000"/>
                <a:gd name="connsiteY138" fmla="*/ 7653 h 9909"/>
                <a:gd name="connsiteX139" fmla="*/ 1497 w 10000"/>
                <a:gd name="connsiteY139" fmla="*/ 7788 h 9909"/>
                <a:gd name="connsiteX140" fmla="*/ 1609 w 10000"/>
                <a:gd name="connsiteY140" fmla="*/ 7919 h 9909"/>
                <a:gd name="connsiteX141" fmla="*/ 1727 w 10000"/>
                <a:gd name="connsiteY141" fmla="*/ 8056 h 9909"/>
                <a:gd name="connsiteX142" fmla="*/ 1846 w 10000"/>
                <a:gd name="connsiteY142" fmla="*/ 8185 h 9909"/>
                <a:gd name="connsiteX143" fmla="*/ 1964 w 10000"/>
                <a:gd name="connsiteY143" fmla="*/ 8310 h 9909"/>
                <a:gd name="connsiteX144" fmla="*/ 2090 w 10000"/>
                <a:gd name="connsiteY144" fmla="*/ 8434 h 9909"/>
                <a:gd name="connsiteX145" fmla="*/ 2224 w 10000"/>
                <a:gd name="connsiteY145" fmla="*/ 8561 h 9909"/>
                <a:gd name="connsiteX146" fmla="*/ 2350 w 10000"/>
                <a:gd name="connsiteY146" fmla="*/ 8687 h 9909"/>
                <a:gd name="connsiteX147" fmla="*/ 2491 w 10000"/>
                <a:gd name="connsiteY147" fmla="*/ 8807 h 9909"/>
                <a:gd name="connsiteX148" fmla="*/ 2617 w 10000"/>
                <a:gd name="connsiteY148" fmla="*/ 8928 h 9909"/>
                <a:gd name="connsiteX149" fmla="*/ 2765 w 10000"/>
                <a:gd name="connsiteY149" fmla="*/ 9045 h 9909"/>
                <a:gd name="connsiteX150" fmla="*/ 2906 w 10000"/>
                <a:gd name="connsiteY150" fmla="*/ 9159 h 9909"/>
                <a:gd name="connsiteX151" fmla="*/ 3054 w 10000"/>
                <a:gd name="connsiteY151" fmla="*/ 9274 h 9909"/>
                <a:gd name="connsiteX152" fmla="*/ 3210 w 10000"/>
                <a:gd name="connsiteY152" fmla="*/ 9383 h 9909"/>
                <a:gd name="connsiteX153" fmla="*/ 3358 w 10000"/>
                <a:gd name="connsiteY153" fmla="*/ 9493 h 9909"/>
                <a:gd name="connsiteX154" fmla="*/ 3514 w 10000"/>
                <a:gd name="connsiteY154" fmla="*/ 9602 h 9909"/>
                <a:gd name="connsiteX155" fmla="*/ 3677 w 10000"/>
                <a:gd name="connsiteY155" fmla="*/ 9706 h 9909"/>
                <a:gd name="connsiteX156" fmla="*/ 3840 w 10000"/>
                <a:gd name="connsiteY156" fmla="*/ 9806 h 9909"/>
                <a:gd name="connsiteX157" fmla="*/ 4010 w 10000"/>
                <a:gd name="connsiteY157" fmla="*/ 9909 h 9909"/>
                <a:gd name="connsiteX158" fmla="*/ 7539 w 10000"/>
                <a:gd name="connsiteY158" fmla="*/ 8834 h 9909"/>
                <a:gd name="connsiteX159" fmla="*/ 10000 w 10000"/>
                <a:gd name="connsiteY159" fmla="*/ 6992 h 9909"/>
                <a:gd name="connsiteX0" fmla="*/ 10000 w 10000"/>
                <a:gd name="connsiteY0" fmla="*/ 7056 h 9896"/>
                <a:gd name="connsiteX1" fmla="*/ 10000 w 10000"/>
                <a:gd name="connsiteY1" fmla="*/ 7056 h 9896"/>
                <a:gd name="connsiteX2" fmla="*/ 9911 w 10000"/>
                <a:gd name="connsiteY2" fmla="*/ 7039 h 9896"/>
                <a:gd name="connsiteX3" fmla="*/ 9815 w 10000"/>
                <a:gd name="connsiteY3" fmla="*/ 7019 h 9896"/>
                <a:gd name="connsiteX4" fmla="*/ 9726 w 10000"/>
                <a:gd name="connsiteY4" fmla="*/ 7000 h 9896"/>
                <a:gd name="connsiteX5" fmla="*/ 9637 w 10000"/>
                <a:gd name="connsiteY5" fmla="*/ 6970 h 9896"/>
                <a:gd name="connsiteX6" fmla="*/ 9548 w 10000"/>
                <a:gd name="connsiteY6" fmla="*/ 6950 h 9896"/>
                <a:gd name="connsiteX7" fmla="*/ 9466 w 10000"/>
                <a:gd name="connsiteY7" fmla="*/ 6924 h 9896"/>
                <a:gd name="connsiteX8" fmla="*/ 9377 w 10000"/>
                <a:gd name="connsiteY8" fmla="*/ 6899 h 9896"/>
                <a:gd name="connsiteX9" fmla="*/ 9288 w 10000"/>
                <a:gd name="connsiteY9" fmla="*/ 6872 h 9896"/>
                <a:gd name="connsiteX10" fmla="*/ 9118 w 10000"/>
                <a:gd name="connsiteY10" fmla="*/ 6813 h 9896"/>
                <a:gd name="connsiteX11" fmla="*/ 8955 w 10000"/>
                <a:gd name="connsiteY11" fmla="*/ 6749 h 9896"/>
                <a:gd name="connsiteX12" fmla="*/ 8792 w 10000"/>
                <a:gd name="connsiteY12" fmla="*/ 6683 h 9896"/>
                <a:gd name="connsiteX13" fmla="*/ 8636 w 10000"/>
                <a:gd name="connsiteY13" fmla="*/ 6607 h 9896"/>
                <a:gd name="connsiteX14" fmla="*/ 8480 w 10000"/>
                <a:gd name="connsiteY14" fmla="*/ 6530 h 9896"/>
                <a:gd name="connsiteX15" fmla="*/ 8340 w 10000"/>
                <a:gd name="connsiteY15" fmla="*/ 6458 h 9896"/>
                <a:gd name="connsiteX16" fmla="*/ 8199 w 10000"/>
                <a:gd name="connsiteY16" fmla="*/ 6370 h 9896"/>
                <a:gd name="connsiteX17" fmla="*/ 8058 w 10000"/>
                <a:gd name="connsiteY17" fmla="*/ 6279 h 9896"/>
                <a:gd name="connsiteX18" fmla="*/ 7924 w 10000"/>
                <a:gd name="connsiteY18" fmla="*/ 6187 h 9896"/>
                <a:gd name="connsiteX19" fmla="*/ 7798 w 10000"/>
                <a:gd name="connsiteY19" fmla="*/ 6087 h 9896"/>
                <a:gd name="connsiteX20" fmla="*/ 7672 w 10000"/>
                <a:gd name="connsiteY20" fmla="*/ 5991 h 9896"/>
                <a:gd name="connsiteX21" fmla="*/ 7554 w 10000"/>
                <a:gd name="connsiteY21" fmla="*/ 5890 h 9896"/>
                <a:gd name="connsiteX22" fmla="*/ 7450 w 10000"/>
                <a:gd name="connsiteY22" fmla="*/ 5780 h 9896"/>
                <a:gd name="connsiteX23" fmla="*/ 7346 w 10000"/>
                <a:gd name="connsiteY23" fmla="*/ 5669 h 9896"/>
                <a:gd name="connsiteX24" fmla="*/ 7250 w 10000"/>
                <a:gd name="connsiteY24" fmla="*/ 5558 h 9896"/>
                <a:gd name="connsiteX25" fmla="*/ 7161 w 10000"/>
                <a:gd name="connsiteY25" fmla="*/ 5444 h 9896"/>
                <a:gd name="connsiteX26" fmla="*/ 7072 w 10000"/>
                <a:gd name="connsiteY26" fmla="*/ 5325 h 9896"/>
                <a:gd name="connsiteX27" fmla="*/ 6990 w 10000"/>
                <a:gd name="connsiteY27" fmla="*/ 5198 h 9896"/>
                <a:gd name="connsiteX28" fmla="*/ 6953 w 10000"/>
                <a:gd name="connsiteY28" fmla="*/ 5143 h 9896"/>
                <a:gd name="connsiteX29" fmla="*/ 6916 w 10000"/>
                <a:gd name="connsiteY29" fmla="*/ 5075 h 9896"/>
                <a:gd name="connsiteX30" fmla="*/ 6887 w 10000"/>
                <a:gd name="connsiteY30" fmla="*/ 5015 h 9896"/>
                <a:gd name="connsiteX31" fmla="*/ 6850 w 10000"/>
                <a:gd name="connsiteY31" fmla="*/ 4950 h 9896"/>
                <a:gd name="connsiteX32" fmla="*/ 6820 w 10000"/>
                <a:gd name="connsiteY32" fmla="*/ 4888 h 9896"/>
                <a:gd name="connsiteX33" fmla="*/ 6790 w 10000"/>
                <a:gd name="connsiteY33" fmla="*/ 4823 h 9896"/>
                <a:gd name="connsiteX34" fmla="*/ 6768 w 10000"/>
                <a:gd name="connsiteY34" fmla="*/ 4755 h 9896"/>
                <a:gd name="connsiteX35" fmla="*/ 6738 w 10000"/>
                <a:gd name="connsiteY35" fmla="*/ 4693 h 9896"/>
                <a:gd name="connsiteX36" fmla="*/ 6723 w 10000"/>
                <a:gd name="connsiteY36" fmla="*/ 4622 h 9896"/>
                <a:gd name="connsiteX37" fmla="*/ 6694 w 10000"/>
                <a:gd name="connsiteY37" fmla="*/ 4559 h 9896"/>
                <a:gd name="connsiteX38" fmla="*/ 6679 w 10000"/>
                <a:gd name="connsiteY38" fmla="*/ 4490 h 9896"/>
                <a:gd name="connsiteX39" fmla="*/ 6664 w 10000"/>
                <a:gd name="connsiteY39" fmla="*/ 4425 h 9896"/>
                <a:gd name="connsiteX40" fmla="*/ 6649 w 10000"/>
                <a:gd name="connsiteY40" fmla="*/ 4354 h 9896"/>
                <a:gd name="connsiteX41" fmla="*/ 6635 w 10000"/>
                <a:gd name="connsiteY41" fmla="*/ 4290 h 9896"/>
                <a:gd name="connsiteX42" fmla="*/ 6620 w 10000"/>
                <a:gd name="connsiteY42" fmla="*/ 4222 h 9896"/>
                <a:gd name="connsiteX43" fmla="*/ 6612 w 10000"/>
                <a:gd name="connsiteY43" fmla="*/ 4155 h 9896"/>
                <a:gd name="connsiteX44" fmla="*/ 6605 w 10000"/>
                <a:gd name="connsiteY44" fmla="*/ 4083 h 9896"/>
                <a:gd name="connsiteX45" fmla="*/ 6597 w 10000"/>
                <a:gd name="connsiteY45" fmla="*/ 4010 h 9896"/>
                <a:gd name="connsiteX46" fmla="*/ 6597 w 10000"/>
                <a:gd name="connsiteY46" fmla="*/ 3942 h 9896"/>
                <a:gd name="connsiteX47" fmla="*/ 6590 w 10000"/>
                <a:gd name="connsiteY47" fmla="*/ 3869 h 9896"/>
                <a:gd name="connsiteX48" fmla="*/ 6597 w 10000"/>
                <a:gd name="connsiteY48" fmla="*/ 3799 h 9896"/>
                <a:gd name="connsiteX49" fmla="*/ 6605 w 10000"/>
                <a:gd name="connsiteY49" fmla="*/ 3723 h 9896"/>
                <a:gd name="connsiteX50" fmla="*/ 6605 w 10000"/>
                <a:gd name="connsiteY50" fmla="*/ 3648 h 9896"/>
                <a:gd name="connsiteX51" fmla="*/ 6612 w 10000"/>
                <a:gd name="connsiteY51" fmla="*/ 3573 h 9896"/>
                <a:gd name="connsiteX52" fmla="*/ 6620 w 10000"/>
                <a:gd name="connsiteY52" fmla="*/ 3498 h 9896"/>
                <a:gd name="connsiteX53" fmla="*/ 6635 w 10000"/>
                <a:gd name="connsiteY53" fmla="*/ 3433 h 9896"/>
                <a:gd name="connsiteX54" fmla="*/ 6649 w 10000"/>
                <a:gd name="connsiteY54" fmla="*/ 3356 h 9896"/>
                <a:gd name="connsiteX55" fmla="*/ 6664 w 10000"/>
                <a:gd name="connsiteY55" fmla="*/ 3287 h 9896"/>
                <a:gd name="connsiteX56" fmla="*/ 6686 w 10000"/>
                <a:gd name="connsiteY56" fmla="*/ 3213 h 9896"/>
                <a:gd name="connsiteX57" fmla="*/ 6709 w 10000"/>
                <a:gd name="connsiteY57" fmla="*/ 3146 h 9896"/>
                <a:gd name="connsiteX58" fmla="*/ 6731 w 10000"/>
                <a:gd name="connsiteY58" fmla="*/ 3076 h 9896"/>
                <a:gd name="connsiteX59" fmla="*/ 6753 w 10000"/>
                <a:gd name="connsiteY59" fmla="*/ 3002 h 9896"/>
                <a:gd name="connsiteX60" fmla="*/ 6783 w 10000"/>
                <a:gd name="connsiteY60" fmla="*/ 2941 h 9896"/>
                <a:gd name="connsiteX61" fmla="*/ 6812 w 10000"/>
                <a:gd name="connsiteY61" fmla="*/ 2871 h 9896"/>
                <a:gd name="connsiteX62" fmla="*/ 6842 w 10000"/>
                <a:gd name="connsiteY62" fmla="*/ 2800 h 9896"/>
                <a:gd name="connsiteX63" fmla="*/ 6879 w 10000"/>
                <a:gd name="connsiteY63" fmla="*/ 2735 h 9896"/>
                <a:gd name="connsiteX64" fmla="*/ 6909 w 10000"/>
                <a:gd name="connsiteY64" fmla="*/ 2671 h 9896"/>
                <a:gd name="connsiteX65" fmla="*/ 6946 w 10000"/>
                <a:gd name="connsiteY65" fmla="*/ 2598 h 9896"/>
                <a:gd name="connsiteX66" fmla="*/ 6990 w 10000"/>
                <a:gd name="connsiteY66" fmla="*/ 2540 h 9896"/>
                <a:gd name="connsiteX67" fmla="*/ 7027 w 10000"/>
                <a:gd name="connsiteY67" fmla="*/ 2474 h 9896"/>
                <a:gd name="connsiteX68" fmla="*/ 7072 w 10000"/>
                <a:gd name="connsiteY68" fmla="*/ 2415 h 9896"/>
                <a:gd name="connsiteX69" fmla="*/ 7109 w 10000"/>
                <a:gd name="connsiteY69" fmla="*/ 2346 h 9896"/>
                <a:gd name="connsiteX70" fmla="*/ 7161 w 10000"/>
                <a:gd name="connsiteY70" fmla="*/ 2292 h 9896"/>
                <a:gd name="connsiteX71" fmla="*/ 7213 w 10000"/>
                <a:gd name="connsiteY71" fmla="*/ 2226 h 9896"/>
                <a:gd name="connsiteX72" fmla="*/ 7257 w 10000"/>
                <a:gd name="connsiteY72" fmla="*/ 2166 h 9896"/>
                <a:gd name="connsiteX73" fmla="*/ 7309 w 10000"/>
                <a:gd name="connsiteY73" fmla="*/ 2107 h 9896"/>
                <a:gd name="connsiteX74" fmla="*/ 7361 w 10000"/>
                <a:gd name="connsiteY74" fmla="*/ 2044 h 9896"/>
                <a:gd name="connsiteX75" fmla="*/ 7413 w 10000"/>
                <a:gd name="connsiteY75" fmla="*/ 1990 h 9896"/>
                <a:gd name="connsiteX76" fmla="*/ 7472 w 10000"/>
                <a:gd name="connsiteY76" fmla="*/ 1932 h 9896"/>
                <a:gd name="connsiteX77" fmla="*/ 7524 w 10000"/>
                <a:gd name="connsiteY77" fmla="*/ 1879 h 9896"/>
                <a:gd name="connsiteX78" fmla="*/ 7583 w 10000"/>
                <a:gd name="connsiteY78" fmla="*/ 1823 h 9896"/>
                <a:gd name="connsiteX79" fmla="*/ 7610 w 10000"/>
                <a:gd name="connsiteY79" fmla="*/ 1789 h 9896"/>
                <a:gd name="connsiteX80" fmla="*/ 5390 w 10000"/>
                <a:gd name="connsiteY80" fmla="*/ 6 h 9896"/>
                <a:gd name="connsiteX81" fmla="*/ 1401 w 10000"/>
                <a:gd name="connsiteY81" fmla="*/ 0 h 9896"/>
                <a:gd name="connsiteX82" fmla="*/ 1305 w 10000"/>
                <a:gd name="connsiteY82" fmla="*/ 134 h 9896"/>
                <a:gd name="connsiteX83" fmla="*/ 1223 w 10000"/>
                <a:gd name="connsiteY83" fmla="*/ 237 h 9896"/>
                <a:gd name="connsiteX84" fmla="*/ 1149 w 10000"/>
                <a:gd name="connsiteY84" fmla="*/ 346 h 9896"/>
                <a:gd name="connsiteX85" fmla="*/ 1067 w 10000"/>
                <a:gd name="connsiteY85" fmla="*/ 458 h 9896"/>
                <a:gd name="connsiteX86" fmla="*/ 1001 w 10000"/>
                <a:gd name="connsiteY86" fmla="*/ 569 h 9896"/>
                <a:gd name="connsiteX87" fmla="*/ 927 w 10000"/>
                <a:gd name="connsiteY87" fmla="*/ 680 h 9896"/>
                <a:gd name="connsiteX88" fmla="*/ 860 w 10000"/>
                <a:gd name="connsiteY88" fmla="*/ 797 h 9896"/>
                <a:gd name="connsiteX89" fmla="*/ 793 w 10000"/>
                <a:gd name="connsiteY89" fmla="*/ 914 h 9896"/>
                <a:gd name="connsiteX90" fmla="*/ 734 w 10000"/>
                <a:gd name="connsiteY90" fmla="*/ 1022 h 9896"/>
                <a:gd name="connsiteX91" fmla="*/ 675 w 10000"/>
                <a:gd name="connsiteY91" fmla="*/ 1142 h 9896"/>
                <a:gd name="connsiteX92" fmla="*/ 615 w 10000"/>
                <a:gd name="connsiteY92" fmla="*/ 1255 h 9896"/>
                <a:gd name="connsiteX93" fmla="*/ 556 w 10000"/>
                <a:gd name="connsiteY93" fmla="*/ 1379 h 9896"/>
                <a:gd name="connsiteX94" fmla="*/ 504 w 10000"/>
                <a:gd name="connsiteY94" fmla="*/ 1489 h 9896"/>
                <a:gd name="connsiteX95" fmla="*/ 452 w 10000"/>
                <a:gd name="connsiteY95" fmla="*/ 1607 h 9896"/>
                <a:gd name="connsiteX96" fmla="*/ 408 w 10000"/>
                <a:gd name="connsiteY96" fmla="*/ 1726 h 9896"/>
                <a:gd name="connsiteX97" fmla="*/ 363 w 10000"/>
                <a:gd name="connsiteY97" fmla="*/ 1846 h 9896"/>
                <a:gd name="connsiteX98" fmla="*/ 319 w 10000"/>
                <a:gd name="connsiteY98" fmla="*/ 1970 h 9896"/>
                <a:gd name="connsiteX99" fmla="*/ 282 w 10000"/>
                <a:gd name="connsiteY99" fmla="*/ 2091 h 9896"/>
                <a:gd name="connsiteX100" fmla="*/ 237 w 10000"/>
                <a:gd name="connsiteY100" fmla="*/ 2216 h 9896"/>
                <a:gd name="connsiteX101" fmla="*/ 208 w 10000"/>
                <a:gd name="connsiteY101" fmla="*/ 2337 h 9896"/>
                <a:gd name="connsiteX102" fmla="*/ 170 w 10000"/>
                <a:gd name="connsiteY102" fmla="*/ 2462 h 9896"/>
                <a:gd name="connsiteX103" fmla="*/ 148 w 10000"/>
                <a:gd name="connsiteY103" fmla="*/ 2589 h 9896"/>
                <a:gd name="connsiteX104" fmla="*/ 119 w 10000"/>
                <a:gd name="connsiteY104" fmla="*/ 2713 h 9896"/>
                <a:gd name="connsiteX105" fmla="*/ 96 w 10000"/>
                <a:gd name="connsiteY105" fmla="*/ 2836 h 9896"/>
                <a:gd name="connsiteX106" fmla="*/ 74 w 10000"/>
                <a:gd name="connsiteY106" fmla="*/ 2966 h 9896"/>
                <a:gd name="connsiteX107" fmla="*/ 52 w 10000"/>
                <a:gd name="connsiteY107" fmla="*/ 3098 h 9896"/>
                <a:gd name="connsiteX108" fmla="*/ 37 w 10000"/>
                <a:gd name="connsiteY108" fmla="*/ 3223 h 9896"/>
                <a:gd name="connsiteX109" fmla="*/ 22 w 10000"/>
                <a:gd name="connsiteY109" fmla="*/ 3350 h 9896"/>
                <a:gd name="connsiteX110" fmla="*/ 15 w 10000"/>
                <a:gd name="connsiteY110" fmla="*/ 3478 h 9896"/>
                <a:gd name="connsiteX111" fmla="*/ 7 w 10000"/>
                <a:gd name="connsiteY111" fmla="*/ 3608 h 9896"/>
                <a:gd name="connsiteX112" fmla="*/ 0 w 10000"/>
                <a:gd name="connsiteY112" fmla="*/ 3736 h 9896"/>
                <a:gd name="connsiteX113" fmla="*/ 0 w 10000"/>
                <a:gd name="connsiteY113" fmla="*/ 3869 h 9896"/>
                <a:gd name="connsiteX114" fmla="*/ 7 w 10000"/>
                <a:gd name="connsiteY114" fmla="*/ 4038 h 9896"/>
                <a:gd name="connsiteX115" fmla="*/ 7 w 10000"/>
                <a:gd name="connsiteY115" fmla="*/ 4206 h 9896"/>
                <a:gd name="connsiteX116" fmla="*/ 22 w 10000"/>
                <a:gd name="connsiteY116" fmla="*/ 4364 h 9896"/>
                <a:gd name="connsiteX117" fmla="*/ 37 w 10000"/>
                <a:gd name="connsiteY117" fmla="*/ 4529 h 9896"/>
                <a:gd name="connsiteX118" fmla="*/ 59 w 10000"/>
                <a:gd name="connsiteY118" fmla="*/ 4693 h 9896"/>
                <a:gd name="connsiteX119" fmla="*/ 89 w 10000"/>
                <a:gd name="connsiteY119" fmla="*/ 4856 h 9896"/>
                <a:gd name="connsiteX120" fmla="*/ 119 w 10000"/>
                <a:gd name="connsiteY120" fmla="*/ 5019 h 9896"/>
                <a:gd name="connsiteX121" fmla="*/ 148 w 10000"/>
                <a:gd name="connsiteY121" fmla="*/ 5182 h 9896"/>
                <a:gd name="connsiteX122" fmla="*/ 193 w 10000"/>
                <a:gd name="connsiteY122" fmla="*/ 5342 h 9896"/>
                <a:gd name="connsiteX123" fmla="*/ 237 w 10000"/>
                <a:gd name="connsiteY123" fmla="*/ 5499 h 9896"/>
                <a:gd name="connsiteX124" fmla="*/ 282 w 10000"/>
                <a:gd name="connsiteY124" fmla="*/ 5660 h 9896"/>
                <a:gd name="connsiteX125" fmla="*/ 334 w 10000"/>
                <a:gd name="connsiteY125" fmla="*/ 5815 h 9896"/>
                <a:gd name="connsiteX126" fmla="*/ 393 w 10000"/>
                <a:gd name="connsiteY126" fmla="*/ 5967 h 9896"/>
                <a:gd name="connsiteX127" fmla="*/ 452 w 10000"/>
                <a:gd name="connsiteY127" fmla="*/ 6123 h 9896"/>
                <a:gd name="connsiteX128" fmla="*/ 519 w 10000"/>
                <a:gd name="connsiteY128" fmla="*/ 6275 h 9896"/>
                <a:gd name="connsiteX129" fmla="*/ 586 w 10000"/>
                <a:gd name="connsiteY129" fmla="*/ 6431 h 9896"/>
                <a:gd name="connsiteX130" fmla="*/ 660 w 10000"/>
                <a:gd name="connsiteY130" fmla="*/ 6577 h 9896"/>
                <a:gd name="connsiteX131" fmla="*/ 741 w 10000"/>
                <a:gd name="connsiteY131" fmla="*/ 6722 h 9896"/>
                <a:gd name="connsiteX132" fmla="*/ 823 w 10000"/>
                <a:gd name="connsiteY132" fmla="*/ 6877 h 9896"/>
                <a:gd name="connsiteX133" fmla="*/ 904 w 10000"/>
                <a:gd name="connsiteY133" fmla="*/ 7019 h 9896"/>
                <a:gd name="connsiteX134" fmla="*/ 993 w 10000"/>
                <a:gd name="connsiteY134" fmla="*/ 7162 h 9896"/>
                <a:gd name="connsiteX135" fmla="*/ 1090 w 10000"/>
                <a:gd name="connsiteY135" fmla="*/ 7296 h 9896"/>
                <a:gd name="connsiteX136" fmla="*/ 1186 w 10000"/>
                <a:gd name="connsiteY136" fmla="*/ 7443 h 9896"/>
                <a:gd name="connsiteX137" fmla="*/ 1290 w 10000"/>
                <a:gd name="connsiteY137" fmla="*/ 7584 h 9896"/>
                <a:gd name="connsiteX138" fmla="*/ 1386 w 10000"/>
                <a:gd name="connsiteY138" fmla="*/ 7723 h 9896"/>
                <a:gd name="connsiteX139" fmla="*/ 1497 w 10000"/>
                <a:gd name="connsiteY139" fmla="*/ 7860 h 9896"/>
                <a:gd name="connsiteX140" fmla="*/ 1609 w 10000"/>
                <a:gd name="connsiteY140" fmla="*/ 7992 h 9896"/>
                <a:gd name="connsiteX141" fmla="*/ 1727 w 10000"/>
                <a:gd name="connsiteY141" fmla="*/ 8130 h 9896"/>
                <a:gd name="connsiteX142" fmla="*/ 1846 w 10000"/>
                <a:gd name="connsiteY142" fmla="*/ 8260 h 9896"/>
                <a:gd name="connsiteX143" fmla="*/ 1964 w 10000"/>
                <a:gd name="connsiteY143" fmla="*/ 8386 h 9896"/>
                <a:gd name="connsiteX144" fmla="*/ 2090 w 10000"/>
                <a:gd name="connsiteY144" fmla="*/ 8511 h 9896"/>
                <a:gd name="connsiteX145" fmla="*/ 2224 w 10000"/>
                <a:gd name="connsiteY145" fmla="*/ 8640 h 9896"/>
                <a:gd name="connsiteX146" fmla="*/ 2350 w 10000"/>
                <a:gd name="connsiteY146" fmla="*/ 8767 h 9896"/>
                <a:gd name="connsiteX147" fmla="*/ 2491 w 10000"/>
                <a:gd name="connsiteY147" fmla="*/ 8888 h 9896"/>
                <a:gd name="connsiteX148" fmla="*/ 2617 w 10000"/>
                <a:gd name="connsiteY148" fmla="*/ 9010 h 9896"/>
                <a:gd name="connsiteX149" fmla="*/ 2765 w 10000"/>
                <a:gd name="connsiteY149" fmla="*/ 9128 h 9896"/>
                <a:gd name="connsiteX150" fmla="*/ 2906 w 10000"/>
                <a:gd name="connsiteY150" fmla="*/ 9243 h 9896"/>
                <a:gd name="connsiteX151" fmla="*/ 3054 w 10000"/>
                <a:gd name="connsiteY151" fmla="*/ 9359 h 9896"/>
                <a:gd name="connsiteX152" fmla="*/ 3210 w 10000"/>
                <a:gd name="connsiteY152" fmla="*/ 9469 h 9896"/>
                <a:gd name="connsiteX153" fmla="*/ 3358 w 10000"/>
                <a:gd name="connsiteY153" fmla="*/ 9580 h 9896"/>
                <a:gd name="connsiteX154" fmla="*/ 3514 w 10000"/>
                <a:gd name="connsiteY154" fmla="*/ 9690 h 9896"/>
                <a:gd name="connsiteX155" fmla="*/ 3677 w 10000"/>
                <a:gd name="connsiteY155" fmla="*/ 9795 h 9896"/>
                <a:gd name="connsiteX156" fmla="*/ 3840 w 10000"/>
                <a:gd name="connsiteY156" fmla="*/ 9896 h 9896"/>
                <a:gd name="connsiteX157" fmla="*/ 7539 w 10000"/>
                <a:gd name="connsiteY157" fmla="*/ 8915 h 9896"/>
                <a:gd name="connsiteX158" fmla="*/ 10000 w 10000"/>
                <a:gd name="connsiteY158" fmla="*/ 7056 h 9896"/>
                <a:gd name="connsiteX0" fmla="*/ 10000 w 10000"/>
                <a:gd name="connsiteY0" fmla="*/ 7130 h 9898"/>
                <a:gd name="connsiteX1" fmla="*/ 10000 w 10000"/>
                <a:gd name="connsiteY1" fmla="*/ 7130 h 9898"/>
                <a:gd name="connsiteX2" fmla="*/ 9911 w 10000"/>
                <a:gd name="connsiteY2" fmla="*/ 7113 h 9898"/>
                <a:gd name="connsiteX3" fmla="*/ 9815 w 10000"/>
                <a:gd name="connsiteY3" fmla="*/ 7093 h 9898"/>
                <a:gd name="connsiteX4" fmla="*/ 9726 w 10000"/>
                <a:gd name="connsiteY4" fmla="*/ 7074 h 9898"/>
                <a:gd name="connsiteX5" fmla="*/ 9637 w 10000"/>
                <a:gd name="connsiteY5" fmla="*/ 7043 h 9898"/>
                <a:gd name="connsiteX6" fmla="*/ 9548 w 10000"/>
                <a:gd name="connsiteY6" fmla="*/ 7023 h 9898"/>
                <a:gd name="connsiteX7" fmla="*/ 9466 w 10000"/>
                <a:gd name="connsiteY7" fmla="*/ 6997 h 9898"/>
                <a:gd name="connsiteX8" fmla="*/ 9377 w 10000"/>
                <a:gd name="connsiteY8" fmla="*/ 6972 h 9898"/>
                <a:gd name="connsiteX9" fmla="*/ 9288 w 10000"/>
                <a:gd name="connsiteY9" fmla="*/ 6944 h 9898"/>
                <a:gd name="connsiteX10" fmla="*/ 9118 w 10000"/>
                <a:gd name="connsiteY10" fmla="*/ 6885 h 9898"/>
                <a:gd name="connsiteX11" fmla="*/ 8955 w 10000"/>
                <a:gd name="connsiteY11" fmla="*/ 6820 h 9898"/>
                <a:gd name="connsiteX12" fmla="*/ 8792 w 10000"/>
                <a:gd name="connsiteY12" fmla="*/ 6753 h 9898"/>
                <a:gd name="connsiteX13" fmla="*/ 8636 w 10000"/>
                <a:gd name="connsiteY13" fmla="*/ 6676 h 9898"/>
                <a:gd name="connsiteX14" fmla="*/ 8480 w 10000"/>
                <a:gd name="connsiteY14" fmla="*/ 6599 h 9898"/>
                <a:gd name="connsiteX15" fmla="*/ 8340 w 10000"/>
                <a:gd name="connsiteY15" fmla="*/ 6526 h 9898"/>
                <a:gd name="connsiteX16" fmla="*/ 8199 w 10000"/>
                <a:gd name="connsiteY16" fmla="*/ 6437 h 9898"/>
                <a:gd name="connsiteX17" fmla="*/ 8058 w 10000"/>
                <a:gd name="connsiteY17" fmla="*/ 6345 h 9898"/>
                <a:gd name="connsiteX18" fmla="*/ 7924 w 10000"/>
                <a:gd name="connsiteY18" fmla="*/ 6252 h 9898"/>
                <a:gd name="connsiteX19" fmla="*/ 7798 w 10000"/>
                <a:gd name="connsiteY19" fmla="*/ 6151 h 9898"/>
                <a:gd name="connsiteX20" fmla="*/ 7672 w 10000"/>
                <a:gd name="connsiteY20" fmla="*/ 6054 h 9898"/>
                <a:gd name="connsiteX21" fmla="*/ 7554 w 10000"/>
                <a:gd name="connsiteY21" fmla="*/ 5952 h 9898"/>
                <a:gd name="connsiteX22" fmla="*/ 7450 w 10000"/>
                <a:gd name="connsiteY22" fmla="*/ 5841 h 9898"/>
                <a:gd name="connsiteX23" fmla="*/ 7346 w 10000"/>
                <a:gd name="connsiteY23" fmla="*/ 5729 h 9898"/>
                <a:gd name="connsiteX24" fmla="*/ 7250 w 10000"/>
                <a:gd name="connsiteY24" fmla="*/ 5616 h 9898"/>
                <a:gd name="connsiteX25" fmla="*/ 7161 w 10000"/>
                <a:gd name="connsiteY25" fmla="*/ 5501 h 9898"/>
                <a:gd name="connsiteX26" fmla="*/ 7072 w 10000"/>
                <a:gd name="connsiteY26" fmla="*/ 5381 h 9898"/>
                <a:gd name="connsiteX27" fmla="*/ 6990 w 10000"/>
                <a:gd name="connsiteY27" fmla="*/ 5253 h 9898"/>
                <a:gd name="connsiteX28" fmla="*/ 6953 w 10000"/>
                <a:gd name="connsiteY28" fmla="*/ 5197 h 9898"/>
                <a:gd name="connsiteX29" fmla="*/ 6916 w 10000"/>
                <a:gd name="connsiteY29" fmla="*/ 5128 h 9898"/>
                <a:gd name="connsiteX30" fmla="*/ 6887 w 10000"/>
                <a:gd name="connsiteY30" fmla="*/ 5068 h 9898"/>
                <a:gd name="connsiteX31" fmla="*/ 6850 w 10000"/>
                <a:gd name="connsiteY31" fmla="*/ 5002 h 9898"/>
                <a:gd name="connsiteX32" fmla="*/ 6820 w 10000"/>
                <a:gd name="connsiteY32" fmla="*/ 4939 h 9898"/>
                <a:gd name="connsiteX33" fmla="*/ 6790 w 10000"/>
                <a:gd name="connsiteY33" fmla="*/ 4874 h 9898"/>
                <a:gd name="connsiteX34" fmla="*/ 6768 w 10000"/>
                <a:gd name="connsiteY34" fmla="*/ 4805 h 9898"/>
                <a:gd name="connsiteX35" fmla="*/ 6738 w 10000"/>
                <a:gd name="connsiteY35" fmla="*/ 4742 h 9898"/>
                <a:gd name="connsiteX36" fmla="*/ 6723 w 10000"/>
                <a:gd name="connsiteY36" fmla="*/ 4671 h 9898"/>
                <a:gd name="connsiteX37" fmla="*/ 6694 w 10000"/>
                <a:gd name="connsiteY37" fmla="*/ 4607 h 9898"/>
                <a:gd name="connsiteX38" fmla="*/ 6679 w 10000"/>
                <a:gd name="connsiteY38" fmla="*/ 4537 h 9898"/>
                <a:gd name="connsiteX39" fmla="*/ 6664 w 10000"/>
                <a:gd name="connsiteY39" fmla="*/ 4472 h 9898"/>
                <a:gd name="connsiteX40" fmla="*/ 6649 w 10000"/>
                <a:gd name="connsiteY40" fmla="*/ 4400 h 9898"/>
                <a:gd name="connsiteX41" fmla="*/ 6635 w 10000"/>
                <a:gd name="connsiteY41" fmla="*/ 4335 h 9898"/>
                <a:gd name="connsiteX42" fmla="*/ 6620 w 10000"/>
                <a:gd name="connsiteY42" fmla="*/ 4266 h 9898"/>
                <a:gd name="connsiteX43" fmla="*/ 6612 w 10000"/>
                <a:gd name="connsiteY43" fmla="*/ 4199 h 9898"/>
                <a:gd name="connsiteX44" fmla="*/ 6605 w 10000"/>
                <a:gd name="connsiteY44" fmla="*/ 4126 h 9898"/>
                <a:gd name="connsiteX45" fmla="*/ 6597 w 10000"/>
                <a:gd name="connsiteY45" fmla="*/ 4052 h 9898"/>
                <a:gd name="connsiteX46" fmla="*/ 6597 w 10000"/>
                <a:gd name="connsiteY46" fmla="*/ 3983 h 9898"/>
                <a:gd name="connsiteX47" fmla="*/ 6590 w 10000"/>
                <a:gd name="connsiteY47" fmla="*/ 3910 h 9898"/>
                <a:gd name="connsiteX48" fmla="*/ 6597 w 10000"/>
                <a:gd name="connsiteY48" fmla="*/ 3839 h 9898"/>
                <a:gd name="connsiteX49" fmla="*/ 6605 w 10000"/>
                <a:gd name="connsiteY49" fmla="*/ 3762 h 9898"/>
                <a:gd name="connsiteX50" fmla="*/ 6605 w 10000"/>
                <a:gd name="connsiteY50" fmla="*/ 3686 h 9898"/>
                <a:gd name="connsiteX51" fmla="*/ 6612 w 10000"/>
                <a:gd name="connsiteY51" fmla="*/ 3611 h 9898"/>
                <a:gd name="connsiteX52" fmla="*/ 6620 w 10000"/>
                <a:gd name="connsiteY52" fmla="*/ 3535 h 9898"/>
                <a:gd name="connsiteX53" fmla="*/ 6635 w 10000"/>
                <a:gd name="connsiteY53" fmla="*/ 3469 h 9898"/>
                <a:gd name="connsiteX54" fmla="*/ 6649 w 10000"/>
                <a:gd name="connsiteY54" fmla="*/ 3391 h 9898"/>
                <a:gd name="connsiteX55" fmla="*/ 6664 w 10000"/>
                <a:gd name="connsiteY55" fmla="*/ 3322 h 9898"/>
                <a:gd name="connsiteX56" fmla="*/ 6686 w 10000"/>
                <a:gd name="connsiteY56" fmla="*/ 3247 h 9898"/>
                <a:gd name="connsiteX57" fmla="*/ 6709 w 10000"/>
                <a:gd name="connsiteY57" fmla="*/ 3179 h 9898"/>
                <a:gd name="connsiteX58" fmla="*/ 6731 w 10000"/>
                <a:gd name="connsiteY58" fmla="*/ 3108 h 9898"/>
                <a:gd name="connsiteX59" fmla="*/ 6753 w 10000"/>
                <a:gd name="connsiteY59" fmla="*/ 3034 h 9898"/>
                <a:gd name="connsiteX60" fmla="*/ 6783 w 10000"/>
                <a:gd name="connsiteY60" fmla="*/ 2972 h 9898"/>
                <a:gd name="connsiteX61" fmla="*/ 6812 w 10000"/>
                <a:gd name="connsiteY61" fmla="*/ 2901 h 9898"/>
                <a:gd name="connsiteX62" fmla="*/ 6842 w 10000"/>
                <a:gd name="connsiteY62" fmla="*/ 2829 h 9898"/>
                <a:gd name="connsiteX63" fmla="*/ 6879 w 10000"/>
                <a:gd name="connsiteY63" fmla="*/ 2764 h 9898"/>
                <a:gd name="connsiteX64" fmla="*/ 6909 w 10000"/>
                <a:gd name="connsiteY64" fmla="*/ 2699 h 9898"/>
                <a:gd name="connsiteX65" fmla="*/ 6946 w 10000"/>
                <a:gd name="connsiteY65" fmla="*/ 2625 h 9898"/>
                <a:gd name="connsiteX66" fmla="*/ 6990 w 10000"/>
                <a:gd name="connsiteY66" fmla="*/ 2567 h 9898"/>
                <a:gd name="connsiteX67" fmla="*/ 7027 w 10000"/>
                <a:gd name="connsiteY67" fmla="*/ 2500 h 9898"/>
                <a:gd name="connsiteX68" fmla="*/ 7072 w 10000"/>
                <a:gd name="connsiteY68" fmla="*/ 2440 h 9898"/>
                <a:gd name="connsiteX69" fmla="*/ 7109 w 10000"/>
                <a:gd name="connsiteY69" fmla="*/ 2371 h 9898"/>
                <a:gd name="connsiteX70" fmla="*/ 7161 w 10000"/>
                <a:gd name="connsiteY70" fmla="*/ 2316 h 9898"/>
                <a:gd name="connsiteX71" fmla="*/ 7213 w 10000"/>
                <a:gd name="connsiteY71" fmla="*/ 2249 h 9898"/>
                <a:gd name="connsiteX72" fmla="*/ 7257 w 10000"/>
                <a:gd name="connsiteY72" fmla="*/ 2189 h 9898"/>
                <a:gd name="connsiteX73" fmla="*/ 7309 w 10000"/>
                <a:gd name="connsiteY73" fmla="*/ 2129 h 9898"/>
                <a:gd name="connsiteX74" fmla="*/ 7361 w 10000"/>
                <a:gd name="connsiteY74" fmla="*/ 2065 h 9898"/>
                <a:gd name="connsiteX75" fmla="*/ 7413 w 10000"/>
                <a:gd name="connsiteY75" fmla="*/ 2011 h 9898"/>
                <a:gd name="connsiteX76" fmla="*/ 7472 w 10000"/>
                <a:gd name="connsiteY76" fmla="*/ 1952 h 9898"/>
                <a:gd name="connsiteX77" fmla="*/ 7524 w 10000"/>
                <a:gd name="connsiteY77" fmla="*/ 1899 h 9898"/>
                <a:gd name="connsiteX78" fmla="*/ 7583 w 10000"/>
                <a:gd name="connsiteY78" fmla="*/ 1842 h 9898"/>
                <a:gd name="connsiteX79" fmla="*/ 7610 w 10000"/>
                <a:gd name="connsiteY79" fmla="*/ 1808 h 9898"/>
                <a:gd name="connsiteX80" fmla="*/ 5390 w 10000"/>
                <a:gd name="connsiteY80" fmla="*/ 6 h 9898"/>
                <a:gd name="connsiteX81" fmla="*/ 1401 w 10000"/>
                <a:gd name="connsiteY81" fmla="*/ 0 h 9898"/>
                <a:gd name="connsiteX82" fmla="*/ 1305 w 10000"/>
                <a:gd name="connsiteY82" fmla="*/ 135 h 9898"/>
                <a:gd name="connsiteX83" fmla="*/ 1223 w 10000"/>
                <a:gd name="connsiteY83" fmla="*/ 239 h 9898"/>
                <a:gd name="connsiteX84" fmla="*/ 1149 w 10000"/>
                <a:gd name="connsiteY84" fmla="*/ 350 h 9898"/>
                <a:gd name="connsiteX85" fmla="*/ 1067 w 10000"/>
                <a:gd name="connsiteY85" fmla="*/ 463 h 9898"/>
                <a:gd name="connsiteX86" fmla="*/ 1001 w 10000"/>
                <a:gd name="connsiteY86" fmla="*/ 575 h 9898"/>
                <a:gd name="connsiteX87" fmla="*/ 927 w 10000"/>
                <a:gd name="connsiteY87" fmla="*/ 687 h 9898"/>
                <a:gd name="connsiteX88" fmla="*/ 860 w 10000"/>
                <a:gd name="connsiteY88" fmla="*/ 805 h 9898"/>
                <a:gd name="connsiteX89" fmla="*/ 793 w 10000"/>
                <a:gd name="connsiteY89" fmla="*/ 924 h 9898"/>
                <a:gd name="connsiteX90" fmla="*/ 734 w 10000"/>
                <a:gd name="connsiteY90" fmla="*/ 1033 h 9898"/>
                <a:gd name="connsiteX91" fmla="*/ 675 w 10000"/>
                <a:gd name="connsiteY91" fmla="*/ 1154 h 9898"/>
                <a:gd name="connsiteX92" fmla="*/ 615 w 10000"/>
                <a:gd name="connsiteY92" fmla="*/ 1268 h 9898"/>
                <a:gd name="connsiteX93" fmla="*/ 556 w 10000"/>
                <a:gd name="connsiteY93" fmla="*/ 1393 h 9898"/>
                <a:gd name="connsiteX94" fmla="*/ 504 w 10000"/>
                <a:gd name="connsiteY94" fmla="*/ 1505 h 9898"/>
                <a:gd name="connsiteX95" fmla="*/ 452 w 10000"/>
                <a:gd name="connsiteY95" fmla="*/ 1624 h 9898"/>
                <a:gd name="connsiteX96" fmla="*/ 408 w 10000"/>
                <a:gd name="connsiteY96" fmla="*/ 1744 h 9898"/>
                <a:gd name="connsiteX97" fmla="*/ 363 w 10000"/>
                <a:gd name="connsiteY97" fmla="*/ 1865 h 9898"/>
                <a:gd name="connsiteX98" fmla="*/ 319 w 10000"/>
                <a:gd name="connsiteY98" fmla="*/ 1991 h 9898"/>
                <a:gd name="connsiteX99" fmla="*/ 282 w 10000"/>
                <a:gd name="connsiteY99" fmla="*/ 2113 h 9898"/>
                <a:gd name="connsiteX100" fmla="*/ 237 w 10000"/>
                <a:gd name="connsiteY100" fmla="*/ 2239 h 9898"/>
                <a:gd name="connsiteX101" fmla="*/ 208 w 10000"/>
                <a:gd name="connsiteY101" fmla="*/ 2362 h 9898"/>
                <a:gd name="connsiteX102" fmla="*/ 170 w 10000"/>
                <a:gd name="connsiteY102" fmla="*/ 2488 h 9898"/>
                <a:gd name="connsiteX103" fmla="*/ 148 w 10000"/>
                <a:gd name="connsiteY103" fmla="*/ 2616 h 9898"/>
                <a:gd name="connsiteX104" fmla="*/ 119 w 10000"/>
                <a:gd name="connsiteY104" fmla="*/ 2742 h 9898"/>
                <a:gd name="connsiteX105" fmla="*/ 96 w 10000"/>
                <a:gd name="connsiteY105" fmla="*/ 2866 h 9898"/>
                <a:gd name="connsiteX106" fmla="*/ 74 w 10000"/>
                <a:gd name="connsiteY106" fmla="*/ 2997 h 9898"/>
                <a:gd name="connsiteX107" fmla="*/ 52 w 10000"/>
                <a:gd name="connsiteY107" fmla="*/ 3131 h 9898"/>
                <a:gd name="connsiteX108" fmla="*/ 37 w 10000"/>
                <a:gd name="connsiteY108" fmla="*/ 3257 h 9898"/>
                <a:gd name="connsiteX109" fmla="*/ 22 w 10000"/>
                <a:gd name="connsiteY109" fmla="*/ 3385 h 9898"/>
                <a:gd name="connsiteX110" fmla="*/ 15 w 10000"/>
                <a:gd name="connsiteY110" fmla="*/ 3515 h 9898"/>
                <a:gd name="connsiteX111" fmla="*/ 7 w 10000"/>
                <a:gd name="connsiteY111" fmla="*/ 3646 h 9898"/>
                <a:gd name="connsiteX112" fmla="*/ 0 w 10000"/>
                <a:gd name="connsiteY112" fmla="*/ 3775 h 9898"/>
                <a:gd name="connsiteX113" fmla="*/ 0 w 10000"/>
                <a:gd name="connsiteY113" fmla="*/ 3910 h 9898"/>
                <a:gd name="connsiteX114" fmla="*/ 7 w 10000"/>
                <a:gd name="connsiteY114" fmla="*/ 4080 h 9898"/>
                <a:gd name="connsiteX115" fmla="*/ 7 w 10000"/>
                <a:gd name="connsiteY115" fmla="*/ 4250 h 9898"/>
                <a:gd name="connsiteX116" fmla="*/ 22 w 10000"/>
                <a:gd name="connsiteY116" fmla="*/ 4410 h 9898"/>
                <a:gd name="connsiteX117" fmla="*/ 37 w 10000"/>
                <a:gd name="connsiteY117" fmla="*/ 4577 h 9898"/>
                <a:gd name="connsiteX118" fmla="*/ 59 w 10000"/>
                <a:gd name="connsiteY118" fmla="*/ 4742 h 9898"/>
                <a:gd name="connsiteX119" fmla="*/ 89 w 10000"/>
                <a:gd name="connsiteY119" fmla="*/ 4907 h 9898"/>
                <a:gd name="connsiteX120" fmla="*/ 119 w 10000"/>
                <a:gd name="connsiteY120" fmla="*/ 5072 h 9898"/>
                <a:gd name="connsiteX121" fmla="*/ 148 w 10000"/>
                <a:gd name="connsiteY121" fmla="*/ 5236 h 9898"/>
                <a:gd name="connsiteX122" fmla="*/ 193 w 10000"/>
                <a:gd name="connsiteY122" fmla="*/ 5398 h 9898"/>
                <a:gd name="connsiteX123" fmla="*/ 237 w 10000"/>
                <a:gd name="connsiteY123" fmla="*/ 5557 h 9898"/>
                <a:gd name="connsiteX124" fmla="*/ 282 w 10000"/>
                <a:gd name="connsiteY124" fmla="*/ 5719 h 9898"/>
                <a:gd name="connsiteX125" fmla="*/ 334 w 10000"/>
                <a:gd name="connsiteY125" fmla="*/ 5876 h 9898"/>
                <a:gd name="connsiteX126" fmla="*/ 393 w 10000"/>
                <a:gd name="connsiteY126" fmla="*/ 6030 h 9898"/>
                <a:gd name="connsiteX127" fmla="*/ 452 w 10000"/>
                <a:gd name="connsiteY127" fmla="*/ 6187 h 9898"/>
                <a:gd name="connsiteX128" fmla="*/ 519 w 10000"/>
                <a:gd name="connsiteY128" fmla="*/ 6341 h 9898"/>
                <a:gd name="connsiteX129" fmla="*/ 586 w 10000"/>
                <a:gd name="connsiteY129" fmla="*/ 6499 h 9898"/>
                <a:gd name="connsiteX130" fmla="*/ 660 w 10000"/>
                <a:gd name="connsiteY130" fmla="*/ 6646 h 9898"/>
                <a:gd name="connsiteX131" fmla="*/ 741 w 10000"/>
                <a:gd name="connsiteY131" fmla="*/ 6793 h 9898"/>
                <a:gd name="connsiteX132" fmla="*/ 823 w 10000"/>
                <a:gd name="connsiteY132" fmla="*/ 6949 h 9898"/>
                <a:gd name="connsiteX133" fmla="*/ 904 w 10000"/>
                <a:gd name="connsiteY133" fmla="*/ 7093 h 9898"/>
                <a:gd name="connsiteX134" fmla="*/ 993 w 10000"/>
                <a:gd name="connsiteY134" fmla="*/ 7237 h 9898"/>
                <a:gd name="connsiteX135" fmla="*/ 1090 w 10000"/>
                <a:gd name="connsiteY135" fmla="*/ 7373 h 9898"/>
                <a:gd name="connsiteX136" fmla="*/ 1186 w 10000"/>
                <a:gd name="connsiteY136" fmla="*/ 7521 h 9898"/>
                <a:gd name="connsiteX137" fmla="*/ 1290 w 10000"/>
                <a:gd name="connsiteY137" fmla="*/ 7664 h 9898"/>
                <a:gd name="connsiteX138" fmla="*/ 1386 w 10000"/>
                <a:gd name="connsiteY138" fmla="*/ 7804 h 9898"/>
                <a:gd name="connsiteX139" fmla="*/ 1497 w 10000"/>
                <a:gd name="connsiteY139" fmla="*/ 7943 h 9898"/>
                <a:gd name="connsiteX140" fmla="*/ 1609 w 10000"/>
                <a:gd name="connsiteY140" fmla="*/ 8076 h 9898"/>
                <a:gd name="connsiteX141" fmla="*/ 1727 w 10000"/>
                <a:gd name="connsiteY141" fmla="*/ 8215 h 9898"/>
                <a:gd name="connsiteX142" fmla="*/ 1846 w 10000"/>
                <a:gd name="connsiteY142" fmla="*/ 8347 h 9898"/>
                <a:gd name="connsiteX143" fmla="*/ 1964 w 10000"/>
                <a:gd name="connsiteY143" fmla="*/ 8474 h 9898"/>
                <a:gd name="connsiteX144" fmla="*/ 2090 w 10000"/>
                <a:gd name="connsiteY144" fmla="*/ 8600 h 9898"/>
                <a:gd name="connsiteX145" fmla="*/ 2224 w 10000"/>
                <a:gd name="connsiteY145" fmla="*/ 8731 h 9898"/>
                <a:gd name="connsiteX146" fmla="*/ 2350 w 10000"/>
                <a:gd name="connsiteY146" fmla="*/ 8859 h 9898"/>
                <a:gd name="connsiteX147" fmla="*/ 2491 w 10000"/>
                <a:gd name="connsiteY147" fmla="*/ 8981 h 9898"/>
                <a:gd name="connsiteX148" fmla="*/ 2617 w 10000"/>
                <a:gd name="connsiteY148" fmla="*/ 9105 h 9898"/>
                <a:gd name="connsiteX149" fmla="*/ 2765 w 10000"/>
                <a:gd name="connsiteY149" fmla="*/ 9224 h 9898"/>
                <a:gd name="connsiteX150" fmla="*/ 2906 w 10000"/>
                <a:gd name="connsiteY150" fmla="*/ 9340 h 9898"/>
                <a:gd name="connsiteX151" fmla="*/ 3054 w 10000"/>
                <a:gd name="connsiteY151" fmla="*/ 9457 h 9898"/>
                <a:gd name="connsiteX152" fmla="*/ 3210 w 10000"/>
                <a:gd name="connsiteY152" fmla="*/ 9569 h 9898"/>
                <a:gd name="connsiteX153" fmla="*/ 3358 w 10000"/>
                <a:gd name="connsiteY153" fmla="*/ 9681 h 9898"/>
                <a:gd name="connsiteX154" fmla="*/ 3514 w 10000"/>
                <a:gd name="connsiteY154" fmla="*/ 9792 h 9898"/>
                <a:gd name="connsiteX155" fmla="*/ 3677 w 10000"/>
                <a:gd name="connsiteY155" fmla="*/ 9898 h 9898"/>
                <a:gd name="connsiteX156" fmla="*/ 7539 w 10000"/>
                <a:gd name="connsiteY156" fmla="*/ 9009 h 9898"/>
                <a:gd name="connsiteX157" fmla="*/ 10000 w 10000"/>
                <a:gd name="connsiteY157" fmla="*/ 7130 h 9898"/>
                <a:gd name="connsiteX0" fmla="*/ 10000 w 10000"/>
                <a:gd name="connsiteY0" fmla="*/ 7203 h 9893"/>
                <a:gd name="connsiteX1" fmla="*/ 10000 w 10000"/>
                <a:gd name="connsiteY1" fmla="*/ 7203 h 9893"/>
                <a:gd name="connsiteX2" fmla="*/ 9911 w 10000"/>
                <a:gd name="connsiteY2" fmla="*/ 7186 h 9893"/>
                <a:gd name="connsiteX3" fmla="*/ 9815 w 10000"/>
                <a:gd name="connsiteY3" fmla="*/ 7166 h 9893"/>
                <a:gd name="connsiteX4" fmla="*/ 9726 w 10000"/>
                <a:gd name="connsiteY4" fmla="*/ 7147 h 9893"/>
                <a:gd name="connsiteX5" fmla="*/ 9637 w 10000"/>
                <a:gd name="connsiteY5" fmla="*/ 7116 h 9893"/>
                <a:gd name="connsiteX6" fmla="*/ 9548 w 10000"/>
                <a:gd name="connsiteY6" fmla="*/ 7095 h 9893"/>
                <a:gd name="connsiteX7" fmla="*/ 9466 w 10000"/>
                <a:gd name="connsiteY7" fmla="*/ 7069 h 9893"/>
                <a:gd name="connsiteX8" fmla="*/ 9377 w 10000"/>
                <a:gd name="connsiteY8" fmla="*/ 7044 h 9893"/>
                <a:gd name="connsiteX9" fmla="*/ 9288 w 10000"/>
                <a:gd name="connsiteY9" fmla="*/ 7016 h 9893"/>
                <a:gd name="connsiteX10" fmla="*/ 9118 w 10000"/>
                <a:gd name="connsiteY10" fmla="*/ 6956 h 9893"/>
                <a:gd name="connsiteX11" fmla="*/ 8955 w 10000"/>
                <a:gd name="connsiteY11" fmla="*/ 6890 h 9893"/>
                <a:gd name="connsiteX12" fmla="*/ 8792 w 10000"/>
                <a:gd name="connsiteY12" fmla="*/ 6823 h 9893"/>
                <a:gd name="connsiteX13" fmla="*/ 8636 w 10000"/>
                <a:gd name="connsiteY13" fmla="*/ 6745 h 9893"/>
                <a:gd name="connsiteX14" fmla="*/ 8480 w 10000"/>
                <a:gd name="connsiteY14" fmla="*/ 6667 h 9893"/>
                <a:gd name="connsiteX15" fmla="*/ 8340 w 10000"/>
                <a:gd name="connsiteY15" fmla="*/ 6593 h 9893"/>
                <a:gd name="connsiteX16" fmla="*/ 8199 w 10000"/>
                <a:gd name="connsiteY16" fmla="*/ 6503 h 9893"/>
                <a:gd name="connsiteX17" fmla="*/ 8058 w 10000"/>
                <a:gd name="connsiteY17" fmla="*/ 6410 h 9893"/>
                <a:gd name="connsiteX18" fmla="*/ 7924 w 10000"/>
                <a:gd name="connsiteY18" fmla="*/ 6316 h 9893"/>
                <a:gd name="connsiteX19" fmla="*/ 7798 w 10000"/>
                <a:gd name="connsiteY19" fmla="*/ 6214 h 9893"/>
                <a:gd name="connsiteX20" fmla="*/ 7672 w 10000"/>
                <a:gd name="connsiteY20" fmla="*/ 6116 h 9893"/>
                <a:gd name="connsiteX21" fmla="*/ 7554 w 10000"/>
                <a:gd name="connsiteY21" fmla="*/ 6013 h 9893"/>
                <a:gd name="connsiteX22" fmla="*/ 7450 w 10000"/>
                <a:gd name="connsiteY22" fmla="*/ 5901 h 9893"/>
                <a:gd name="connsiteX23" fmla="*/ 7346 w 10000"/>
                <a:gd name="connsiteY23" fmla="*/ 5788 h 9893"/>
                <a:gd name="connsiteX24" fmla="*/ 7250 w 10000"/>
                <a:gd name="connsiteY24" fmla="*/ 5674 h 9893"/>
                <a:gd name="connsiteX25" fmla="*/ 7161 w 10000"/>
                <a:gd name="connsiteY25" fmla="*/ 5558 h 9893"/>
                <a:gd name="connsiteX26" fmla="*/ 7072 w 10000"/>
                <a:gd name="connsiteY26" fmla="*/ 5436 h 9893"/>
                <a:gd name="connsiteX27" fmla="*/ 6990 w 10000"/>
                <a:gd name="connsiteY27" fmla="*/ 5307 h 9893"/>
                <a:gd name="connsiteX28" fmla="*/ 6953 w 10000"/>
                <a:gd name="connsiteY28" fmla="*/ 5251 h 9893"/>
                <a:gd name="connsiteX29" fmla="*/ 6916 w 10000"/>
                <a:gd name="connsiteY29" fmla="*/ 5181 h 9893"/>
                <a:gd name="connsiteX30" fmla="*/ 6887 w 10000"/>
                <a:gd name="connsiteY30" fmla="*/ 5120 h 9893"/>
                <a:gd name="connsiteX31" fmla="*/ 6850 w 10000"/>
                <a:gd name="connsiteY31" fmla="*/ 5054 h 9893"/>
                <a:gd name="connsiteX32" fmla="*/ 6820 w 10000"/>
                <a:gd name="connsiteY32" fmla="*/ 4990 h 9893"/>
                <a:gd name="connsiteX33" fmla="*/ 6790 w 10000"/>
                <a:gd name="connsiteY33" fmla="*/ 4924 h 9893"/>
                <a:gd name="connsiteX34" fmla="*/ 6768 w 10000"/>
                <a:gd name="connsiteY34" fmla="*/ 4855 h 9893"/>
                <a:gd name="connsiteX35" fmla="*/ 6738 w 10000"/>
                <a:gd name="connsiteY35" fmla="*/ 4791 h 9893"/>
                <a:gd name="connsiteX36" fmla="*/ 6723 w 10000"/>
                <a:gd name="connsiteY36" fmla="*/ 4719 h 9893"/>
                <a:gd name="connsiteX37" fmla="*/ 6694 w 10000"/>
                <a:gd name="connsiteY37" fmla="*/ 4654 h 9893"/>
                <a:gd name="connsiteX38" fmla="*/ 6679 w 10000"/>
                <a:gd name="connsiteY38" fmla="*/ 4584 h 9893"/>
                <a:gd name="connsiteX39" fmla="*/ 6664 w 10000"/>
                <a:gd name="connsiteY39" fmla="*/ 4518 h 9893"/>
                <a:gd name="connsiteX40" fmla="*/ 6649 w 10000"/>
                <a:gd name="connsiteY40" fmla="*/ 4445 h 9893"/>
                <a:gd name="connsiteX41" fmla="*/ 6635 w 10000"/>
                <a:gd name="connsiteY41" fmla="*/ 4380 h 9893"/>
                <a:gd name="connsiteX42" fmla="*/ 6620 w 10000"/>
                <a:gd name="connsiteY42" fmla="*/ 4310 h 9893"/>
                <a:gd name="connsiteX43" fmla="*/ 6612 w 10000"/>
                <a:gd name="connsiteY43" fmla="*/ 4242 h 9893"/>
                <a:gd name="connsiteX44" fmla="*/ 6605 w 10000"/>
                <a:gd name="connsiteY44" fmla="*/ 4169 h 9893"/>
                <a:gd name="connsiteX45" fmla="*/ 6597 w 10000"/>
                <a:gd name="connsiteY45" fmla="*/ 4094 h 9893"/>
                <a:gd name="connsiteX46" fmla="*/ 6597 w 10000"/>
                <a:gd name="connsiteY46" fmla="*/ 4024 h 9893"/>
                <a:gd name="connsiteX47" fmla="*/ 6590 w 10000"/>
                <a:gd name="connsiteY47" fmla="*/ 3950 h 9893"/>
                <a:gd name="connsiteX48" fmla="*/ 6597 w 10000"/>
                <a:gd name="connsiteY48" fmla="*/ 3879 h 9893"/>
                <a:gd name="connsiteX49" fmla="*/ 6605 w 10000"/>
                <a:gd name="connsiteY49" fmla="*/ 3801 h 9893"/>
                <a:gd name="connsiteX50" fmla="*/ 6605 w 10000"/>
                <a:gd name="connsiteY50" fmla="*/ 3724 h 9893"/>
                <a:gd name="connsiteX51" fmla="*/ 6612 w 10000"/>
                <a:gd name="connsiteY51" fmla="*/ 3648 h 9893"/>
                <a:gd name="connsiteX52" fmla="*/ 6620 w 10000"/>
                <a:gd name="connsiteY52" fmla="*/ 3571 h 9893"/>
                <a:gd name="connsiteX53" fmla="*/ 6635 w 10000"/>
                <a:gd name="connsiteY53" fmla="*/ 3505 h 9893"/>
                <a:gd name="connsiteX54" fmla="*/ 6649 w 10000"/>
                <a:gd name="connsiteY54" fmla="*/ 3426 h 9893"/>
                <a:gd name="connsiteX55" fmla="*/ 6664 w 10000"/>
                <a:gd name="connsiteY55" fmla="*/ 3356 h 9893"/>
                <a:gd name="connsiteX56" fmla="*/ 6686 w 10000"/>
                <a:gd name="connsiteY56" fmla="*/ 3280 h 9893"/>
                <a:gd name="connsiteX57" fmla="*/ 6709 w 10000"/>
                <a:gd name="connsiteY57" fmla="*/ 3212 h 9893"/>
                <a:gd name="connsiteX58" fmla="*/ 6731 w 10000"/>
                <a:gd name="connsiteY58" fmla="*/ 3140 h 9893"/>
                <a:gd name="connsiteX59" fmla="*/ 6753 w 10000"/>
                <a:gd name="connsiteY59" fmla="*/ 3065 h 9893"/>
                <a:gd name="connsiteX60" fmla="*/ 6783 w 10000"/>
                <a:gd name="connsiteY60" fmla="*/ 3003 h 9893"/>
                <a:gd name="connsiteX61" fmla="*/ 6812 w 10000"/>
                <a:gd name="connsiteY61" fmla="*/ 2931 h 9893"/>
                <a:gd name="connsiteX62" fmla="*/ 6842 w 10000"/>
                <a:gd name="connsiteY62" fmla="*/ 2858 h 9893"/>
                <a:gd name="connsiteX63" fmla="*/ 6879 w 10000"/>
                <a:gd name="connsiteY63" fmla="*/ 2792 h 9893"/>
                <a:gd name="connsiteX64" fmla="*/ 6909 w 10000"/>
                <a:gd name="connsiteY64" fmla="*/ 2727 h 9893"/>
                <a:gd name="connsiteX65" fmla="*/ 6946 w 10000"/>
                <a:gd name="connsiteY65" fmla="*/ 2652 h 9893"/>
                <a:gd name="connsiteX66" fmla="*/ 6990 w 10000"/>
                <a:gd name="connsiteY66" fmla="*/ 2593 h 9893"/>
                <a:gd name="connsiteX67" fmla="*/ 7027 w 10000"/>
                <a:gd name="connsiteY67" fmla="*/ 2526 h 9893"/>
                <a:gd name="connsiteX68" fmla="*/ 7072 w 10000"/>
                <a:gd name="connsiteY68" fmla="*/ 2465 h 9893"/>
                <a:gd name="connsiteX69" fmla="*/ 7109 w 10000"/>
                <a:gd name="connsiteY69" fmla="*/ 2395 h 9893"/>
                <a:gd name="connsiteX70" fmla="*/ 7161 w 10000"/>
                <a:gd name="connsiteY70" fmla="*/ 2340 h 9893"/>
                <a:gd name="connsiteX71" fmla="*/ 7213 w 10000"/>
                <a:gd name="connsiteY71" fmla="*/ 2272 h 9893"/>
                <a:gd name="connsiteX72" fmla="*/ 7257 w 10000"/>
                <a:gd name="connsiteY72" fmla="*/ 2212 h 9893"/>
                <a:gd name="connsiteX73" fmla="*/ 7309 w 10000"/>
                <a:gd name="connsiteY73" fmla="*/ 2151 h 9893"/>
                <a:gd name="connsiteX74" fmla="*/ 7361 w 10000"/>
                <a:gd name="connsiteY74" fmla="*/ 2086 h 9893"/>
                <a:gd name="connsiteX75" fmla="*/ 7413 w 10000"/>
                <a:gd name="connsiteY75" fmla="*/ 2032 h 9893"/>
                <a:gd name="connsiteX76" fmla="*/ 7472 w 10000"/>
                <a:gd name="connsiteY76" fmla="*/ 1972 h 9893"/>
                <a:gd name="connsiteX77" fmla="*/ 7524 w 10000"/>
                <a:gd name="connsiteY77" fmla="*/ 1919 h 9893"/>
                <a:gd name="connsiteX78" fmla="*/ 7583 w 10000"/>
                <a:gd name="connsiteY78" fmla="*/ 1861 h 9893"/>
                <a:gd name="connsiteX79" fmla="*/ 7610 w 10000"/>
                <a:gd name="connsiteY79" fmla="*/ 1827 h 9893"/>
                <a:gd name="connsiteX80" fmla="*/ 5390 w 10000"/>
                <a:gd name="connsiteY80" fmla="*/ 6 h 9893"/>
                <a:gd name="connsiteX81" fmla="*/ 1401 w 10000"/>
                <a:gd name="connsiteY81" fmla="*/ 0 h 9893"/>
                <a:gd name="connsiteX82" fmla="*/ 1305 w 10000"/>
                <a:gd name="connsiteY82" fmla="*/ 136 h 9893"/>
                <a:gd name="connsiteX83" fmla="*/ 1223 w 10000"/>
                <a:gd name="connsiteY83" fmla="*/ 241 h 9893"/>
                <a:gd name="connsiteX84" fmla="*/ 1149 w 10000"/>
                <a:gd name="connsiteY84" fmla="*/ 354 h 9893"/>
                <a:gd name="connsiteX85" fmla="*/ 1067 w 10000"/>
                <a:gd name="connsiteY85" fmla="*/ 468 h 9893"/>
                <a:gd name="connsiteX86" fmla="*/ 1001 w 10000"/>
                <a:gd name="connsiteY86" fmla="*/ 581 h 9893"/>
                <a:gd name="connsiteX87" fmla="*/ 927 w 10000"/>
                <a:gd name="connsiteY87" fmla="*/ 694 h 9893"/>
                <a:gd name="connsiteX88" fmla="*/ 860 w 10000"/>
                <a:gd name="connsiteY88" fmla="*/ 813 h 9893"/>
                <a:gd name="connsiteX89" fmla="*/ 793 w 10000"/>
                <a:gd name="connsiteY89" fmla="*/ 934 h 9893"/>
                <a:gd name="connsiteX90" fmla="*/ 734 w 10000"/>
                <a:gd name="connsiteY90" fmla="*/ 1044 h 9893"/>
                <a:gd name="connsiteX91" fmla="*/ 675 w 10000"/>
                <a:gd name="connsiteY91" fmla="*/ 1166 h 9893"/>
                <a:gd name="connsiteX92" fmla="*/ 615 w 10000"/>
                <a:gd name="connsiteY92" fmla="*/ 1281 h 9893"/>
                <a:gd name="connsiteX93" fmla="*/ 556 w 10000"/>
                <a:gd name="connsiteY93" fmla="*/ 1407 h 9893"/>
                <a:gd name="connsiteX94" fmla="*/ 504 w 10000"/>
                <a:gd name="connsiteY94" fmla="*/ 1521 h 9893"/>
                <a:gd name="connsiteX95" fmla="*/ 452 w 10000"/>
                <a:gd name="connsiteY95" fmla="*/ 1641 h 9893"/>
                <a:gd name="connsiteX96" fmla="*/ 408 w 10000"/>
                <a:gd name="connsiteY96" fmla="*/ 1762 h 9893"/>
                <a:gd name="connsiteX97" fmla="*/ 363 w 10000"/>
                <a:gd name="connsiteY97" fmla="*/ 1884 h 9893"/>
                <a:gd name="connsiteX98" fmla="*/ 319 w 10000"/>
                <a:gd name="connsiteY98" fmla="*/ 2012 h 9893"/>
                <a:gd name="connsiteX99" fmla="*/ 282 w 10000"/>
                <a:gd name="connsiteY99" fmla="*/ 2135 h 9893"/>
                <a:gd name="connsiteX100" fmla="*/ 237 w 10000"/>
                <a:gd name="connsiteY100" fmla="*/ 2262 h 9893"/>
                <a:gd name="connsiteX101" fmla="*/ 208 w 10000"/>
                <a:gd name="connsiteY101" fmla="*/ 2386 h 9893"/>
                <a:gd name="connsiteX102" fmla="*/ 170 w 10000"/>
                <a:gd name="connsiteY102" fmla="*/ 2514 h 9893"/>
                <a:gd name="connsiteX103" fmla="*/ 148 w 10000"/>
                <a:gd name="connsiteY103" fmla="*/ 2643 h 9893"/>
                <a:gd name="connsiteX104" fmla="*/ 119 w 10000"/>
                <a:gd name="connsiteY104" fmla="*/ 2770 h 9893"/>
                <a:gd name="connsiteX105" fmla="*/ 96 w 10000"/>
                <a:gd name="connsiteY105" fmla="*/ 2896 h 9893"/>
                <a:gd name="connsiteX106" fmla="*/ 74 w 10000"/>
                <a:gd name="connsiteY106" fmla="*/ 3028 h 9893"/>
                <a:gd name="connsiteX107" fmla="*/ 52 w 10000"/>
                <a:gd name="connsiteY107" fmla="*/ 3163 h 9893"/>
                <a:gd name="connsiteX108" fmla="*/ 37 w 10000"/>
                <a:gd name="connsiteY108" fmla="*/ 3291 h 9893"/>
                <a:gd name="connsiteX109" fmla="*/ 22 w 10000"/>
                <a:gd name="connsiteY109" fmla="*/ 3420 h 9893"/>
                <a:gd name="connsiteX110" fmla="*/ 15 w 10000"/>
                <a:gd name="connsiteY110" fmla="*/ 3551 h 9893"/>
                <a:gd name="connsiteX111" fmla="*/ 7 w 10000"/>
                <a:gd name="connsiteY111" fmla="*/ 3684 h 9893"/>
                <a:gd name="connsiteX112" fmla="*/ 0 w 10000"/>
                <a:gd name="connsiteY112" fmla="*/ 3814 h 9893"/>
                <a:gd name="connsiteX113" fmla="*/ 0 w 10000"/>
                <a:gd name="connsiteY113" fmla="*/ 3950 h 9893"/>
                <a:gd name="connsiteX114" fmla="*/ 7 w 10000"/>
                <a:gd name="connsiteY114" fmla="*/ 4122 h 9893"/>
                <a:gd name="connsiteX115" fmla="*/ 7 w 10000"/>
                <a:gd name="connsiteY115" fmla="*/ 4294 h 9893"/>
                <a:gd name="connsiteX116" fmla="*/ 22 w 10000"/>
                <a:gd name="connsiteY116" fmla="*/ 4455 h 9893"/>
                <a:gd name="connsiteX117" fmla="*/ 37 w 10000"/>
                <a:gd name="connsiteY117" fmla="*/ 4624 h 9893"/>
                <a:gd name="connsiteX118" fmla="*/ 59 w 10000"/>
                <a:gd name="connsiteY118" fmla="*/ 4791 h 9893"/>
                <a:gd name="connsiteX119" fmla="*/ 89 w 10000"/>
                <a:gd name="connsiteY119" fmla="*/ 4958 h 9893"/>
                <a:gd name="connsiteX120" fmla="*/ 119 w 10000"/>
                <a:gd name="connsiteY120" fmla="*/ 5124 h 9893"/>
                <a:gd name="connsiteX121" fmla="*/ 148 w 10000"/>
                <a:gd name="connsiteY121" fmla="*/ 5290 h 9893"/>
                <a:gd name="connsiteX122" fmla="*/ 193 w 10000"/>
                <a:gd name="connsiteY122" fmla="*/ 5454 h 9893"/>
                <a:gd name="connsiteX123" fmla="*/ 237 w 10000"/>
                <a:gd name="connsiteY123" fmla="*/ 5614 h 9893"/>
                <a:gd name="connsiteX124" fmla="*/ 282 w 10000"/>
                <a:gd name="connsiteY124" fmla="*/ 5778 h 9893"/>
                <a:gd name="connsiteX125" fmla="*/ 334 w 10000"/>
                <a:gd name="connsiteY125" fmla="*/ 5937 h 9893"/>
                <a:gd name="connsiteX126" fmla="*/ 393 w 10000"/>
                <a:gd name="connsiteY126" fmla="*/ 6092 h 9893"/>
                <a:gd name="connsiteX127" fmla="*/ 452 w 10000"/>
                <a:gd name="connsiteY127" fmla="*/ 6251 h 9893"/>
                <a:gd name="connsiteX128" fmla="*/ 519 w 10000"/>
                <a:gd name="connsiteY128" fmla="*/ 6406 h 9893"/>
                <a:gd name="connsiteX129" fmla="*/ 586 w 10000"/>
                <a:gd name="connsiteY129" fmla="*/ 6566 h 9893"/>
                <a:gd name="connsiteX130" fmla="*/ 660 w 10000"/>
                <a:gd name="connsiteY130" fmla="*/ 6714 h 9893"/>
                <a:gd name="connsiteX131" fmla="*/ 741 w 10000"/>
                <a:gd name="connsiteY131" fmla="*/ 6863 h 9893"/>
                <a:gd name="connsiteX132" fmla="*/ 823 w 10000"/>
                <a:gd name="connsiteY132" fmla="*/ 7021 h 9893"/>
                <a:gd name="connsiteX133" fmla="*/ 904 w 10000"/>
                <a:gd name="connsiteY133" fmla="*/ 7166 h 9893"/>
                <a:gd name="connsiteX134" fmla="*/ 993 w 10000"/>
                <a:gd name="connsiteY134" fmla="*/ 7312 h 9893"/>
                <a:gd name="connsiteX135" fmla="*/ 1090 w 10000"/>
                <a:gd name="connsiteY135" fmla="*/ 7449 h 9893"/>
                <a:gd name="connsiteX136" fmla="*/ 1186 w 10000"/>
                <a:gd name="connsiteY136" fmla="*/ 7599 h 9893"/>
                <a:gd name="connsiteX137" fmla="*/ 1290 w 10000"/>
                <a:gd name="connsiteY137" fmla="*/ 7743 h 9893"/>
                <a:gd name="connsiteX138" fmla="*/ 1386 w 10000"/>
                <a:gd name="connsiteY138" fmla="*/ 7884 h 9893"/>
                <a:gd name="connsiteX139" fmla="*/ 1497 w 10000"/>
                <a:gd name="connsiteY139" fmla="*/ 8025 h 9893"/>
                <a:gd name="connsiteX140" fmla="*/ 1609 w 10000"/>
                <a:gd name="connsiteY140" fmla="*/ 8159 h 9893"/>
                <a:gd name="connsiteX141" fmla="*/ 1727 w 10000"/>
                <a:gd name="connsiteY141" fmla="*/ 8300 h 9893"/>
                <a:gd name="connsiteX142" fmla="*/ 1846 w 10000"/>
                <a:gd name="connsiteY142" fmla="*/ 8433 h 9893"/>
                <a:gd name="connsiteX143" fmla="*/ 1964 w 10000"/>
                <a:gd name="connsiteY143" fmla="*/ 8561 h 9893"/>
                <a:gd name="connsiteX144" fmla="*/ 2090 w 10000"/>
                <a:gd name="connsiteY144" fmla="*/ 8689 h 9893"/>
                <a:gd name="connsiteX145" fmla="*/ 2224 w 10000"/>
                <a:gd name="connsiteY145" fmla="*/ 8821 h 9893"/>
                <a:gd name="connsiteX146" fmla="*/ 2350 w 10000"/>
                <a:gd name="connsiteY146" fmla="*/ 8950 h 9893"/>
                <a:gd name="connsiteX147" fmla="*/ 2491 w 10000"/>
                <a:gd name="connsiteY147" fmla="*/ 9074 h 9893"/>
                <a:gd name="connsiteX148" fmla="*/ 2617 w 10000"/>
                <a:gd name="connsiteY148" fmla="*/ 9199 h 9893"/>
                <a:gd name="connsiteX149" fmla="*/ 2765 w 10000"/>
                <a:gd name="connsiteY149" fmla="*/ 9319 h 9893"/>
                <a:gd name="connsiteX150" fmla="*/ 2906 w 10000"/>
                <a:gd name="connsiteY150" fmla="*/ 9436 h 9893"/>
                <a:gd name="connsiteX151" fmla="*/ 3054 w 10000"/>
                <a:gd name="connsiteY151" fmla="*/ 9554 h 9893"/>
                <a:gd name="connsiteX152" fmla="*/ 3210 w 10000"/>
                <a:gd name="connsiteY152" fmla="*/ 9668 h 9893"/>
                <a:gd name="connsiteX153" fmla="*/ 3358 w 10000"/>
                <a:gd name="connsiteY153" fmla="*/ 9781 h 9893"/>
                <a:gd name="connsiteX154" fmla="*/ 3514 w 10000"/>
                <a:gd name="connsiteY154" fmla="*/ 9893 h 9893"/>
                <a:gd name="connsiteX155" fmla="*/ 7539 w 10000"/>
                <a:gd name="connsiteY155" fmla="*/ 9102 h 9893"/>
                <a:gd name="connsiteX156" fmla="*/ 10000 w 10000"/>
                <a:gd name="connsiteY156" fmla="*/ 7203 h 9893"/>
                <a:gd name="connsiteX0" fmla="*/ 10000 w 10000"/>
                <a:gd name="connsiteY0" fmla="*/ 7281 h 9887"/>
                <a:gd name="connsiteX1" fmla="*/ 10000 w 10000"/>
                <a:gd name="connsiteY1" fmla="*/ 7281 h 9887"/>
                <a:gd name="connsiteX2" fmla="*/ 9911 w 10000"/>
                <a:gd name="connsiteY2" fmla="*/ 7264 h 9887"/>
                <a:gd name="connsiteX3" fmla="*/ 9815 w 10000"/>
                <a:gd name="connsiteY3" fmla="*/ 7244 h 9887"/>
                <a:gd name="connsiteX4" fmla="*/ 9726 w 10000"/>
                <a:gd name="connsiteY4" fmla="*/ 7224 h 9887"/>
                <a:gd name="connsiteX5" fmla="*/ 9637 w 10000"/>
                <a:gd name="connsiteY5" fmla="*/ 7193 h 9887"/>
                <a:gd name="connsiteX6" fmla="*/ 9548 w 10000"/>
                <a:gd name="connsiteY6" fmla="*/ 7172 h 9887"/>
                <a:gd name="connsiteX7" fmla="*/ 9466 w 10000"/>
                <a:gd name="connsiteY7" fmla="*/ 7145 h 9887"/>
                <a:gd name="connsiteX8" fmla="*/ 9377 w 10000"/>
                <a:gd name="connsiteY8" fmla="*/ 7120 h 9887"/>
                <a:gd name="connsiteX9" fmla="*/ 9288 w 10000"/>
                <a:gd name="connsiteY9" fmla="*/ 7092 h 9887"/>
                <a:gd name="connsiteX10" fmla="*/ 9118 w 10000"/>
                <a:gd name="connsiteY10" fmla="*/ 7031 h 9887"/>
                <a:gd name="connsiteX11" fmla="*/ 8955 w 10000"/>
                <a:gd name="connsiteY11" fmla="*/ 6965 h 9887"/>
                <a:gd name="connsiteX12" fmla="*/ 8792 w 10000"/>
                <a:gd name="connsiteY12" fmla="*/ 6897 h 9887"/>
                <a:gd name="connsiteX13" fmla="*/ 8636 w 10000"/>
                <a:gd name="connsiteY13" fmla="*/ 6818 h 9887"/>
                <a:gd name="connsiteX14" fmla="*/ 8480 w 10000"/>
                <a:gd name="connsiteY14" fmla="*/ 6739 h 9887"/>
                <a:gd name="connsiteX15" fmla="*/ 8340 w 10000"/>
                <a:gd name="connsiteY15" fmla="*/ 6664 h 9887"/>
                <a:gd name="connsiteX16" fmla="*/ 8199 w 10000"/>
                <a:gd name="connsiteY16" fmla="*/ 6573 h 9887"/>
                <a:gd name="connsiteX17" fmla="*/ 8058 w 10000"/>
                <a:gd name="connsiteY17" fmla="*/ 6479 h 9887"/>
                <a:gd name="connsiteX18" fmla="*/ 7924 w 10000"/>
                <a:gd name="connsiteY18" fmla="*/ 6384 h 9887"/>
                <a:gd name="connsiteX19" fmla="*/ 7798 w 10000"/>
                <a:gd name="connsiteY19" fmla="*/ 6281 h 9887"/>
                <a:gd name="connsiteX20" fmla="*/ 7672 w 10000"/>
                <a:gd name="connsiteY20" fmla="*/ 6182 h 9887"/>
                <a:gd name="connsiteX21" fmla="*/ 7554 w 10000"/>
                <a:gd name="connsiteY21" fmla="*/ 6078 h 9887"/>
                <a:gd name="connsiteX22" fmla="*/ 7450 w 10000"/>
                <a:gd name="connsiteY22" fmla="*/ 5965 h 9887"/>
                <a:gd name="connsiteX23" fmla="*/ 7346 w 10000"/>
                <a:gd name="connsiteY23" fmla="*/ 5851 h 9887"/>
                <a:gd name="connsiteX24" fmla="*/ 7250 w 10000"/>
                <a:gd name="connsiteY24" fmla="*/ 5735 h 9887"/>
                <a:gd name="connsiteX25" fmla="*/ 7161 w 10000"/>
                <a:gd name="connsiteY25" fmla="*/ 5618 h 9887"/>
                <a:gd name="connsiteX26" fmla="*/ 7072 w 10000"/>
                <a:gd name="connsiteY26" fmla="*/ 5495 h 9887"/>
                <a:gd name="connsiteX27" fmla="*/ 6990 w 10000"/>
                <a:gd name="connsiteY27" fmla="*/ 5364 h 9887"/>
                <a:gd name="connsiteX28" fmla="*/ 6953 w 10000"/>
                <a:gd name="connsiteY28" fmla="*/ 5308 h 9887"/>
                <a:gd name="connsiteX29" fmla="*/ 6916 w 10000"/>
                <a:gd name="connsiteY29" fmla="*/ 5237 h 9887"/>
                <a:gd name="connsiteX30" fmla="*/ 6887 w 10000"/>
                <a:gd name="connsiteY30" fmla="*/ 5175 h 9887"/>
                <a:gd name="connsiteX31" fmla="*/ 6850 w 10000"/>
                <a:gd name="connsiteY31" fmla="*/ 5109 h 9887"/>
                <a:gd name="connsiteX32" fmla="*/ 6820 w 10000"/>
                <a:gd name="connsiteY32" fmla="*/ 5044 h 9887"/>
                <a:gd name="connsiteX33" fmla="*/ 6790 w 10000"/>
                <a:gd name="connsiteY33" fmla="*/ 4977 h 9887"/>
                <a:gd name="connsiteX34" fmla="*/ 6768 w 10000"/>
                <a:gd name="connsiteY34" fmla="*/ 4908 h 9887"/>
                <a:gd name="connsiteX35" fmla="*/ 6738 w 10000"/>
                <a:gd name="connsiteY35" fmla="*/ 4843 h 9887"/>
                <a:gd name="connsiteX36" fmla="*/ 6723 w 10000"/>
                <a:gd name="connsiteY36" fmla="*/ 4770 h 9887"/>
                <a:gd name="connsiteX37" fmla="*/ 6694 w 10000"/>
                <a:gd name="connsiteY37" fmla="*/ 4704 h 9887"/>
                <a:gd name="connsiteX38" fmla="*/ 6679 w 10000"/>
                <a:gd name="connsiteY38" fmla="*/ 4634 h 9887"/>
                <a:gd name="connsiteX39" fmla="*/ 6664 w 10000"/>
                <a:gd name="connsiteY39" fmla="*/ 4567 h 9887"/>
                <a:gd name="connsiteX40" fmla="*/ 6649 w 10000"/>
                <a:gd name="connsiteY40" fmla="*/ 4493 h 9887"/>
                <a:gd name="connsiteX41" fmla="*/ 6635 w 10000"/>
                <a:gd name="connsiteY41" fmla="*/ 4427 h 9887"/>
                <a:gd name="connsiteX42" fmla="*/ 6620 w 10000"/>
                <a:gd name="connsiteY42" fmla="*/ 4357 h 9887"/>
                <a:gd name="connsiteX43" fmla="*/ 6612 w 10000"/>
                <a:gd name="connsiteY43" fmla="*/ 4288 h 9887"/>
                <a:gd name="connsiteX44" fmla="*/ 6605 w 10000"/>
                <a:gd name="connsiteY44" fmla="*/ 4214 h 9887"/>
                <a:gd name="connsiteX45" fmla="*/ 6597 w 10000"/>
                <a:gd name="connsiteY45" fmla="*/ 4138 h 9887"/>
                <a:gd name="connsiteX46" fmla="*/ 6597 w 10000"/>
                <a:gd name="connsiteY46" fmla="*/ 4068 h 9887"/>
                <a:gd name="connsiteX47" fmla="*/ 6590 w 10000"/>
                <a:gd name="connsiteY47" fmla="*/ 3993 h 9887"/>
                <a:gd name="connsiteX48" fmla="*/ 6597 w 10000"/>
                <a:gd name="connsiteY48" fmla="*/ 3921 h 9887"/>
                <a:gd name="connsiteX49" fmla="*/ 6605 w 10000"/>
                <a:gd name="connsiteY49" fmla="*/ 3842 h 9887"/>
                <a:gd name="connsiteX50" fmla="*/ 6605 w 10000"/>
                <a:gd name="connsiteY50" fmla="*/ 3764 h 9887"/>
                <a:gd name="connsiteX51" fmla="*/ 6612 w 10000"/>
                <a:gd name="connsiteY51" fmla="*/ 3687 h 9887"/>
                <a:gd name="connsiteX52" fmla="*/ 6620 w 10000"/>
                <a:gd name="connsiteY52" fmla="*/ 3610 h 9887"/>
                <a:gd name="connsiteX53" fmla="*/ 6635 w 10000"/>
                <a:gd name="connsiteY53" fmla="*/ 3543 h 9887"/>
                <a:gd name="connsiteX54" fmla="*/ 6649 w 10000"/>
                <a:gd name="connsiteY54" fmla="*/ 3463 h 9887"/>
                <a:gd name="connsiteX55" fmla="*/ 6664 w 10000"/>
                <a:gd name="connsiteY55" fmla="*/ 3392 h 9887"/>
                <a:gd name="connsiteX56" fmla="*/ 6686 w 10000"/>
                <a:gd name="connsiteY56" fmla="*/ 3315 h 9887"/>
                <a:gd name="connsiteX57" fmla="*/ 6709 w 10000"/>
                <a:gd name="connsiteY57" fmla="*/ 3247 h 9887"/>
                <a:gd name="connsiteX58" fmla="*/ 6731 w 10000"/>
                <a:gd name="connsiteY58" fmla="*/ 3174 h 9887"/>
                <a:gd name="connsiteX59" fmla="*/ 6753 w 10000"/>
                <a:gd name="connsiteY59" fmla="*/ 3098 h 9887"/>
                <a:gd name="connsiteX60" fmla="*/ 6783 w 10000"/>
                <a:gd name="connsiteY60" fmla="*/ 3035 h 9887"/>
                <a:gd name="connsiteX61" fmla="*/ 6812 w 10000"/>
                <a:gd name="connsiteY61" fmla="*/ 2963 h 9887"/>
                <a:gd name="connsiteX62" fmla="*/ 6842 w 10000"/>
                <a:gd name="connsiteY62" fmla="*/ 2889 h 9887"/>
                <a:gd name="connsiteX63" fmla="*/ 6879 w 10000"/>
                <a:gd name="connsiteY63" fmla="*/ 2822 h 9887"/>
                <a:gd name="connsiteX64" fmla="*/ 6909 w 10000"/>
                <a:gd name="connsiteY64" fmla="*/ 2756 h 9887"/>
                <a:gd name="connsiteX65" fmla="*/ 6946 w 10000"/>
                <a:gd name="connsiteY65" fmla="*/ 2681 h 9887"/>
                <a:gd name="connsiteX66" fmla="*/ 6990 w 10000"/>
                <a:gd name="connsiteY66" fmla="*/ 2621 h 9887"/>
                <a:gd name="connsiteX67" fmla="*/ 7027 w 10000"/>
                <a:gd name="connsiteY67" fmla="*/ 2553 h 9887"/>
                <a:gd name="connsiteX68" fmla="*/ 7072 w 10000"/>
                <a:gd name="connsiteY68" fmla="*/ 2492 h 9887"/>
                <a:gd name="connsiteX69" fmla="*/ 7109 w 10000"/>
                <a:gd name="connsiteY69" fmla="*/ 2421 h 9887"/>
                <a:gd name="connsiteX70" fmla="*/ 7161 w 10000"/>
                <a:gd name="connsiteY70" fmla="*/ 2365 h 9887"/>
                <a:gd name="connsiteX71" fmla="*/ 7213 w 10000"/>
                <a:gd name="connsiteY71" fmla="*/ 2297 h 9887"/>
                <a:gd name="connsiteX72" fmla="*/ 7257 w 10000"/>
                <a:gd name="connsiteY72" fmla="*/ 2236 h 9887"/>
                <a:gd name="connsiteX73" fmla="*/ 7309 w 10000"/>
                <a:gd name="connsiteY73" fmla="*/ 2174 h 9887"/>
                <a:gd name="connsiteX74" fmla="*/ 7361 w 10000"/>
                <a:gd name="connsiteY74" fmla="*/ 2109 h 9887"/>
                <a:gd name="connsiteX75" fmla="*/ 7413 w 10000"/>
                <a:gd name="connsiteY75" fmla="*/ 2054 h 9887"/>
                <a:gd name="connsiteX76" fmla="*/ 7472 w 10000"/>
                <a:gd name="connsiteY76" fmla="*/ 1993 h 9887"/>
                <a:gd name="connsiteX77" fmla="*/ 7524 w 10000"/>
                <a:gd name="connsiteY77" fmla="*/ 1940 h 9887"/>
                <a:gd name="connsiteX78" fmla="*/ 7583 w 10000"/>
                <a:gd name="connsiteY78" fmla="*/ 1881 h 9887"/>
                <a:gd name="connsiteX79" fmla="*/ 7610 w 10000"/>
                <a:gd name="connsiteY79" fmla="*/ 1847 h 9887"/>
                <a:gd name="connsiteX80" fmla="*/ 5390 w 10000"/>
                <a:gd name="connsiteY80" fmla="*/ 6 h 9887"/>
                <a:gd name="connsiteX81" fmla="*/ 1401 w 10000"/>
                <a:gd name="connsiteY81" fmla="*/ 0 h 9887"/>
                <a:gd name="connsiteX82" fmla="*/ 1305 w 10000"/>
                <a:gd name="connsiteY82" fmla="*/ 137 h 9887"/>
                <a:gd name="connsiteX83" fmla="*/ 1223 w 10000"/>
                <a:gd name="connsiteY83" fmla="*/ 244 h 9887"/>
                <a:gd name="connsiteX84" fmla="*/ 1149 w 10000"/>
                <a:gd name="connsiteY84" fmla="*/ 358 h 9887"/>
                <a:gd name="connsiteX85" fmla="*/ 1067 w 10000"/>
                <a:gd name="connsiteY85" fmla="*/ 473 h 9887"/>
                <a:gd name="connsiteX86" fmla="*/ 1001 w 10000"/>
                <a:gd name="connsiteY86" fmla="*/ 587 h 9887"/>
                <a:gd name="connsiteX87" fmla="*/ 927 w 10000"/>
                <a:gd name="connsiteY87" fmla="*/ 702 h 9887"/>
                <a:gd name="connsiteX88" fmla="*/ 860 w 10000"/>
                <a:gd name="connsiteY88" fmla="*/ 822 h 9887"/>
                <a:gd name="connsiteX89" fmla="*/ 793 w 10000"/>
                <a:gd name="connsiteY89" fmla="*/ 944 h 9887"/>
                <a:gd name="connsiteX90" fmla="*/ 734 w 10000"/>
                <a:gd name="connsiteY90" fmla="*/ 1055 h 9887"/>
                <a:gd name="connsiteX91" fmla="*/ 675 w 10000"/>
                <a:gd name="connsiteY91" fmla="*/ 1179 h 9887"/>
                <a:gd name="connsiteX92" fmla="*/ 615 w 10000"/>
                <a:gd name="connsiteY92" fmla="*/ 1295 h 9887"/>
                <a:gd name="connsiteX93" fmla="*/ 556 w 10000"/>
                <a:gd name="connsiteY93" fmla="*/ 1422 h 9887"/>
                <a:gd name="connsiteX94" fmla="*/ 504 w 10000"/>
                <a:gd name="connsiteY94" fmla="*/ 1537 h 9887"/>
                <a:gd name="connsiteX95" fmla="*/ 452 w 10000"/>
                <a:gd name="connsiteY95" fmla="*/ 1659 h 9887"/>
                <a:gd name="connsiteX96" fmla="*/ 408 w 10000"/>
                <a:gd name="connsiteY96" fmla="*/ 1781 h 9887"/>
                <a:gd name="connsiteX97" fmla="*/ 363 w 10000"/>
                <a:gd name="connsiteY97" fmla="*/ 1904 h 9887"/>
                <a:gd name="connsiteX98" fmla="*/ 319 w 10000"/>
                <a:gd name="connsiteY98" fmla="*/ 2034 h 9887"/>
                <a:gd name="connsiteX99" fmla="*/ 282 w 10000"/>
                <a:gd name="connsiteY99" fmla="*/ 2158 h 9887"/>
                <a:gd name="connsiteX100" fmla="*/ 237 w 10000"/>
                <a:gd name="connsiteY100" fmla="*/ 2286 h 9887"/>
                <a:gd name="connsiteX101" fmla="*/ 208 w 10000"/>
                <a:gd name="connsiteY101" fmla="*/ 2412 h 9887"/>
                <a:gd name="connsiteX102" fmla="*/ 170 w 10000"/>
                <a:gd name="connsiteY102" fmla="*/ 2541 h 9887"/>
                <a:gd name="connsiteX103" fmla="*/ 148 w 10000"/>
                <a:gd name="connsiteY103" fmla="*/ 2672 h 9887"/>
                <a:gd name="connsiteX104" fmla="*/ 119 w 10000"/>
                <a:gd name="connsiteY104" fmla="*/ 2800 h 9887"/>
                <a:gd name="connsiteX105" fmla="*/ 96 w 10000"/>
                <a:gd name="connsiteY105" fmla="*/ 2927 h 9887"/>
                <a:gd name="connsiteX106" fmla="*/ 74 w 10000"/>
                <a:gd name="connsiteY106" fmla="*/ 3061 h 9887"/>
                <a:gd name="connsiteX107" fmla="*/ 52 w 10000"/>
                <a:gd name="connsiteY107" fmla="*/ 3197 h 9887"/>
                <a:gd name="connsiteX108" fmla="*/ 37 w 10000"/>
                <a:gd name="connsiteY108" fmla="*/ 3327 h 9887"/>
                <a:gd name="connsiteX109" fmla="*/ 22 w 10000"/>
                <a:gd name="connsiteY109" fmla="*/ 3457 h 9887"/>
                <a:gd name="connsiteX110" fmla="*/ 15 w 10000"/>
                <a:gd name="connsiteY110" fmla="*/ 3589 h 9887"/>
                <a:gd name="connsiteX111" fmla="*/ 7 w 10000"/>
                <a:gd name="connsiteY111" fmla="*/ 3724 h 9887"/>
                <a:gd name="connsiteX112" fmla="*/ 0 w 10000"/>
                <a:gd name="connsiteY112" fmla="*/ 3855 h 9887"/>
                <a:gd name="connsiteX113" fmla="*/ 0 w 10000"/>
                <a:gd name="connsiteY113" fmla="*/ 3993 h 9887"/>
                <a:gd name="connsiteX114" fmla="*/ 7 w 10000"/>
                <a:gd name="connsiteY114" fmla="*/ 4167 h 9887"/>
                <a:gd name="connsiteX115" fmla="*/ 7 w 10000"/>
                <a:gd name="connsiteY115" fmla="*/ 4340 h 9887"/>
                <a:gd name="connsiteX116" fmla="*/ 22 w 10000"/>
                <a:gd name="connsiteY116" fmla="*/ 4503 h 9887"/>
                <a:gd name="connsiteX117" fmla="*/ 37 w 10000"/>
                <a:gd name="connsiteY117" fmla="*/ 4674 h 9887"/>
                <a:gd name="connsiteX118" fmla="*/ 59 w 10000"/>
                <a:gd name="connsiteY118" fmla="*/ 4843 h 9887"/>
                <a:gd name="connsiteX119" fmla="*/ 89 w 10000"/>
                <a:gd name="connsiteY119" fmla="*/ 5012 h 9887"/>
                <a:gd name="connsiteX120" fmla="*/ 119 w 10000"/>
                <a:gd name="connsiteY120" fmla="*/ 5179 h 9887"/>
                <a:gd name="connsiteX121" fmla="*/ 148 w 10000"/>
                <a:gd name="connsiteY121" fmla="*/ 5347 h 9887"/>
                <a:gd name="connsiteX122" fmla="*/ 193 w 10000"/>
                <a:gd name="connsiteY122" fmla="*/ 5513 h 9887"/>
                <a:gd name="connsiteX123" fmla="*/ 237 w 10000"/>
                <a:gd name="connsiteY123" fmla="*/ 5675 h 9887"/>
                <a:gd name="connsiteX124" fmla="*/ 282 w 10000"/>
                <a:gd name="connsiteY124" fmla="*/ 5840 h 9887"/>
                <a:gd name="connsiteX125" fmla="*/ 334 w 10000"/>
                <a:gd name="connsiteY125" fmla="*/ 6001 h 9887"/>
                <a:gd name="connsiteX126" fmla="*/ 393 w 10000"/>
                <a:gd name="connsiteY126" fmla="*/ 6158 h 9887"/>
                <a:gd name="connsiteX127" fmla="*/ 452 w 10000"/>
                <a:gd name="connsiteY127" fmla="*/ 6319 h 9887"/>
                <a:gd name="connsiteX128" fmla="*/ 519 w 10000"/>
                <a:gd name="connsiteY128" fmla="*/ 6475 h 9887"/>
                <a:gd name="connsiteX129" fmla="*/ 586 w 10000"/>
                <a:gd name="connsiteY129" fmla="*/ 6637 h 9887"/>
                <a:gd name="connsiteX130" fmla="*/ 660 w 10000"/>
                <a:gd name="connsiteY130" fmla="*/ 6787 h 9887"/>
                <a:gd name="connsiteX131" fmla="*/ 741 w 10000"/>
                <a:gd name="connsiteY131" fmla="*/ 6937 h 9887"/>
                <a:gd name="connsiteX132" fmla="*/ 823 w 10000"/>
                <a:gd name="connsiteY132" fmla="*/ 7097 h 9887"/>
                <a:gd name="connsiteX133" fmla="*/ 904 w 10000"/>
                <a:gd name="connsiteY133" fmla="*/ 7244 h 9887"/>
                <a:gd name="connsiteX134" fmla="*/ 993 w 10000"/>
                <a:gd name="connsiteY134" fmla="*/ 7391 h 9887"/>
                <a:gd name="connsiteX135" fmla="*/ 1090 w 10000"/>
                <a:gd name="connsiteY135" fmla="*/ 7530 h 9887"/>
                <a:gd name="connsiteX136" fmla="*/ 1186 w 10000"/>
                <a:gd name="connsiteY136" fmla="*/ 7681 h 9887"/>
                <a:gd name="connsiteX137" fmla="*/ 1290 w 10000"/>
                <a:gd name="connsiteY137" fmla="*/ 7827 h 9887"/>
                <a:gd name="connsiteX138" fmla="*/ 1386 w 10000"/>
                <a:gd name="connsiteY138" fmla="*/ 7969 h 9887"/>
                <a:gd name="connsiteX139" fmla="*/ 1497 w 10000"/>
                <a:gd name="connsiteY139" fmla="*/ 8112 h 9887"/>
                <a:gd name="connsiteX140" fmla="*/ 1609 w 10000"/>
                <a:gd name="connsiteY140" fmla="*/ 8247 h 9887"/>
                <a:gd name="connsiteX141" fmla="*/ 1727 w 10000"/>
                <a:gd name="connsiteY141" fmla="*/ 8390 h 9887"/>
                <a:gd name="connsiteX142" fmla="*/ 1846 w 10000"/>
                <a:gd name="connsiteY142" fmla="*/ 8524 h 9887"/>
                <a:gd name="connsiteX143" fmla="*/ 1964 w 10000"/>
                <a:gd name="connsiteY143" fmla="*/ 8654 h 9887"/>
                <a:gd name="connsiteX144" fmla="*/ 2090 w 10000"/>
                <a:gd name="connsiteY144" fmla="*/ 8783 h 9887"/>
                <a:gd name="connsiteX145" fmla="*/ 2224 w 10000"/>
                <a:gd name="connsiteY145" fmla="*/ 8916 h 9887"/>
                <a:gd name="connsiteX146" fmla="*/ 2350 w 10000"/>
                <a:gd name="connsiteY146" fmla="*/ 9047 h 9887"/>
                <a:gd name="connsiteX147" fmla="*/ 2491 w 10000"/>
                <a:gd name="connsiteY147" fmla="*/ 9172 h 9887"/>
                <a:gd name="connsiteX148" fmla="*/ 2617 w 10000"/>
                <a:gd name="connsiteY148" fmla="*/ 9298 h 9887"/>
                <a:gd name="connsiteX149" fmla="*/ 2765 w 10000"/>
                <a:gd name="connsiteY149" fmla="*/ 9420 h 9887"/>
                <a:gd name="connsiteX150" fmla="*/ 2906 w 10000"/>
                <a:gd name="connsiteY150" fmla="*/ 9538 h 9887"/>
                <a:gd name="connsiteX151" fmla="*/ 3054 w 10000"/>
                <a:gd name="connsiteY151" fmla="*/ 9657 h 9887"/>
                <a:gd name="connsiteX152" fmla="*/ 3210 w 10000"/>
                <a:gd name="connsiteY152" fmla="*/ 9773 h 9887"/>
                <a:gd name="connsiteX153" fmla="*/ 3358 w 10000"/>
                <a:gd name="connsiteY153" fmla="*/ 9887 h 9887"/>
                <a:gd name="connsiteX154" fmla="*/ 7539 w 10000"/>
                <a:gd name="connsiteY154" fmla="*/ 9200 h 9887"/>
                <a:gd name="connsiteX155" fmla="*/ 10000 w 10000"/>
                <a:gd name="connsiteY155" fmla="*/ 7281 h 9887"/>
                <a:gd name="connsiteX0" fmla="*/ 10000 w 10000"/>
                <a:gd name="connsiteY0" fmla="*/ 7364 h 9885"/>
                <a:gd name="connsiteX1" fmla="*/ 10000 w 10000"/>
                <a:gd name="connsiteY1" fmla="*/ 7364 h 9885"/>
                <a:gd name="connsiteX2" fmla="*/ 9911 w 10000"/>
                <a:gd name="connsiteY2" fmla="*/ 7347 h 9885"/>
                <a:gd name="connsiteX3" fmla="*/ 9815 w 10000"/>
                <a:gd name="connsiteY3" fmla="*/ 7327 h 9885"/>
                <a:gd name="connsiteX4" fmla="*/ 9726 w 10000"/>
                <a:gd name="connsiteY4" fmla="*/ 7307 h 9885"/>
                <a:gd name="connsiteX5" fmla="*/ 9637 w 10000"/>
                <a:gd name="connsiteY5" fmla="*/ 7275 h 9885"/>
                <a:gd name="connsiteX6" fmla="*/ 9548 w 10000"/>
                <a:gd name="connsiteY6" fmla="*/ 7254 h 9885"/>
                <a:gd name="connsiteX7" fmla="*/ 9466 w 10000"/>
                <a:gd name="connsiteY7" fmla="*/ 7227 h 9885"/>
                <a:gd name="connsiteX8" fmla="*/ 9377 w 10000"/>
                <a:gd name="connsiteY8" fmla="*/ 7201 h 9885"/>
                <a:gd name="connsiteX9" fmla="*/ 9288 w 10000"/>
                <a:gd name="connsiteY9" fmla="*/ 7173 h 9885"/>
                <a:gd name="connsiteX10" fmla="*/ 9118 w 10000"/>
                <a:gd name="connsiteY10" fmla="*/ 7111 h 9885"/>
                <a:gd name="connsiteX11" fmla="*/ 8955 w 10000"/>
                <a:gd name="connsiteY11" fmla="*/ 7045 h 9885"/>
                <a:gd name="connsiteX12" fmla="*/ 8792 w 10000"/>
                <a:gd name="connsiteY12" fmla="*/ 6976 h 9885"/>
                <a:gd name="connsiteX13" fmla="*/ 8636 w 10000"/>
                <a:gd name="connsiteY13" fmla="*/ 6896 h 9885"/>
                <a:gd name="connsiteX14" fmla="*/ 8480 w 10000"/>
                <a:gd name="connsiteY14" fmla="*/ 6816 h 9885"/>
                <a:gd name="connsiteX15" fmla="*/ 8340 w 10000"/>
                <a:gd name="connsiteY15" fmla="*/ 6740 h 9885"/>
                <a:gd name="connsiteX16" fmla="*/ 8199 w 10000"/>
                <a:gd name="connsiteY16" fmla="*/ 6648 h 9885"/>
                <a:gd name="connsiteX17" fmla="*/ 8058 w 10000"/>
                <a:gd name="connsiteY17" fmla="*/ 6553 h 9885"/>
                <a:gd name="connsiteX18" fmla="*/ 7924 w 10000"/>
                <a:gd name="connsiteY18" fmla="*/ 6457 h 9885"/>
                <a:gd name="connsiteX19" fmla="*/ 7798 w 10000"/>
                <a:gd name="connsiteY19" fmla="*/ 6353 h 9885"/>
                <a:gd name="connsiteX20" fmla="*/ 7672 w 10000"/>
                <a:gd name="connsiteY20" fmla="*/ 6253 h 9885"/>
                <a:gd name="connsiteX21" fmla="*/ 7554 w 10000"/>
                <a:gd name="connsiteY21" fmla="*/ 6147 h 9885"/>
                <a:gd name="connsiteX22" fmla="*/ 7450 w 10000"/>
                <a:gd name="connsiteY22" fmla="*/ 6033 h 9885"/>
                <a:gd name="connsiteX23" fmla="*/ 7346 w 10000"/>
                <a:gd name="connsiteY23" fmla="*/ 5918 h 9885"/>
                <a:gd name="connsiteX24" fmla="*/ 7250 w 10000"/>
                <a:gd name="connsiteY24" fmla="*/ 5801 h 9885"/>
                <a:gd name="connsiteX25" fmla="*/ 7161 w 10000"/>
                <a:gd name="connsiteY25" fmla="*/ 5682 h 9885"/>
                <a:gd name="connsiteX26" fmla="*/ 7072 w 10000"/>
                <a:gd name="connsiteY26" fmla="*/ 5558 h 9885"/>
                <a:gd name="connsiteX27" fmla="*/ 6990 w 10000"/>
                <a:gd name="connsiteY27" fmla="*/ 5425 h 9885"/>
                <a:gd name="connsiteX28" fmla="*/ 6953 w 10000"/>
                <a:gd name="connsiteY28" fmla="*/ 5369 h 9885"/>
                <a:gd name="connsiteX29" fmla="*/ 6916 w 10000"/>
                <a:gd name="connsiteY29" fmla="*/ 5297 h 9885"/>
                <a:gd name="connsiteX30" fmla="*/ 6887 w 10000"/>
                <a:gd name="connsiteY30" fmla="*/ 5234 h 9885"/>
                <a:gd name="connsiteX31" fmla="*/ 6850 w 10000"/>
                <a:gd name="connsiteY31" fmla="*/ 5167 h 9885"/>
                <a:gd name="connsiteX32" fmla="*/ 6820 w 10000"/>
                <a:gd name="connsiteY32" fmla="*/ 5102 h 9885"/>
                <a:gd name="connsiteX33" fmla="*/ 6790 w 10000"/>
                <a:gd name="connsiteY33" fmla="*/ 5034 h 9885"/>
                <a:gd name="connsiteX34" fmla="*/ 6768 w 10000"/>
                <a:gd name="connsiteY34" fmla="*/ 4964 h 9885"/>
                <a:gd name="connsiteX35" fmla="*/ 6738 w 10000"/>
                <a:gd name="connsiteY35" fmla="*/ 4898 h 9885"/>
                <a:gd name="connsiteX36" fmla="*/ 6723 w 10000"/>
                <a:gd name="connsiteY36" fmla="*/ 4825 h 9885"/>
                <a:gd name="connsiteX37" fmla="*/ 6694 w 10000"/>
                <a:gd name="connsiteY37" fmla="*/ 4758 h 9885"/>
                <a:gd name="connsiteX38" fmla="*/ 6679 w 10000"/>
                <a:gd name="connsiteY38" fmla="*/ 4687 h 9885"/>
                <a:gd name="connsiteX39" fmla="*/ 6664 w 10000"/>
                <a:gd name="connsiteY39" fmla="*/ 4619 h 9885"/>
                <a:gd name="connsiteX40" fmla="*/ 6649 w 10000"/>
                <a:gd name="connsiteY40" fmla="*/ 4544 h 9885"/>
                <a:gd name="connsiteX41" fmla="*/ 6635 w 10000"/>
                <a:gd name="connsiteY41" fmla="*/ 4478 h 9885"/>
                <a:gd name="connsiteX42" fmla="*/ 6620 w 10000"/>
                <a:gd name="connsiteY42" fmla="*/ 4407 h 9885"/>
                <a:gd name="connsiteX43" fmla="*/ 6612 w 10000"/>
                <a:gd name="connsiteY43" fmla="*/ 4337 h 9885"/>
                <a:gd name="connsiteX44" fmla="*/ 6605 w 10000"/>
                <a:gd name="connsiteY44" fmla="*/ 4262 h 9885"/>
                <a:gd name="connsiteX45" fmla="*/ 6597 w 10000"/>
                <a:gd name="connsiteY45" fmla="*/ 4185 h 9885"/>
                <a:gd name="connsiteX46" fmla="*/ 6597 w 10000"/>
                <a:gd name="connsiteY46" fmla="*/ 4114 h 9885"/>
                <a:gd name="connsiteX47" fmla="*/ 6590 w 10000"/>
                <a:gd name="connsiteY47" fmla="*/ 4039 h 9885"/>
                <a:gd name="connsiteX48" fmla="*/ 6597 w 10000"/>
                <a:gd name="connsiteY48" fmla="*/ 3966 h 9885"/>
                <a:gd name="connsiteX49" fmla="*/ 6605 w 10000"/>
                <a:gd name="connsiteY49" fmla="*/ 3886 h 9885"/>
                <a:gd name="connsiteX50" fmla="*/ 6605 w 10000"/>
                <a:gd name="connsiteY50" fmla="*/ 3807 h 9885"/>
                <a:gd name="connsiteX51" fmla="*/ 6612 w 10000"/>
                <a:gd name="connsiteY51" fmla="*/ 3729 h 9885"/>
                <a:gd name="connsiteX52" fmla="*/ 6620 w 10000"/>
                <a:gd name="connsiteY52" fmla="*/ 3651 h 9885"/>
                <a:gd name="connsiteX53" fmla="*/ 6635 w 10000"/>
                <a:gd name="connsiteY53" fmla="*/ 3583 h 9885"/>
                <a:gd name="connsiteX54" fmla="*/ 6649 w 10000"/>
                <a:gd name="connsiteY54" fmla="*/ 3503 h 9885"/>
                <a:gd name="connsiteX55" fmla="*/ 6664 w 10000"/>
                <a:gd name="connsiteY55" fmla="*/ 3431 h 9885"/>
                <a:gd name="connsiteX56" fmla="*/ 6686 w 10000"/>
                <a:gd name="connsiteY56" fmla="*/ 3353 h 9885"/>
                <a:gd name="connsiteX57" fmla="*/ 6709 w 10000"/>
                <a:gd name="connsiteY57" fmla="*/ 3284 h 9885"/>
                <a:gd name="connsiteX58" fmla="*/ 6731 w 10000"/>
                <a:gd name="connsiteY58" fmla="*/ 3210 h 9885"/>
                <a:gd name="connsiteX59" fmla="*/ 6753 w 10000"/>
                <a:gd name="connsiteY59" fmla="*/ 3133 h 9885"/>
                <a:gd name="connsiteX60" fmla="*/ 6783 w 10000"/>
                <a:gd name="connsiteY60" fmla="*/ 3070 h 9885"/>
                <a:gd name="connsiteX61" fmla="*/ 6812 w 10000"/>
                <a:gd name="connsiteY61" fmla="*/ 2997 h 9885"/>
                <a:gd name="connsiteX62" fmla="*/ 6842 w 10000"/>
                <a:gd name="connsiteY62" fmla="*/ 2922 h 9885"/>
                <a:gd name="connsiteX63" fmla="*/ 6879 w 10000"/>
                <a:gd name="connsiteY63" fmla="*/ 2854 h 9885"/>
                <a:gd name="connsiteX64" fmla="*/ 6909 w 10000"/>
                <a:gd name="connsiteY64" fmla="*/ 2787 h 9885"/>
                <a:gd name="connsiteX65" fmla="*/ 6946 w 10000"/>
                <a:gd name="connsiteY65" fmla="*/ 2712 h 9885"/>
                <a:gd name="connsiteX66" fmla="*/ 6990 w 10000"/>
                <a:gd name="connsiteY66" fmla="*/ 2651 h 9885"/>
                <a:gd name="connsiteX67" fmla="*/ 7027 w 10000"/>
                <a:gd name="connsiteY67" fmla="*/ 2582 h 9885"/>
                <a:gd name="connsiteX68" fmla="*/ 7072 w 10000"/>
                <a:gd name="connsiteY68" fmla="*/ 2520 h 9885"/>
                <a:gd name="connsiteX69" fmla="*/ 7109 w 10000"/>
                <a:gd name="connsiteY69" fmla="*/ 2449 h 9885"/>
                <a:gd name="connsiteX70" fmla="*/ 7161 w 10000"/>
                <a:gd name="connsiteY70" fmla="*/ 2392 h 9885"/>
                <a:gd name="connsiteX71" fmla="*/ 7213 w 10000"/>
                <a:gd name="connsiteY71" fmla="*/ 2323 h 9885"/>
                <a:gd name="connsiteX72" fmla="*/ 7257 w 10000"/>
                <a:gd name="connsiteY72" fmla="*/ 2262 h 9885"/>
                <a:gd name="connsiteX73" fmla="*/ 7309 w 10000"/>
                <a:gd name="connsiteY73" fmla="*/ 2199 h 9885"/>
                <a:gd name="connsiteX74" fmla="*/ 7361 w 10000"/>
                <a:gd name="connsiteY74" fmla="*/ 2133 h 9885"/>
                <a:gd name="connsiteX75" fmla="*/ 7413 w 10000"/>
                <a:gd name="connsiteY75" fmla="*/ 2077 h 9885"/>
                <a:gd name="connsiteX76" fmla="*/ 7472 w 10000"/>
                <a:gd name="connsiteY76" fmla="*/ 2016 h 9885"/>
                <a:gd name="connsiteX77" fmla="*/ 7524 w 10000"/>
                <a:gd name="connsiteY77" fmla="*/ 1962 h 9885"/>
                <a:gd name="connsiteX78" fmla="*/ 7583 w 10000"/>
                <a:gd name="connsiteY78" fmla="*/ 1902 h 9885"/>
                <a:gd name="connsiteX79" fmla="*/ 7610 w 10000"/>
                <a:gd name="connsiteY79" fmla="*/ 1868 h 9885"/>
                <a:gd name="connsiteX80" fmla="*/ 5390 w 10000"/>
                <a:gd name="connsiteY80" fmla="*/ 6 h 9885"/>
                <a:gd name="connsiteX81" fmla="*/ 1401 w 10000"/>
                <a:gd name="connsiteY81" fmla="*/ 0 h 9885"/>
                <a:gd name="connsiteX82" fmla="*/ 1305 w 10000"/>
                <a:gd name="connsiteY82" fmla="*/ 139 h 9885"/>
                <a:gd name="connsiteX83" fmla="*/ 1223 w 10000"/>
                <a:gd name="connsiteY83" fmla="*/ 247 h 9885"/>
                <a:gd name="connsiteX84" fmla="*/ 1149 w 10000"/>
                <a:gd name="connsiteY84" fmla="*/ 362 h 9885"/>
                <a:gd name="connsiteX85" fmla="*/ 1067 w 10000"/>
                <a:gd name="connsiteY85" fmla="*/ 478 h 9885"/>
                <a:gd name="connsiteX86" fmla="*/ 1001 w 10000"/>
                <a:gd name="connsiteY86" fmla="*/ 594 h 9885"/>
                <a:gd name="connsiteX87" fmla="*/ 927 w 10000"/>
                <a:gd name="connsiteY87" fmla="*/ 710 h 9885"/>
                <a:gd name="connsiteX88" fmla="*/ 860 w 10000"/>
                <a:gd name="connsiteY88" fmla="*/ 831 h 9885"/>
                <a:gd name="connsiteX89" fmla="*/ 793 w 10000"/>
                <a:gd name="connsiteY89" fmla="*/ 955 h 9885"/>
                <a:gd name="connsiteX90" fmla="*/ 734 w 10000"/>
                <a:gd name="connsiteY90" fmla="*/ 1067 h 9885"/>
                <a:gd name="connsiteX91" fmla="*/ 675 w 10000"/>
                <a:gd name="connsiteY91" fmla="*/ 1192 h 9885"/>
                <a:gd name="connsiteX92" fmla="*/ 615 w 10000"/>
                <a:gd name="connsiteY92" fmla="*/ 1310 h 9885"/>
                <a:gd name="connsiteX93" fmla="*/ 556 w 10000"/>
                <a:gd name="connsiteY93" fmla="*/ 1438 h 9885"/>
                <a:gd name="connsiteX94" fmla="*/ 504 w 10000"/>
                <a:gd name="connsiteY94" fmla="*/ 1555 h 9885"/>
                <a:gd name="connsiteX95" fmla="*/ 452 w 10000"/>
                <a:gd name="connsiteY95" fmla="*/ 1678 h 9885"/>
                <a:gd name="connsiteX96" fmla="*/ 408 w 10000"/>
                <a:gd name="connsiteY96" fmla="*/ 1801 h 9885"/>
                <a:gd name="connsiteX97" fmla="*/ 363 w 10000"/>
                <a:gd name="connsiteY97" fmla="*/ 1926 h 9885"/>
                <a:gd name="connsiteX98" fmla="*/ 319 w 10000"/>
                <a:gd name="connsiteY98" fmla="*/ 2057 h 9885"/>
                <a:gd name="connsiteX99" fmla="*/ 282 w 10000"/>
                <a:gd name="connsiteY99" fmla="*/ 2183 h 9885"/>
                <a:gd name="connsiteX100" fmla="*/ 237 w 10000"/>
                <a:gd name="connsiteY100" fmla="*/ 2312 h 9885"/>
                <a:gd name="connsiteX101" fmla="*/ 208 w 10000"/>
                <a:gd name="connsiteY101" fmla="*/ 2440 h 9885"/>
                <a:gd name="connsiteX102" fmla="*/ 170 w 10000"/>
                <a:gd name="connsiteY102" fmla="*/ 2570 h 9885"/>
                <a:gd name="connsiteX103" fmla="*/ 148 w 10000"/>
                <a:gd name="connsiteY103" fmla="*/ 2703 h 9885"/>
                <a:gd name="connsiteX104" fmla="*/ 119 w 10000"/>
                <a:gd name="connsiteY104" fmla="*/ 2832 h 9885"/>
                <a:gd name="connsiteX105" fmla="*/ 96 w 10000"/>
                <a:gd name="connsiteY105" fmla="*/ 2960 h 9885"/>
                <a:gd name="connsiteX106" fmla="*/ 74 w 10000"/>
                <a:gd name="connsiteY106" fmla="*/ 3096 h 9885"/>
                <a:gd name="connsiteX107" fmla="*/ 52 w 10000"/>
                <a:gd name="connsiteY107" fmla="*/ 3234 h 9885"/>
                <a:gd name="connsiteX108" fmla="*/ 37 w 10000"/>
                <a:gd name="connsiteY108" fmla="*/ 3365 h 9885"/>
                <a:gd name="connsiteX109" fmla="*/ 22 w 10000"/>
                <a:gd name="connsiteY109" fmla="*/ 3497 h 9885"/>
                <a:gd name="connsiteX110" fmla="*/ 15 w 10000"/>
                <a:gd name="connsiteY110" fmla="*/ 3630 h 9885"/>
                <a:gd name="connsiteX111" fmla="*/ 7 w 10000"/>
                <a:gd name="connsiteY111" fmla="*/ 3767 h 9885"/>
                <a:gd name="connsiteX112" fmla="*/ 0 w 10000"/>
                <a:gd name="connsiteY112" fmla="*/ 3899 h 9885"/>
                <a:gd name="connsiteX113" fmla="*/ 0 w 10000"/>
                <a:gd name="connsiteY113" fmla="*/ 4039 h 9885"/>
                <a:gd name="connsiteX114" fmla="*/ 7 w 10000"/>
                <a:gd name="connsiteY114" fmla="*/ 4215 h 9885"/>
                <a:gd name="connsiteX115" fmla="*/ 7 w 10000"/>
                <a:gd name="connsiteY115" fmla="*/ 4390 h 9885"/>
                <a:gd name="connsiteX116" fmla="*/ 22 w 10000"/>
                <a:gd name="connsiteY116" fmla="*/ 4554 h 9885"/>
                <a:gd name="connsiteX117" fmla="*/ 37 w 10000"/>
                <a:gd name="connsiteY117" fmla="*/ 4727 h 9885"/>
                <a:gd name="connsiteX118" fmla="*/ 59 w 10000"/>
                <a:gd name="connsiteY118" fmla="*/ 4898 h 9885"/>
                <a:gd name="connsiteX119" fmla="*/ 89 w 10000"/>
                <a:gd name="connsiteY119" fmla="*/ 5069 h 9885"/>
                <a:gd name="connsiteX120" fmla="*/ 119 w 10000"/>
                <a:gd name="connsiteY120" fmla="*/ 5238 h 9885"/>
                <a:gd name="connsiteX121" fmla="*/ 148 w 10000"/>
                <a:gd name="connsiteY121" fmla="*/ 5408 h 9885"/>
                <a:gd name="connsiteX122" fmla="*/ 193 w 10000"/>
                <a:gd name="connsiteY122" fmla="*/ 5576 h 9885"/>
                <a:gd name="connsiteX123" fmla="*/ 237 w 10000"/>
                <a:gd name="connsiteY123" fmla="*/ 5740 h 9885"/>
                <a:gd name="connsiteX124" fmla="*/ 282 w 10000"/>
                <a:gd name="connsiteY124" fmla="*/ 5907 h 9885"/>
                <a:gd name="connsiteX125" fmla="*/ 334 w 10000"/>
                <a:gd name="connsiteY125" fmla="*/ 6070 h 9885"/>
                <a:gd name="connsiteX126" fmla="*/ 393 w 10000"/>
                <a:gd name="connsiteY126" fmla="*/ 6228 h 9885"/>
                <a:gd name="connsiteX127" fmla="*/ 452 w 10000"/>
                <a:gd name="connsiteY127" fmla="*/ 6391 h 9885"/>
                <a:gd name="connsiteX128" fmla="*/ 519 w 10000"/>
                <a:gd name="connsiteY128" fmla="*/ 6549 h 9885"/>
                <a:gd name="connsiteX129" fmla="*/ 586 w 10000"/>
                <a:gd name="connsiteY129" fmla="*/ 6713 h 9885"/>
                <a:gd name="connsiteX130" fmla="*/ 660 w 10000"/>
                <a:gd name="connsiteY130" fmla="*/ 6865 h 9885"/>
                <a:gd name="connsiteX131" fmla="*/ 741 w 10000"/>
                <a:gd name="connsiteY131" fmla="*/ 7016 h 9885"/>
                <a:gd name="connsiteX132" fmla="*/ 823 w 10000"/>
                <a:gd name="connsiteY132" fmla="*/ 7178 h 9885"/>
                <a:gd name="connsiteX133" fmla="*/ 904 w 10000"/>
                <a:gd name="connsiteY133" fmla="*/ 7327 h 9885"/>
                <a:gd name="connsiteX134" fmla="*/ 993 w 10000"/>
                <a:gd name="connsiteY134" fmla="*/ 7475 h 9885"/>
                <a:gd name="connsiteX135" fmla="*/ 1090 w 10000"/>
                <a:gd name="connsiteY135" fmla="*/ 7616 h 9885"/>
                <a:gd name="connsiteX136" fmla="*/ 1186 w 10000"/>
                <a:gd name="connsiteY136" fmla="*/ 7769 h 9885"/>
                <a:gd name="connsiteX137" fmla="*/ 1290 w 10000"/>
                <a:gd name="connsiteY137" fmla="*/ 7916 h 9885"/>
                <a:gd name="connsiteX138" fmla="*/ 1386 w 10000"/>
                <a:gd name="connsiteY138" fmla="*/ 8060 h 9885"/>
                <a:gd name="connsiteX139" fmla="*/ 1497 w 10000"/>
                <a:gd name="connsiteY139" fmla="*/ 8205 h 9885"/>
                <a:gd name="connsiteX140" fmla="*/ 1609 w 10000"/>
                <a:gd name="connsiteY140" fmla="*/ 8341 h 9885"/>
                <a:gd name="connsiteX141" fmla="*/ 1727 w 10000"/>
                <a:gd name="connsiteY141" fmla="*/ 8486 h 9885"/>
                <a:gd name="connsiteX142" fmla="*/ 1846 w 10000"/>
                <a:gd name="connsiteY142" fmla="*/ 8621 h 9885"/>
                <a:gd name="connsiteX143" fmla="*/ 1964 w 10000"/>
                <a:gd name="connsiteY143" fmla="*/ 8753 h 9885"/>
                <a:gd name="connsiteX144" fmla="*/ 2090 w 10000"/>
                <a:gd name="connsiteY144" fmla="*/ 8883 h 9885"/>
                <a:gd name="connsiteX145" fmla="*/ 2224 w 10000"/>
                <a:gd name="connsiteY145" fmla="*/ 9018 h 9885"/>
                <a:gd name="connsiteX146" fmla="*/ 2350 w 10000"/>
                <a:gd name="connsiteY146" fmla="*/ 9150 h 9885"/>
                <a:gd name="connsiteX147" fmla="*/ 2491 w 10000"/>
                <a:gd name="connsiteY147" fmla="*/ 9277 h 9885"/>
                <a:gd name="connsiteX148" fmla="*/ 2617 w 10000"/>
                <a:gd name="connsiteY148" fmla="*/ 9404 h 9885"/>
                <a:gd name="connsiteX149" fmla="*/ 2765 w 10000"/>
                <a:gd name="connsiteY149" fmla="*/ 9528 h 9885"/>
                <a:gd name="connsiteX150" fmla="*/ 2906 w 10000"/>
                <a:gd name="connsiteY150" fmla="*/ 9647 h 9885"/>
                <a:gd name="connsiteX151" fmla="*/ 3054 w 10000"/>
                <a:gd name="connsiteY151" fmla="*/ 9767 h 9885"/>
                <a:gd name="connsiteX152" fmla="*/ 3210 w 10000"/>
                <a:gd name="connsiteY152" fmla="*/ 9885 h 9885"/>
                <a:gd name="connsiteX153" fmla="*/ 7539 w 10000"/>
                <a:gd name="connsiteY153" fmla="*/ 9305 h 9885"/>
                <a:gd name="connsiteX154" fmla="*/ 10000 w 10000"/>
                <a:gd name="connsiteY154" fmla="*/ 7364 h 9885"/>
                <a:gd name="connsiteX0" fmla="*/ 10000 w 10000"/>
                <a:gd name="connsiteY0" fmla="*/ 7450 h 10000"/>
                <a:gd name="connsiteX1" fmla="*/ 10000 w 10000"/>
                <a:gd name="connsiteY1" fmla="*/ 7450 h 10000"/>
                <a:gd name="connsiteX2" fmla="*/ 9911 w 10000"/>
                <a:gd name="connsiteY2" fmla="*/ 7432 h 10000"/>
                <a:gd name="connsiteX3" fmla="*/ 9815 w 10000"/>
                <a:gd name="connsiteY3" fmla="*/ 7412 h 10000"/>
                <a:gd name="connsiteX4" fmla="*/ 9726 w 10000"/>
                <a:gd name="connsiteY4" fmla="*/ 7392 h 10000"/>
                <a:gd name="connsiteX5" fmla="*/ 9637 w 10000"/>
                <a:gd name="connsiteY5" fmla="*/ 7360 h 10000"/>
                <a:gd name="connsiteX6" fmla="*/ 9548 w 10000"/>
                <a:gd name="connsiteY6" fmla="*/ 7338 h 10000"/>
                <a:gd name="connsiteX7" fmla="*/ 9466 w 10000"/>
                <a:gd name="connsiteY7" fmla="*/ 7311 h 10000"/>
                <a:gd name="connsiteX8" fmla="*/ 9377 w 10000"/>
                <a:gd name="connsiteY8" fmla="*/ 7285 h 10000"/>
                <a:gd name="connsiteX9" fmla="*/ 9288 w 10000"/>
                <a:gd name="connsiteY9" fmla="*/ 7256 h 10000"/>
                <a:gd name="connsiteX10" fmla="*/ 9118 w 10000"/>
                <a:gd name="connsiteY10" fmla="*/ 7194 h 10000"/>
                <a:gd name="connsiteX11" fmla="*/ 8955 w 10000"/>
                <a:gd name="connsiteY11" fmla="*/ 7127 h 10000"/>
                <a:gd name="connsiteX12" fmla="*/ 8792 w 10000"/>
                <a:gd name="connsiteY12" fmla="*/ 7057 h 10000"/>
                <a:gd name="connsiteX13" fmla="*/ 8636 w 10000"/>
                <a:gd name="connsiteY13" fmla="*/ 6976 h 10000"/>
                <a:gd name="connsiteX14" fmla="*/ 8480 w 10000"/>
                <a:gd name="connsiteY14" fmla="*/ 6895 h 10000"/>
                <a:gd name="connsiteX15" fmla="*/ 8340 w 10000"/>
                <a:gd name="connsiteY15" fmla="*/ 6818 h 10000"/>
                <a:gd name="connsiteX16" fmla="*/ 8199 w 10000"/>
                <a:gd name="connsiteY16" fmla="*/ 6725 h 10000"/>
                <a:gd name="connsiteX17" fmla="*/ 8058 w 10000"/>
                <a:gd name="connsiteY17" fmla="*/ 6629 h 10000"/>
                <a:gd name="connsiteX18" fmla="*/ 7924 w 10000"/>
                <a:gd name="connsiteY18" fmla="*/ 6532 h 10000"/>
                <a:gd name="connsiteX19" fmla="*/ 7798 w 10000"/>
                <a:gd name="connsiteY19" fmla="*/ 6427 h 10000"/>
                <a:gd name="connsiteX20" fmla="*/ 7672 w 10000"/>
                <a:gd name="connsiteY20" fmla="*/ 6326 h 10000"/>
                <a:gd name="connsiteX21" fmla="*/ 7554 w 10000"/>
                <a:gd name="connsiteY21" fmla="*/ 6219 h 10000"/>
                <a:gd name="connsiteX22" fmla="*/ 7450 w 10000"/>
                <a:gd name="connsiteY22" fmla="*/ 6103 h 10000"/>
                <a:gd name="connsiteX23" fmla="*/ 7346 w 10000"/>
                <a:gd name="connsiteY23" fmla="*/ 5987 h 10000"/>
                <a:gd name="connsiteX24" fmla="*/ 7250 w 10000"/>
                <a:gd name="connsiteY24" fmla="*/ 5868 h 10000"/>
                <a:gd name="connsiteX25" fmla="*/ 7161 w 10000"/>
                <a:gd name="connsiteY25" fmla="*/ 5748 h 10000"/>
                <a:gd name="connsiteX26" fmla="*/ 7072 w 10000"/>
                <a:gd name="connsiteY26" fmla="*/ 5623 h 10000"/>
                <a:gd name="connsiteX27" fmla="*/ 6990 w 10000"/>
                <a:gd name="connsiteY27" fmla="*/ 5488 h 10000"/>
                <a:gd name="connsiteX28" fmla="*/ 6953 w 10000"/>
                <a:gd name="connsiteY28" fmla="*/ 5431 h 10000"/>
                <a:gd name="connsiteX29" fmla="*/ 6916 w 10000"/>
                <a:gd name="connsiteY29" fmla="*/ 5359 h 10000"/>
                <a:gd name="connsiteX30" fmla="*/ 6887 w 10000"/>
                <a:gd name="connsiteY30" fmla="*/ 5295 h 10000"/>
                <a:gd name="connsiteX31" fmla="*/ 6850 w 10000"/>
                <a:gd name="connsiteY31" fmla="*/ 5227 h 10000"/>
                <a:gd name="connsiteX32" fmla="*/ 6820 w 10000"/>
                <a:gd name="connsiteY32" fmla="*/ 5161 h 10000"/>
                <a:gd name="connsiteX33" fmla="*/ 6790 w 10000"/>
                <a:gd name="connsiteY33" fmla="*/ 5093 h 10000"/>
                <a:gd name="connsiteX34" fmla="*/ 6768 w 10000"/>
                <a:gd name="connsiteY34" fmla="*/ 5022 h 10000"/>
                <a:gd name="connsiteX35" fmla="*/ 6738 w 10000"/>
                <a:gd name="connsiteY35" fmla="*/ 4955 h 10000"/>
                <a:gd name="connsiteX36" fmla="*/ 6723 w 10000"/>
                <a:gd name="connsiteY36" fmla="*/ 4881 h 10000"/>
                <a:gd name="connsiteX37" fmla="*/ 6694 w 10000"/>
                <a:gd name="connsiteY37" fmla="*/ 4813 h 10000"/>
                <a:gd name="connsiteX38" fmla="*/ 6679 w 10000"/>
                <a:gd name="connsiteY38" fmla="*/ 4742 h 10000"/>
                <a:gd name="connsiteX39" fmla="*/ 6664 w 10000"/>
                <a:gd name="connsiteY39" fmla="*/ 4673 h 10000"/>
                <a:gd name="connsiteX40" fmla="*/ 6649 w 10000"/>
                <a:gd name="connsiteY40" fmla="*/ 4597 h 10000"/>
                <a:gd name="connsiteX41" fmla="*/ 6635 w 10000"/>
                <a:gd name="connsiteY41" fmla="*/ 4530 h 10000"/>
                <a:gd name="connsiteX42" fmla="*/ 6620 w 10000"/>
                <a:gd name="connsiteY42" fmla="*/ 4458 h 10000"/>
                <a:gd name="connsiteX43" fmla="*/ 6612 w 10000"/>
                <a:gd name="connsiteY43" fmla="*/ 4387 h 10000"/>
                <a:gd name="connsiteX44" fmla="*/ 6605 w 10000"/>
                <a:gd name="connsiteY44" fmla="*/ 4312 h 10000"/>
                <a:gd name="connsiteX45" fmla="*/ 6597 w 10000"/>
                <a:gd name="connsiteY45" fmla="*/ 4234 h 10000"/>
                <a:gd name="connsiteX46" fmla="*/ 6597 w 10000"/>
                <a:gd name="connsiteY46" fmla="*/ 4162 h 10000"/>
                <a:gd name="connsiteX47" fmla="*/ 6590 w 10000"/>
                <a:gd name="connsiteY47" fmla="*/ 4086 h 10000"/>
                <a:gd name="connsiteX48" fmla="*/ 6597 w 10000"/>
                <a:gd name="connsiteY48" fmla="*/ 4012 h 10000"/>
                <a:gd name="connsiteX49" fmla="*/ 6605 w 10000"/>
                <a:gd name="connsiteY49" fmla="*/ 3931 h 10000"/>
                <a:gd name="connsiteX50" fmla="*/ 6605 w 10000"/>
                <a:gd name="connsiteY50" fmla="*/ 3851 h 10000"/>
                <a:gd name="connsiteX51" fmla="*/ 6612 w 10000"/>
                <a:gd name="connsiteY51" fmla="*/ 3772 h 10000"/>
                <a:gd name="connsiteX52" fmla="*/ 6620 w 10000"/>
                <a:gd name="connsiteY52" fmla="*/ 3693 h 10000"/>
                <a:gd name="connsiteX53" fmla="*/ 6635 w 10000"/>
                <a:gd name="connsiteY53" fmla="*/ 3625 h 10000"/>
                <a:gd name="connsiteX54" fmla="*/ 6649 w 10000"/>
                <a:gd name="connsiteY54" fmla="*/ 3544 h 10000"/>
                <a:gd name="connsiteX55" fmla="*/ 6664 w 10000"/>
                <a:gd name="connsiteY55" fmla="*/ 3471 h 10000"/>
                <a:gd name="connsiteX56" fmla="*/ 6686 w 10000"/>
                <a:gd name="connsiteY56" fmla="*/ 3392 h 10000"/>
                <a:gd name="connsiteX57" fmla="*/ 6709 w 10000"/>
                <a:gd name="connsiteY57" fmla="*/ 3322 h 10000"/>
                <a:gd name="connsiteX58" fmla="*/ 6731 w 10000"/>
                <a:gd name="connsiteY58" fmla="*/ 3247 h 10000"/>
                <a:gd name="connsiteX59" fmla="*/ 6753 w 10000"/>
                <a:gd name="connsiteY59" fmla="*/ 3169 h 10000"/>
                <a:gd name="connsiteX60" fmla="*/ 6783 w 10000"/>
                <a:gd name="connsiteY60" fmla="*/ 3106 h 10000"/>
                <a:gd name="connsiteX61" fmla="*/ 6812 w 10000"/>
                <a:gd name="connsiteY61" fmla="*/ 3032 h 10000"/>
                <a:gd name="connsiteX62" fmla="*/ 6842 w 10000"/>
                <a:gd name="connsiteY62" fmla="*/ 2956 h 10000"/>
                <a:gd name="connsiteX63" fmla="*/ 6879 w 10000"/>
                <a:gd name="connsiteY63" fmla="*/ 2887 h 10000"/>
                <a:gd name="connsiteX64" fmla="*/ 6909 w 10000"/>
                <a:gd name="connsiteY64" fmla="*/ 2819 h 10000"/>
                <a:gd name="connsiteX65" fmla="*/ 6946 w 10000"/>
                <a:gd name="connsiteY65" fmla="*/ 2744 h 10000"/>
                <a:gd name="connsiteX66" fmla="*/ 6990 w 10000"/>
                <a:gd name="connsiteY66" fmla="*/ 2682 h 10000"/>
                <a:gd name="connsiteX67" fmla="*/ 7027 w 10000"/>
                <a:gd name="connsiteY67" fmla="*/ 2612 h 10000"/>
                <a:gd name="connsiteX68" fmla="*/ 7072 w 10000"/>
                <a:gd name="connsiteY68" fmla="*/ 2549 h 10000"/>
                <a:gd name="connsiteX69" fmla="*/ 7109 w 10000"/>
                <a:gd name="connsiteY69" fmla="*/ 2477 h 10000"/>
                <a:gd name="connsiteX70" fmla="*/ 7161 w 10000"/>
                <a:gd name="connsiteY70" fmla="*/ 2420 h 10000"/>
                <a:gd name="connsiteX71" fmla="*/ 7213 w 10000"/>
                <a:gd name="connsiteY71" fmla="*/ 2350 h 10000"/>
                <a:gd name="connsiteX72" fmla="*/ 7257 w 10000"/>
                <a:gd name="connsiteY72" fmla="*/ 2288 h 10000"/>
                <a:gd name="connsiteX73" fmla="*/ 7309 w 10000"/>
                <a:gd name="connsiteY73" fmla="*/ 2225 h 10000"/>
                <a:gd name="connsiteX74" fmla="*/ 7361 w 10000"/>
                <a:gd name="connsiteY74" fmla="*/ 2158 h 10000"/>
                <a:gd name="connsiteX75" fmla="*/ 7413 w 10000"/>
                <a:gd name="connsiteY75" fmla="*/ 2101 h 10000"/>
                <a:gd name="connsiteX76" fmla="*/ 7472 w 10000"/>
                <a:gd name="connsiteY76" fmla="*/ 2039 h 10000"/>
                <a:gd name="connsiteX77" fmla="*/ 7524 w 10000"/>
                <a:gd name="connsiteY77" fmla="*/ 1985 h 10000"/>
                <a:gd name="connsiteX78" fmla="*/ 7583 w 10000"/>
                <a:gd name="connsiteY78" fmla="*/ 1924 h 10000"/>
                <a:gd name="connsiteX79" fmla="*/ 7610 w 10000"/>
                <a:gd name="connsiteY79" fmla="*/ 1890 h 10000"/>
                <a:gd name="connsiteX80" fmla="*/ 5390 w 10000"/>
                <a:gd name="connsiteY80" fmla="*/ 6 h 10000"/>
                <a:gd name="connsiteX81" fmla="*/ 1401 w 10000"/>
                <a:gd name="connsiteY81" fmla="*/ 0 h 10000"/>
                <a:gd name="connsiteX82" fmla="*/ 1305 w 10000"/>
                <a:gd name="connsiteY82" fmla="*/ 141 h 10000"/>
                <a:gd name="connsiteX83" fmla="*/ 1223 w 10000"/>
                <a:gd name="connsiteY83" fmla="*/ 250 h 10000"/>
                <a:gd name="connsiteX84" fmla="*/ 1149 w 10000"/>
                <a:gd name="connsiteY84" fmla="*/ 366 h 10000"/>
                <a:gd name="connsiteX85" fmla="*/ 1067 w 10000"/>
                <a:gd name="connsiteY85" fmla="*/ 484 h 10000"/>
                <a:gd name="connsiteX86" fmla="*/ 1001 w 10000"/>
                <a:gd name="connsiteY86" fmla="*/ 601 h 10000"/>
                <a:gd name="connsiteX87" fmla="*/ 927 w 10000"/>
                <a:gd name="connsiteY87" fmla="*/ 718 h 10000"/>
                <a:gd name="connsiteX88" fmla="*/ 860 w 10000"/>
                <a:gd name="connsiteY88" fmla="*/ 841 h 10000"/>
                <a:gd name="connsiteX89" fmla="*/ 793 w 10000"/>
                <a:gd name="connsiteY89" fmla="*/ 966 h 10000"/>
                <a:gd name="connsiteX90" fmla="*/ 734 w 10000"/>
                <a:gd name="connsiteY90" fmla="*/ 1079 h 10000"/>
                <a:gd name="connsiteX91" fmla="*/ 675 w 10000"/>
                <a:gd name="connsiteY91" fmla="*/ 1206 h 10000"/>
                <a:gd name="connsiteX92" fmla="*/ 615 w 10000"/>
                <a:gd name="connsiteY92" fmla="*/ 1325 h 10000"/>
                <a:gd name="connsiteX93" fmla="*/ 556 w 10000"/>
                <a:gd name="connsiteY93" fmla="*/ 1455 h 10000"/>
                <a:gd name="connsiteX94" fmla="*/ 504 w 10000"/>
                <a:gd name="connsiteY94" fmla="*/ 1573 h 10000"/>
                <a:gd name="connsiteX95" fmla="*/ 452 w 10000"/>
                <a:gd name="connsiteY95" fmla="*/ 1698 h 10000"/>
                <a:gd name="connsiteX96" fmla="*/ 408 w 10000"/>
                <a:gd name="connsiteY96" fmla="*/ 1822 h 10000"/>
                <a:gd name="connsiteX97" fmla="*/ 363 w 10000"/>
                <a:gd name="connsiteY97" fmla="*/ 1948 h 10000"/>
                <a:gd name="connsiteX98" fmla="*/ 319 w 10000"/>
                <a:gd name="connsiteY98" fmla="*/ 2081 h 10000"/>
                <a:gd name="connsiteX99" fmla="*/ 282 w 10000"/>
                <a:gd name="connsiteY99" fmla="*/ 2208 h 10000"/>
                <a:gd name="connsiteX100" fmla="*/ 237 w 10000"/>
                <a:gd name="connsiteY100" fmla="*/ 2339 h 10000"/>
                <a:gd name="connsiteX101" fmla="*/ 208 w 10000"/>
                <a:gd name="connsiteY101" fmla="*/ 2468 h 10000"/>
                <a:gd name="connsiteX102" fmla="*/ 170 w 10000"/>
                <a:gd name="connsiteY102" fmla="*/ 2600 h 10000"/>
                <a:gd name="connsiteX103" fmla="*/ 148 w 10000"/>
                <a:gd name="connsiteY103" fmla="*/ 2734 h 10000"/>
                <a:gd name="connsiteX104" fmla="*/ 119 w 10000"/>
                <a:gd name="connsiteY104" fmla="*/ 2865 h 10000"/>
                <a:gd name="connsiteX105" fmla="*/ 96 w 10000"/>
                <a:gd name="connsiteY105" fmla="*/ 2994 h 10000"/>
                <a:gd name="connsiteX106" fmla="*/ 74 w 10000"/>
                <a:gd name="connsiteY106" fmla="*/ 3132 h 10000"/>
                <a:gd name="connsiteX107" fmla="*/ 52 w 10000"/>
                <a:gd name="connsiteY107" fmla="*/ 3272 h 10000"/>
                <a:gd name="connsiteX108" fmla="*/ 37 w 10000"/>
                <a:gd name="connsiteY108" fmla="*/ 3404 h 10000"/>
                <a:gd name="connsiteX109" fmla="*/ 22 w 10000"/>
                <a:gd name="connsiteY109" fmla="*/ 3538 h 10000"/>
                <a:gd name="connsiteX110" fmla="*/ 15 w 10000"/>
                <a:gd name="connsiteY110" fmla="*/ 3672 h 10000"/>
                <a:gd name="connsiteX111" fmla="*/ 7 w 10000"/>
                <a:gd name="connsiteY111" fmla="*/ 3811 h 10000"/>
                <a:gd name="connsiteX112" fmla="*/ 0 w 10000"/>
                <a:gd name="connsiteY112" fmla="*/ 3944 h 10000"/>
                <a:gd name="connsiteX113" fmla="*/ 0 w 10000"/>
                <a:gd name="connsiteY113" fmla="*/ 4086 h 10000"/>
                <a:gd name="connsiteX114" fmla="*/ 7 w 10000"/>
                <a:gd name="connsiteY114" fmla="*/ 4264 h 10000"/>
                <a:gd name="connsiteX115" fmla="*/ 7 w 10000"/>
                <a:gd name="connsiteY115" fmla="*/ 4441 h 10000"/>
                <a:gd name="connsiteX116" fmla="*/ 22 w 10000"/>
                <a:gd name="connsiteY116" fmla="*/ 4607 h 10000"/>
                <a:gd name="connsiteX117" fmla="*/ 37 w 10000"/>
                <a:gd name="connsiteY117" fmla="*/ 4782 h 10000"/>
                <a:gd name="connsiteX118" fmla="*/ 59 w 10000"/>
                <a:gd name="connsiteY118" fmla="*/ 4955 h 10000"/>
                <a:gd name="connsiteX119" fmla="*/ 89 w 10000"/>
                <a:gd name="connsiteY119" fmla="*/ 5128 h 10000"/>
                <a:gd name="connsiteX120" fmla="*/ 119 w 10000"/>
                <a:gd name="connsiteY120" fmla="*/ 5299 h 10000"/>
                <a:gd name="connsiteX121" fmla="*/ 148 w 10000"/>
                <a:gd name="connsiteY121" fmla="*/ 5471 h 10000"/>
                <a:gd name="connsiteX122" fmla="*/ 193 w 10000"/>
                <a:gd name="connsiteY122" fmla="*/ 5641 h 10000"/>
                <a:gd name="connsiteX123" fmla="*/ 237 w 10000"/>
                <a:gd name="connsiteY123" fmla="*/ 5807 h 10000"/>
                <a:gd name="connsiteX124" fmla="*/ 282 w 10000"/>
                <a:gd name="connsiteY124" fmla="*/ 5976 h 10000"/>
                <a:gd name="connsiteX125" fmla="*/ 334 w 10000"/>
                <a:gd name="connsiteY125" fmla="*/ 6141 h 10000"/>
                <a:gd name="connsiteX126" fmla="*/ 393 w 10000"/>
                <a:gd name="connsiteY126" fmla="*/ 6300 h 10000"/>
                <a:gd name="connsiteX127" fmla="*/ 452 w 10000"/>
                <a:gd name="connsiteY127" fmla="*/ 6465 h 10000"/>
                <a:gd name="connsiteX128" fmla="*/ 519 w 10000"/>
                <a:gd name="connsiteY128" fmla="*/ 6625 h 10000"/>
                <a:gd name="connsiteX129" fmla="*/ 586 w 10000"/>
                <a:gd name="connsiteY129" fmla="*/ 6791 h 10000"/>
                <a:gd name="connsiteX130" fmla="*/ 660 w 10000"/>
                <a:gd name="connsiteY130" fmla="*/ 6945 h 10000"/>
                <a:gd name="connsiteX131" fmla="*/ 741 w 10000"/>
                <a:gd name="connsiteY131" fmla="*/ 7098 h 10000"/>
                <a:gd name="connsiteX132" fmla="*/ 823 w 10000"/>
                <a:gd name="connsiteY132" fmla="*/ 7262 h 10000"/>
                <a:gd name="connsiteX133" fmla="*/ 904 w 10000"/>
                <a:gd name="connsiteY133" fmla="*/ 7412 h 10000"/>
                <a:gd name="connsiteX134" fmla="*/ 993 w 10000"/>
                <a:gd name="connsiteY134" fmla="*/ 7562 h 10000"/>
                <a:gd name="connsiteX135" fmla="*/ 1090 w 10000"/>
                <a:gd name="connsiteY135" fmla="*/ 7705 h 10000"/>
                <a:gd name="connsiteX136" fmla="*/ 1186 w 10000"/>
                <a:gd name="connsiteY136" fmla="*/ 7859 h 10000"/>
                <a:gd name="connsiteX137" fmla="*/ 1290 w 10000"/>
                <a:gd name="connsiteY137" fmla="*/ 8008 h 10000"/>
                <a:gd name="connsiteX138" fmla="*/ 1386 w 10000"/>
                <a:gd name="connsiteY138" fmla="*/ 8154 h 10000"/>
                <a:gd name="connsiteX139" fmla="*/ 1497 w 10000"/>
                <a:gd name="connsiteY139" fmla="*/ 8300 h 10000"/>
                <a:gd name="connsiteX140" fmla="*/ 1609 w 10000"/>
                <a:gd name="connsiteY140" fmla="*/ 8438 h 10000"/>
                <a:gd name="connsiteX141" fmla="*/ 1727 w 10000"/>
                <a:gd name="connsiteY141" fmla="*/ 8585 h 10000"/>
                <a:gd name="connsiteX142" fmla="*/ 1846 w 10000"/>
                <a:gd name="connsiteY142" fmla="*/ 8721 h 10000"/>
                <a:gd name="connsiteX143" fmla="*/ 1964 w 10000"/>
                <a:gd name="connsiteY143" fmla="*/ 8855 h 10000"/>
                <a:gd name="connsiteX144" fmla="*/ 2090 w 10000"/>
                <a:gd name="connsiteY144" fmla="*/ 8986 h 10000"/>
                <a:gd name="connsiteX145" fmla="*/ 2224 w 10000"/>
                <a:gd name="connsiteY145" fmla="*/ 9123 h 10000"/>
                <a:gd name="connsiteX146" fmla="*/ 2350 w 10000"/>
                <a:gd name="connsiteY146" fmla="*/ 9256 h 10000"/>
                <a:gd name="connsiteX147" fmla="*/ 2491 w 10000"/>
                <a:gd name="connsiteY147" fmla="*/ 9385 h 10000"/>
                <a:gd name="connsiteX148" fmla="*/ 2617 w 10000"/>
                <a:gd name="connsiteY148" fmla="*/ 9513 h 10000"/>
                <a:gd name="connsiteX149" fmla="*/ 2765 w 10000"/>
                <a:gd name="connsiteY149" fmla="*/ 9639 h 10000"/>
                <a:gd name="connsiteX150" fmla="*/ 2906 w 10000"/>
                <a:gd name="connsiteY150" fmla="*/ 9759 h 10000"/>
                <a:gd name="connsiteX151" fmla="*/ 3054 w 10000"/>
                <a:gd name="connsiteY151" fmla="*/ 9881 h 10000"/>
                <a:gd name="connsiteX152" fmla="*/ 3108 w 10000"/>
                <a:gd name="connsiteY152" fmla="*/ 9887 h 10000"/>
                <a:gd name="connsiteX153" fmla="*/ 3210 w 10000"/>
                <a:gd name="connsiteY153" fmla="*/ 10000 h 10000"/>
                <a:gd name="connsiteX154" fmla="*/ 7539 w 10000"/>
                <a:gd name="connsiteY154" fmla="*/ 9413 h 10000"/>
                <a:gd name="connsiteX155" fmla="*/ 10000 w 10000"/>
                <a:gd name="connsiteY155" fmla="*/ 7450 h 10000"/>
                <a:gd name="connsiteX0" fmla="*/ 10000 w 10000"/>
                <a:gd name="connsiteY0" fmla="*/ 7450 h 9887"/>
                <a:gd name="connsiteX1" fmla="*/ 10000 w 10000"/>
                <a:gd name="connsiteY1" fmla="*/ 7450 h 9887"/>
                <a:gd name="connsiteX2" fmla="*/ 9911 w 10000"/>
                <a:gd name="connsiteY2" fmla="*/ 7432 h 9887"/>
                <a:gd name="connsiteX3" fmla="*/ 9815 w 10000"/>
                <a:gd name="connsiteY3" fmla="*/ 7412 h 9887"/>
                <a:gd name="connsiteX4" fmla="*/ 9726 w 10000"/>
                <a:gd name="connsiteY4" fmla="*/ 7392 h 9887"/>
                <a:gd name="connsiteX5" fmla="*/ 9637 w 10000"/>
                <a:gd name="connsiteY5" fmla="*/ 7360 h 9887"/>
                <a:gd name="connsiteX6" fmla="*/ 9548 w 10000"/>
                <a:gd name="connsiteY6" fmla="*/ 7338 h 9887"/>
                <a:gd name="connsiteX7" fmla="*/ 9466 w 10000"/>
                <a:gd name="connsiteY7" fmla="*/ 7311 h 9887"/>
                <a:gd name="connsiteX8" fmla="*/ 9377 w 10000"/>
                <a:gd name="connsiteY8" fmla="*/ 7285 h 9887"/>
                <a:gd name="connsiteX9" fmla="*/ 9288 w 10000"/>
                <a:gd name="connsiteY9" fmla="*/ 7256 h 9887"/>
                <a:gd name="connsiteX10" fmla="*/ 9118 w 10000"/>
                <a:gd name="connsiteY10" fmla="*/ 7194 h 9887"/>
                <a:gd name="connsiteX11" fmla="*/ 8955 w 10000"/>
                <a:gd name="connsiteY11" fmla="*/ 7127 h 9887"/>
                <a:gd name="connsiteX12" fmla="*/ 8792 w 10000"/>
                <a:gd name="connsiteY12" fmla="*/ 7057 h 9887"/>
                <a:gd name="connsiteX13" fmla="*/ 8636 w 10000"/>
                <a:gd name="connsiteY13" fmla="*/ 6976 h 9887"/>
                <a:gd name="connsiteX14" fmla="*/ 8480 w 10000"/>
                <a:gd name="connsiteY14" fmla="*/ 6895 h 9887"/>
                <a:gd name="connsiteX15" fmla="*/ 8340 w 10000"/>
                <a:gd name="connsiteY15" fmla="*/ 6818 h 9887"/>
                <a:gd name="connsiteX16" fmla="*/ 8199 w 10000"/>
                <a:gd name="connsiteY16" fmla="*/ 6725 h 9887"/>
                <a:gd name="connsiteX17" fmla="*/ 8058 w 10000"/>
                <a:gd name="connsiteY17" fmla="*/ 6629 h 9887"/>
                <a:gd name="connsiteX18" fmla="*/ 7924 w 10000"/>
                <a:gd name="connsiteY18" fmla="*/ 6532 h 9887"/>
                <a:gd name="connsiteX19" fmla="*/ 7798 w 10000"/>
                <a:gd name="connsiteY19" fmla="*/ 6427 h 9887"/>
                <a:gd name="connsiteX20" fmla="*/ 7672 w 10000"/>
                <a:gd name="connsiteY20" fmla="*/ 6326 h 9887"/>
                <a:gd name="connsiteX21" fmla="*/ 7554 w 10000"/>
                <a:gd name="connsiteY21" fmla="*/ 6219 h 9887"/>
                <a:gd name="connsiteX22" fmla="*/ 7450 w 10000"/>
                <a:gd name="connsiteY22" fmla="*/ 6103 h 9887"/>
                <a:gd name="connsiteX23" fmla="*/ 7346 w 10000"/>
                <a:gd name="connsiteY23" fmla="*/ 5987 h 9887"/>
                <a:gd name="connsiteX24" fmla="*/ 7250 w 10000"/>
                <a:gd name="connsiteY24" fmla="*/ 5868 h 9887"/>
                <a:gd name="connsiteX25" fmla="*/ 7161 w 10000"/>
                <a:gd name="connsiteY25" fmla="*/ 5748 h 9887"/>
                <a:gd name="connsiteX26" fmla="*/ 7072 w 10000"/>
                <a:gd name="connsiteY26" fmla="*/ 5623 h 9887"/>
                <a:gd name="connsiteX27" fmla="*/ 6990 w 10000"/>
                <a:gd name="connsiteY27" fmla="*/ 5488 h 9887"/>
                <a:gd name="connsiteX28" fmla="*/ 6953 w 10000"/>
                <a:gd name="connsiteY28" fmla="*/ 5431 h 9887"/>
                <a:gd name="connsiteX29" fmla="*/ 6916 w 10000"/>
                <a:gd name="connsiteY29" fmla="*/ 5359 h 9887"/>
                <a:gd name="connsiteX30" fmla="*/ 6887 w 10000"/>
                <a:gd name="connsiteY30" fmla="*/ 5295 h 9887"/>
                <a:gd name="connsiteX31" fmla="*/ 6850 w 10000"/>
                <a:gd name="connsiteY31" fmla="*/ 5227 h 9887"/>
                <a:gd name="connsiteX32" fmla="*/ 6820 w 10000"/>
                <a:gd name="connsiteY32" fmla="*/ 5161 h 9887"/>
                <a:gd name="connsiteX33" fmla="*/ 6790 w 10000"/>
                <a:gd name="connsiteY33" fmla="*/ 5093 h 9887"/>
                <a:gd name="connsiteX34" fmla="*/ 6768 w 10000"/>
                <a:gd name="connsiteY34" fmla="*/ 5022 h 9887"/>
                <a:gd name="connsiteX35" fmla="*/ 6738 w 10000"/>
                <a:gd name="connsiteY35" fmla="*/ 4955 h 9887"/>
                <a:gd name="connsiteX36" fmla="*/ 6723 w 10000"/>
                <a:gd name="connsiteY36" fmla="*/ 4881 h 9887"/>
                <a:gd name="connsiteX37" fmla="*/ 6694 w 10000"/>
                <a:gd name="connsiteY37" fmla="*/ 4813 h 9887"/>
                <a:gd name="connsiteX38" fmla="*/ 6679 w 10000"/>
                <a:gd name="connsiteY38" fmla="*/ 4742 h 9887"/>
                <a:gd name="connsiteX39" fmla="*/ 6664 w 10000"/>
                <a:gd name="connsiteY39" fmla="*/ 4673 h 9887"/>
                <a:gd name="connsiteX40" fmla="*/ 6649 w 10000"/>
                <a:gd name="connsiteY40" fmla="*/ 4597 h 9887"/>
                <a:gd name="connsiteX41" fmla="*/ 6635 w 10000"/>
                <a:gd name="connsiteY41" fmla="*/ 4530 h 9887"/>
                <a:gd name="connsiteX42" fmla="*/ 6620 w 10000"/>
                <a:gd name="connsiteY42" fmla="*/ 4458 h 9887"/>
                <a:gd name="connsiteX43" fmla="*/ 6612 w 10000"/>
                <a:gd name="connsiteY43" fmla="*/ 4387 h 9887"/>
                <a:gd name="connsiteX44" fmla="*/ 6605 w 10000"/>
                <a:gd name="connsiteY44" fmla="*/ 4312 h 9887"/>
                <a:gd name="connsiteX45" fmla="*/ 6597 w 10000"/>
                <a:gd name="connsiteY45" fmla="*/ 4234 h 9887"/>
                <a:gd name="connsiteX46" fmla="*/ 6597 w 10000"/>
                <a:gd name="connsiteY46" fmla="*/ 4162 h 9887"/>
                <a:gd name="connsiteX47" fmla="*/ 6590 w 10000"/>
                <a:gd name="connsiteY47" fmla="*/ 4086 h 9887"/>
                <a:gd name="connsiteX48" fmla="*/ 6597 w 10000"/>
                <a:gd name="connsiteY48" fmla="*/ 4012 h 9887"/>
                <a:gd name="connsiteX49" fmla="*/ 6605 w 10000"/>
                <a:gd name="connsiteY49" fmla="*/ 3931 h 9887"/>
                <a:gd name="connsiteX50" fmla="*/ 6605 w 10000"/>
                <a:gd name="connsiteY50" fmla="*/ 3851 h 9887"/>
                <a:gd name="connsiteX51" fmla="*/ 6612 w 10000"/>
                <a:gd name="connsiteY51" fmla="*/ 3772 h 9887"/>
                <a:gd name="connsiteX52" fmla="*/ 6620 w 10000"/>
                <a:gd name="connsiteY52" fmla="*/ 3693 h 9887"/>
                <a:gd name="connsiteX53" fmla="*/ 6635 w 10000"/>
                <a:gd name="connsiteY53" fmla="*/ 3625 h 9887"/>
                <a:gd name="connsiteX54" fmla="*/ 6649 w 10000"/>
                <a:gd name="connsiteY54" fmla="*/ 3544 h 9887"/>
                <a:gd name="connsiteX55" fmla="*/ 6664 w 10000"/>
                <a:gd name="connsiteY55" fmla="*/ 3471 h 9887"/>
                <a:gd name="connsiteX56" fmla="*/ 6686 w 10000"/>
                <a:gd name="connsiteY56" fmla="*/ 3392 h 9887"/>
                <a:gd name="connsiteX57" fmla="*/ 6709 w 10000"/>
                <a:gd name="connsiteY57" fmla="*/ 3322 h 9887"/>
                <a:gd name="connsiteX58" fmla="*/ 6731 w 10000"/>
                <a:gd name="connsiteY58" fmla="*/ 3247 h 9887"/>
                <a:gd name="connsiteX59" fmla="*/ 6753 w 10000"/>
                <a:gd name="connsiteY59" fmla="*/ 3169 h 9887"/>
                <a:gd name="connsiteX60" fmla="*/ 6783 w 10000"/>
                <a:gd name="connsiteY60" fmla="*/ 3106 h 9887"/>
                <a:gd name="connsiteX61" fmla="*/ 6812 w 10000"/>
                <a:gd name="connsiteY61" fmla="*/ 3032 h 9887"/>
                <a:gd name="connsiteX62" fmla="*/ 6842 w 10000"/>
                <a:gd name="connsiteY62" fmla="*/ 2956 h 9887"/>
                <a:gd name="connsiteX63" fmla="*/ 6879 w 10000"/>
                <a:gd name="connsiteY63" fmla="*/ 2887 h 9887"/>
                <a:gd name="connsiteX64" fmla="*/ 6909 w 10000"/>
                <a:gd name="connsiteY64" fmla="*/ 2819 h 9887"/>
                <a:gd name="connsiteX65" fmla="*/ 6946 w 10000"/>
                <a:gd name="connsiteY65" fmla="*/ 2744 h 9887"/>
                <a:gd name="connsiteX66" fmla="*/ 6990 w 10000"/>
                <a:gd name="connsiteY66" fmla="*/ 2682 h 9887"/>
                <a:gd name="connsiteX67" fmla="*/ 7027 w 10000"/>
                <a:gd name="connsiteY67" fmla="*/ 2612 h 9887"/>
                <a:gd name="connsiteX68" fmla="*/ 7072 w 10000"/>
                <a:gd name="connsiteY68" fmla="*/ 2549 h 9887"/>
                <a:gd name="connsiteX69" fmla="*/ 7109 w 10000"/>
                <a:gd name="connsiteY69" fmla="*/ 2477 h 9887"/>
                <a:gd name="connsiteX70" fmla="*/ 7161 w 10000"/>
                <a:gd name="connsiteY70" fmla="*/ 2420 h 9887"/>
                <a:gd name="connsiteX71" fmla="*/ 7213 w 10000"/>
                <a:gd name="connsiteY71" fmla="*/ 2350 h 9887"/>
                <a:gd name="connsiteX72" fmla="*/ 7257 w 10000"/>
                <a:gd name="connsiteY72" fmla="*/ 2288 h 9887"/>
                <a:gd name="connsiteX73" fmla="*/ 7309 w 10000"/>
                <a:gd name="connsiteY73" fmla="*/ 2225 h 9887"/>
                <a:gd name="connsiteX74" fmla="*/ 7361 w 10000"/>
                <a:gd name="connsiteY74" fmla="*/ 2158 h 9887"/>
                <a:gd name="connsiteX75" fmla="*/ 7413 w 10000"/>
                <a:gd name="connsiteY75" fmla="*/ 2101 h 9887"/>
                <a:gd name="connsiteX76" fmla="*/ 7472 w 10000"/>
                <a:gd name="connsiteY76" fmla="*/ 2039 h 9887"/>
                <a:gd name="connsiteX77" fmla="*/ 7524 w 10000"/>
                <a:gd name="connsiteY77" fmla="*/ 1985 h 9887"/>
                <a:gd name="connsiteX78" fmla="*/ 7583 w 10000"/>
                <a:gd name="connsiteY78" fmla="*/ 1924 h 9887"/>
                <a:gd name="connsiteX79" fmla="*/ 7610 w 10000"/>
                <a:gd name="connsiteY79" fmla="*/ 1890 h 9887"/>
                <a:gd name="connsiteX80" fmla="*/ 5390 w 10000"/>
                <a:gd name="connsiteY80" fmla="*/ 6 h 9887"/>
                <a:gd name="connsiteX81" fmla="*/ 1401 w 10000"/>
                <a:gd name="connsiteY81" fmla="*/ 0 h 9887"/>
                <a:gd name="connsiteX82" fmla="*/ 1305 w 10000"/>
                <a:gd name="connsiteY82" fmla="*/ 141 h 9887"/>
                <a:gd name="connsiteX83" fmla="*/ 1223 w 10000"/>
                <a:gd name="connsiteY83" fmla="*/ 250 h 9887"/>
                <a:gd name="connsiteX84" fmla="*/ 1149 w 10000"/>
                <a:gd name="connsiteY84" fmla="*/ 366 h 9887"/>
                <a:gd name="connsiteX85" fmla="*/ 1067 w 10000"/>
                <a:gd name="connsiteY85" fmla="*/ 484 h 9887"/>
                <a:gd name="connsiteX86" fmla="*/ 1001 w 10000"/>
                <a:gd name="connsiteY86" fmla="*/ 601 h 9887"/>
                <a:gd name="connsiteX87" fmla="*/ 927 w 10000"/>
                <a:gd name="connsiteY87" fmla="*/ 718 h 9887"/>
                <a:gd name="connsiteX88" fmla="*/ 860 w 10000"/>
                <a:gd name="connsiteY88" fmla="*/ 841 h 9887"/>
                <a:gd name="connsiteX89" fmla="*/ 793 w 10000"/>
                <a:gd name="connsiteY89" fmla="*/ 966 h 9887"/>
                <a:gd name="connsiteX90" fmla="*/ 734 w 10000"/>
                <a:gd name="connsiteY90" fmla="*/ 1079 h 9887"/>
                <a:gd name="connsiteX91" fmla="*/ 675 w 10000"/>
                <a:gd name="connsiteY91" fmla="*/ 1206 h 9887"/>
                <a:gd name="connsiteX92" fmla="*/ 615 w 10000"/>
                <a:gd name="connsiteY92" fmla="*/ 1325 h 9887"/>
                <a:gd name="connsiteX93" fmla="*/ 556 w 10000"/>
                <a:gd name="connsiteY93" fmla="*/ 1455 h 9887"/>
                <a:gd name="connsiteX94" fmla="*/ 504 w 10000"/>
                <a:gd name="connsiteY94" fmla="*/ 1573 h 9887"/>
                <a:gd name="connsiteX95" fmla="*/ 452 w 10000"/>
                <a:gd name="connsiteY95" fmla="*/ 1698 h 9887"/>
                <a:gd name="connsiteX96" fmla="*/ 408 w 10000"/>
                <a:gd name="connsiteY96" fmla="*/ 1822 h 9887"/>
                <a:gd name="connsiteX97" fmla="*/ 363 w 10000"/>
                <a:gd name="connsiteY97" fmla="*/ 1948 h 9887"/>
                <a:gd name="connsiteX98" fmla="*/ 319 w 10000"/>
                <a:gd name="connsiteY98" fmla="*/ 2081 h 9887"/>
                <a:gd name="connsiteX99" fmla="*/ 282 w 10000"/>
                <a:gd name="connsiteY99" fmla="*/ 2208 h 9887"/>
                <a:gd name="connsiteX100" fmla="*/ 237 w 10000"/>
                <a:gd name="connsiteY100" fmla="*/ 2339 h 9887"/>
                <a:gd name="connsiteX101" fmla="*/ 208 w 10000"/>
                <a:gd name="connsiteY101" fmla="*/ 2468 h 9887"/>
                <a:gd name="connsiteX102" fmla="*/ 170 w 10000"/>
                <a:gd name="connsiteY102" fmla="*/ 2600 h 9887"/>
                <a:gd name="connsiteX103" fmla="*/ 148 w 10000"/>
                <a:gd name="connsiteY103" fmla="*/ 2734 h 9887"/>
                <a:gd name="connsiteX104" fmla="*/ 119 w 10000"/>
                <a:gd name="connsiteY104" fmla="*/ 2865 h 9887"/>
                <a:gd name="connsiteX105" fmla="*/ 96 w 10000"/>
                <a:gd name="connsiteY105" fmla="*/ 2994 h 9887"/>
                <a:gd name="connsiteX106" fmla="*/ 74 w 10000"/>
                <a:gd name="connsiteY106" fmla="*/ 3132 h 9887"/>
                <a:gd name="connsiteX107" fmla="*/ 52 w 10000"/>
                <a:gd name="connsiteY107" fmla="*/ 3272 h 9887"/>
                <a:gd name="connsiteX108" fmla="*/ 37 w 10000"/>
                <a:gd name="connsiteY108" fmla="*/ 3404 h 9887"/>
                <a:gd name="connsiteX109" fmla="*/ 22 w 10000"/>
                <a:gd name="connsiteY109" fmla="*/ 3538 h 9887"/>
                <a:gd name="connsiteX110" fmla="*/ 15 w 10000"/>
                <a:gd name="connsiteY110" fmla="*/ 3672 h 9887"/>
                <a:gd name="connsiteX111" fmla="*/ 7 w 10000"/>
                <a:gd name="connsiteY111" fmla="*/ 3811 h 9887"/>
                <a:gd name="connsiteX112" fmla="*/ 0 w 10000"/>
                <a:gd name="connsiteY112" fmla="*/ 3944 h 9887"/>
                <a:gd name="connsiteX113" fmla="*/ 0 w 10000"/>
                <a:gd name="connsiteY113" fmla="*/ 4086 h 9887"/>
                <a:gd name="connsiteX114" fmla="*/ 7 w 10000"/>
                <a:gd name="connsiteY114" fmla="*/ 4264 h 9887"/>
                <a:gd name="connsiteX115" fmla="*/ 7 w 10000"/>
                <a:gd name="connsiteY115" fmla="*/ 4441 h 9887"/>
                <a:gd name="connsiteX116" fmla="*/ 22 w 10000"/>
                <a:gd name="connsiteY116" fmla="*/ 4607 h 9887"/>
                <a:gd name="connsiteX117" fmla="*/ 37 w 10000"/>
                <a:gd name="connsiteY117" fmla="*/ 4782 h 9887"/>
                <a:gd name="connsiteX118" fmla="*/ 59 w 10000"/>
                <a:gd name="connsiteY118" fmla="*/ 4955 h 9887"/>
                <a:gd name="connsiteX119" fmla="*/ 89 w 10000"/>
                <a:gd name="connsiteY119" fmla="*/ 5128 h 9887"/>
                <a:gd name="connsiteX120" fmla="*/ 119 w 10000"/>
                <a:gd name="connsiteY120" fmla="*/ 5299 h 9887"/>
                <a:gd name="connsiteX121" fmla="*/ 148 w 10000"/>
                <a:gd name="connsiteY121" fmla="*/ 5471 h 9887"/>
                <a:gd name="connsiteX122" fmla="*/ 193 w 10000"/>
                <a:gd name="connsiteY122" fmla="*/ 5641 h 9887"/>
                <a:gd name="connsiteX123" fmla="*/ 237 w 10000"/>
                <a:gd name="connsiteY123" fmla="*/ 5807 h 9887"/>
                <a:gd name="connsiteX124" fmla="*/ 282 w 10000"/>
                <a:gd name="connsiteY124" fmla="*/ 5976 h 9887"/>
                <a:gd name="connsiteX125" fmla="*/ 334 w 10000"/>
                <a:gd name="connsiteY125" fmla="*/ 6141 h 9887"/>
                <a:gd name="connsiteX126" fmla="*/ 393 w 10000"/>
                <a:gd name="connsiteY126" fmla="*/ 6300 h 9887"/>
                <a:gd name="connsiteX127" fmla="*/ 452 w 10000"/>
                <a:gd name="connsiteY127" fmla="*/ 6465 h 9887"/>
                <a:gd name="connsiteX128" fmla="*/ 519 w 10000"/>
                <a:gd name="connsiteY128" fmla="*/ 6625 h 9887"/>
                <a:gd name="connsiteX129" fmla="*/ 586 w 10000"/>
                <a:gd name="connsiteY129" fmla="*/ 6791 h 9887"/>
                <a:gd name="connsiteX130" fmla="*/ 660 w 10000"/>
                <a:gd name="connsiteY130" fmla="*/ 6945 h 9887"/>
                <a:gd name="connsiteX131" fmla="*/ 741 w 10000"/>
                <a:gd name="connsiteY131" fmla="*/ 7098 h 9887"/>
                <a:gd name="connsiteX132" fmla="*/ 823 w 10000"/>
                <a:gd name="connsiteY132" fmla="*/ 7262 h 9887"/>
                <a:gd name="connsiteX133" fmla="*/ 904 w 10000"/>
                <a:gd name="connsiteY133" fmla="*/ 7412 h 9887"/>
                <a:gd name="connsiteX134" fmla="*/ 993 w 10000"/>
                <a:gd name="connsiteY134" fmla="*/ 7562 h 9887"/>
                <a:gd name="connsiteX135" fmla="*/ 1090 w 10000"/>
                <a:gd name="connsiteY135" fmla="*/ 7705 h 9887"/>
                <a:gd name="connsiteX136" fmla="*/ 1186 w 10000"/>
                <a:gd name="connsiteY136" fmla="*/ 7859 h 9887"/>
                <a:gd name="connsiteX137" fmla="*/ 1290 w 10000"/>
                <a:gd name="connsiteY137" fmla="*/ 8008 h 9887"/>
                <a:gd name="connsiteX138" fmla="*/ 1386 w 10000"/>
                <a:gd name="connsiteY138" fmla="*/ 8154 h 9887"/>
                <a:gd name="connsiteX139" fmla="*/ 1497 w 10000"/>
                <a:gd name="connsiteY139" fmla="*/ 8300 h 9887"/>
                <a:gd name="connsiteX140" fmla="*/ 1609 w 10000"/>
                <a:gd name="connsiteY140" fmla="*/ 8438 h 9887"/>
                <a:gd name="connsiteX141" fmla="*/ 1727 w 10000"/>
                <a:gd name="connsiteY141" fmla="*/ 8585 h 9887"/>
                <a:gd name="connsiteX142" fmla="*/ 1846 w 10000"/>
                <a:gd name="connsiteY142" fmla="*/ 8721 h 9887"/>
                <a:gd name="connsiteX143" fmla="*/ 1964 w 10000"/>
                <a:gd name="connsiteY143" fmla="*/ 8855 h 9887"/>
                <a:gd name="connsiteX144" fmla="*/ 2090 w 10000"/>
                <a:gd name="connsiteY144" fmla="*/ 8986 h 9887"/>
                <a:gd name="connsiteX145" fmla="*/ 2224 w 10000"/>
                <a:gd name="connsiteY145" fmla="*/ 9123 h 9887"/>
                <a:gd name="connsiteX146" fmla="*/ 2350 w 10000"/>
                <a:gd name="connsiteY146" fmla="*/ 9256 h 9887"/>
                <a:gd name="connsiteX147" fmla="*/ 2491 w 10000"/>
                <a:gd name="connsiteY147" fmla="*/ 9385 h 9887"/>
                <a:gd name="connsiteX148" fmla="*/ 2617 w 10000"/>
                <a:gd name="connsiteY148" fmla="*/ 9513 h 9887"/>
                <a:gd name="connsiteX149" fmla="*/ 2765 w 10000"/>
                <a:gd name="connsiteY149" fmla="*/ 9639 h 9887"/>
                <a:gd name="connsiteX150" fmla="*/ 2906 w 10000"/>
                <a:gd name="connsiteY150" fmla="*/ 9759 h 9887"/>
                <a:gd name="connsiteX151" fmla="*/ 3054 w 10000"/>
                <a:gd name="connsiteY151" fmla="*/ 9881 h 9887"/>
                <a:gd name="connsiteX152" fmla="*/ 3108 w 10000"/>
                <a:gd name="connsiteY152" fmla="*/ 9887 h 9887"/>
                <a:gd name="connsiteX153" fmla="*/ 7539 w 10000"/>
                <a:gd name="connsiteY153" fmla="*/ 9413 h 9887"/>
                <a:gd name="connsiteX154" fmla="*/ 10000 w 10000"/>
                <a:gd name="connsiteY154" fmla="*/ 7450 h 9887"/>
                <a:gd name="connsiteX0" fmla="*/ 10000 w 10000"/>
                <a:gd name="connsiteY0" fmla="*/ 7535 h 9994"/>
                <a:gd name="connsiteX1" fmla="*/ 10000 w 10000"/>
                <a:gd name="connsiteY1" fmla="*/ 7535 h 9994"/>
                <a:gd name="connsiteX2" fmla="*/ 9911 w 10000"/>
                <a:gd name="connsiteY2" fmla="*/ 7517 h 9994"/>
                <a:gd name="connsiteX3" fmla="*/ 9815 w 10000"/>
                <a:gd name="connsiteY3" fmla="*/ 7497 h 9994"/>
                <a:gd name="connsiteX4" fmla="*/ 9726 w 10000"/>
                <a:gd name="connsiteY4" fmla="*/ 7476 h 9994"/>
                <a:gd name="connsiteX5" fmla="*/ 9637 w 10000"/>
                <a:gd name="connsiteY5" fmla="*/ 7444 h 9994"/>
                <a:gd name="connsiteX6" fmla="*/ 9548 w 10000"/>
                <a:gd name="connsiteY6" fmla="*/ 7422 h 9994"/>
                <a:gd name="connsiteX7" fmla="*/ 9466 w 10000"/>
                <a:gd name="connsiteY7" fmla="*/ 7395 h 9994"/>
                <a:gd name="connsiteX8" fmla="*/ 9377 w 10000"/>
                <a:gd name="connsiteY8" fmla="*/ 7368 h 9994"/>
                <a:gd name="connsiteX9" fmla="*/ 9288 w 10000"/>
                <a:gd name="connsiteY9" fmla="*/ 7339 h 9994"/>
                <a:gd name="connsiteX10" fmla="*/ 9118 w 10000"/>
                <a:gd name="connsiteY10" fmla="*/ 7276 h 9994"/>
                <a:gd name="connsiteX11" fmla="*/ 8955 w 10000"/>
                <a:gd name="connsiteY11" fmla="*/ 7208 h 9994"/>
                <a:gd name="connsiteX12" fmla="*/ 8792 w 10000"/>
                <a:gd name="connsiteY12" fmla="*/ 7138 h 9994"/>
                <a:gd name="connsiteX13" fmla="*/ 8636 w 10000"/>
                <a:gd name="connsiteY13" fmla="*/ 7056 h 9994"/>
                <a:gd name="connsiteX14" fmla="*/ 8480 w 10000"/>
                <a:gd name="connsiteY14" fmla="*/ 6974 h 9994"/>
                <a:gd name="connsiteX15" fmla="*/ 8340 w 10000"/>
                <a:gd name="connsiteY15" fmla="*/ 6896 h 9994"/>
                <a:gd name="connsiteX16" fmla="*/ 8199 w 10000"/>
                <a:gd name="connsiteY16" fmla="*/ 6802 h 9994"/>
                <a:gd name="connsiteX17" fmla="*/ 8058 w 10000"/>
                <a:gd name="connsiteY17" fmla="*/ 6705 h 9994"/>
                <a:gd name="connsiteX18" fmla="*/ 7924 w 10000"/>
                <a:gd name="connsiteY18" fmla="*/ 6607 h 9994"/>
                <a:gd name="connsiteX19" fmla="*/ 7798 w 10000"/>
                <a:gd name="connsiteY19" fmla="*/ 6500 h 9994"/>
                <a:gd name="connsiteX20" fmla="*/ 7672 w 10000"/>
                <a:gd name="connsiteY20" fmla="*/ 6398 h 9994"/>
                <a:gd name="connsiteX21" fmla="*/ 7554 w 10000"/>
                <a:gd name="connsiteY21" fmla="*/ 6290 h 9994"/>
                <a:gd name="connsiteX22" fmla="*/ 7450 w 10000"/>
                <a:gd name="connsiteY22" fmla="*/ 6173 h 9994"/>
                <a:gd name="connsiteX23" fmla="*/ 7346 w 10000"/>
                <a:gd name="connsiteY23" fmla="*/ 6055 h 9994"/>
                <a:gd name="connsiteX24" fmla="*/ 7250 w 10000"/>
                <a:gd name="connsiteY24" fmla="*/ 5935 h 9994"/>
                <a:gd name="connsiteX25" fmla="*/ 7161 w 10000"/>
                <a:gd name="connsiteY25" fmla="*/ 5814 h 9994"/>
                <a:gd name="connsiteX26" fmla="*/ 7072 w 10000"/>
                <a:gd name="connsiteY26" fmla="*/ 5687 h 9994"/>
                <a:gd name="connsiteX27" fmla="*/ 6990 w 10000"/>
                <a:gd name="connsiteY27" fmla="*/ 5551 h 9994"/>
                <a:gd name="connsiteX28" fmla="*/ 6953 w 10000"/>
                <a:gd name="connsiteY28" fmla="*/ 5493 h 9994"/>
                <a:gd name="connsiteX29" fmla="*/ 6916 w 10000"/>
                <a:gd name="connsiteY29" fmla="*/ 5420 h 9994"/>
                <a:gd name="connsiteX30" fmla="*/ 6887 w 10000"/>
                <a:gd name="connsiteY30" fmla="*/ 5356 h 9994"/>
                <a:gd name="connsiteX31" fmla="*/ 6850 w 10000"/>
                <a:gd name="connsiteY31" fmla="*/ 5287 h 9994"/>
                <a:gd name="connsiteX32" fmla="*/ 6820 w 10000"/>
                <a:gd name="connsiteY32" fmla="*/ 5220 h 9994"/>
                <a:gd name="connsiteX33" fmla="*/ 6790 w 10000"/>
                <a:gd name="connsiteY33" fmla="*/ 5151 h 9994"/>
                <a:gd name="connsiteX34" fmla="*/ 6768 w 10000"/>
                <a:gd name="connsiteY34" fmla="*/ 5079 h 9994"/>
                <a:gd name="connsiteX35" fmla="*/ 6738 w 10000"/>
                <a:gd name="connsiteY35" fmla="*/ 5012 h 9994"/>
                <a:gd name="connsiteX36" fmla="*/ 6723 w 10000"/>
                <a:gd name="connsiteY36" fmla="*/ 4937 h 9994"/>
                <a:gd name="connsiteX37" fmla="*/ 6694 w 10000"/>
                <a:gd name="connsiteY37" fmla="*/ 4868 h 9994"/>
                <a:gd name="connsiteX38" fmla="*/ 6679 w 10000"/>
                <a:gd name="connsiteY38" fmla="*/ 4796 h 9994"/>
                <a:gd name="connsiteX39" fmla="*/ 6664 w 10000"/>
                <a:gd name="connsiteY39" fmla="*/ 4726 h 9994"/>
                <a:gd name="connsiteX40" fmla="*/ 6649 w 10000"/>
                <a:gd name="connsiteY40" fmla="*/ 4650 h 9994"/>
                <a:gd name="connsiteX41" fmla="*/ 6635 w 10000"/>
                <a:gd name="connsiteY41" fmla="*/ 4582 h 9994"/>
                <a:gd name="connsiteX42" fmla="*/ 6620 w 10000"/>
                <a:gd name="connsiteY42" fmla="*/ 4509 h 9994"/>
                <a:gd name="connsiteX43" fmla="*/ 6612 w 10000"/>
                <a:gd name="connsiteY43" fmla="*/ 4437 h 9994"/>
                <a:gd name="connsiteX44" fmla="*/ 6605 w 10000"/>
                <a:gd name="connsiteY44" fmla="*/ 4361 h 9994"/>
                <a:gd name="connsiteX45" fmla="*/ 6597 w 10000"/>
                <a:gd name="connsiteY45" fmla="*/ 4282 h 9994"/>
                <a:gd name="connsiteX46" fmla="*/ 6597 w 10000"/>
                <a:gd name="connsiteY46" fmla="*/ 4210 h 9994"/>
                <a:gd name="connsiteX47" fmla="*/ 6590 w 10000"/>
                <a:gd name="connsiteY47" fmla="*/ 4133 h 9994"/>
                <a:gd name="connsiteX48" fmla="*/ 6597 w 10000"/>
                <a:gd name="connsiteY48" fmla="*/ 4058 h 9994"/>
                <a:gd name="connsiteX49" fmla="*/ 6605 w 10000"/>
                <a:gd name="connsiteY49" fmla="*/ 3976 h 9994"/>
                <a:gd name="connsiteX50" fmla="*/ 6605 w 10000"/>
                <a:gd name="connsiteY50" fmla="*/ 3895 h 9994"/>
                <a:gd name="connsiteX51" fmla="*/ 6612 w 10000"/>
                <a:gd name="connsiteY51" fmla="*/ 3815 h 9994"/>
                <a:gd name="connsiteX52" fmla="*/ 6620 w 10000"/>
                <a:gd name="connsiteY52" fmla="*/ 3735 h 9994"/>
                <a:gd name="connsiteX53" fmla="*/ 6635 w 10000"/>
                <a:gd name="connsiteY53" fmla="*/ 3666 h 9994"/>
                <a:gd name="connsiteX54" fmla="*/ 6649 w 10000"/>
                <a:gd name="connsiteY54" fmla="*/ 3585 h 9994"/>
                <a:gd name="connsiteX55" fmla="*/ 6664 w 10000"/>
                <a:gd name="connsiteY55" fmla="*/ 3511 h 9994"/>
                <a:gd name="connsiteX56" fmla="*/ 6686 w 10000"/>
                <a:gd name="connsiteY56" fmla="*/ 3431 h 9994"/>
                <a:gd name="connsiteX57" fmla="*/ 6709 w 10000"/>
                <a:gd name="connsiteY57" fmla="*/ 3360 h 9994"/>
                <a:gd name="connsiteX58" fmla="*/ 6731 w 10000"/>
                <a:gd name="connsiteY58" fmla="*/ 3284 h 9994"/>
                <a:gd name="connsiteX59" fmla="*/ 6753 w 10000"/>
                <a:gd name="connsiteY59" fmla="*/ 3205 h 9994"/>
                <a:gd name="connsiteX60" fmla="*/ 6783 w 10000"/>
                <a:gd name="connsiteY60" fmla="*/ 3141 h 9994"/>
                <a:gd name="connsiteX61" fmla="*/ 6812 w 10000"/>
                <a:gd name="connsiteY61" fmla="*/ 3067 h 9994"/>
                <a:gd name="connsiteX62" fmla="*/ 6842 w 10000"/>
                <a:gd name="connsiteY62" fmla="*/ 2990 h 9994"/>
                <a:gd name="connsiteX63" fmla="*/ 6879 w 10000"/>
                <a:gd name="connsiteY63" fmla="*/ 2920 h 9994"/>
                <a:gd name="connsiteX64" fmla="*/ 6909 w 10000"/>
                <a:gd name="connsiteY64" fmla="*/ 2851 h 9994"/>
                <a:gd name="connsiteX65" fmla="*/ 6946 w 10000"/>
                <a:gd name="connsiteY65" fmla="*/ 2775 h 9994"/>
                <a:gd name="connsiteX66" fmla="*/ 6990 w 10000"/>
                <a:gd name="connsiteY66" fmla="*/ 2713 h 9994"/>
                <a:gd name="connsiteX67" fmla="*/ 7027 w 10000"/>
                <a:gd name="connsiteY67" fmla="*/ 2642 h 9994"/>
                <a:gd name="connsiteX68" fmla="*/ 7072 w 10000"/>
                <a:gd name="connsiteY68" fmla="*/ 2578 h 9994"/>
                <a:gd name="connsiteX69" fmla="*/ 7109 w 10000"/>
                <a:gd name="connsiteY69" fmla="*/ 2505 h 9994"/>
                <a:gd name="connsiteX70" fmla="*/ 7161 w 10000"/>
                <a:gd name="connsiteY70" fmla="*/ 2448 h 9994"/>
                <a:gd name="connsiteX71" fmla="*/ 7213 w 10000"/>
                <a:gd name="connsiteY71" fmla="*/ 2377 h 9994"/>
                <a:gd name="connsiteX72" fmla="*/ 7257 w 10000"/>
                <a:gd name="connsiteY72" fmla="*/ 2314 h 9994"/>
                <a:gd name="connsiteX73" fmla="*/ 7309 w 10000"/>
                <a:gd name="connsiteY73" fmla="*/ 2250 h 9994"/>
                <a:gd name="connsiteX74" fmla="*/ 7361 w 10000"/>
                <a:gd name="connsiteY74" fmla="*/ 2183 h 9994"/>
                <a:gd name="connsiteX75" fmla="*/ 7413 w 10000"/>
                <a:gd name="connsiteY75" fmla="*/ 2125 h 9994"/>
                <a:gd name="connsiteX76" fmla="*/ 7472 w 10000"/>
                <a:gd name="connsiteY76" fmla="*/ 2062 h 9994"/>
                <a:gd name="connsiteX77" fmla="*/ 7524 w 10000"/>
                <a:gd name="connsiteY77" fmla="*/ 2008 h 9994"/>
                <a:gd name="connsiteX78" fmla="*/ 7583 w 10000"/>
                <a:gd name="connsiteY78" fmla="*/ 1946 h 9994"/>
                <a:gd name="connsiteX79" fmla="*/ 7610 w 10000"/>
                <a:gd name="connsiteY79" fmla="*/ 1912 h 9994"/>
                <a:gd name="connsiteX80" fmla="*/ 5390 w 10000"/>
                <a:gd name="connsiteY80" fmla="*/ 6 h 9994"/>
                <a:gd name="connsiteX81" fmla="*/ 1401 w 10000"/>
                <a:gd name="connsiteY81" fmla="*/ 0 h 9994"/>
                <a:gd name="connsiteX82" fmla="*/ 1305 w 10000"/>
                <a:gd name="connsiteY82" fmla="*/ 143 h 9994"/>
                <a:gd name="connsiteX83" fmla="*/ 1223 w 10000"/>
                <a:gd name="connsiteY83" fmla="*/ 253 h 9994"/>
                <a:gd name="connsiteX84" fmla="*/ 1149 w 10000"/>
                <a:gd name="connsiteY84" fmla="*/ 370 h 9994"/>
                <a:gd name="connsiteX85" fmla="*/ 1067 w 10000"/>
                <a:gd name="connsiteY85" fmla="*/ 490 h 9994"/>
                <a:gd name="connsiteX86" fmla="*/ 1001 w 10000"/>
                <a:gd name="connsiteY86" fmla="*/ 608 h 9994"/>
                <a:gd name="connsiteX87" fmla="*/ 927 w 10000"/>
                <a:gd name="connsiteY87" fmla="*/ 726 h 9994"/>
                <a:gd name="connsiteX88" fmla="*/ 860 w 10000"/>
                <a:gd name="connsiteY88" fmla="*/ 851 h 9994"/>
                <a:gd name="connsiteX89" fmla="*/ 793 w 10000"/>
                <a:gd name="connsiteY89" fmla="*/ 977 h 9994"/>
                <a:gd name="connsiteX90" fmla="*/ 734 w 10000"/>
                <a:gd name="connsiteY90" fmla="*/ 1091 h 9994"/>
                <a:gd name="connsiteX91" fmla="*/ 675 w 10000"/>
                <a:gd name="connsiteY91" fmla="*/ 1220 h 9994"/>
                <a:gd name="connsiteX92" fmla="*/ 615 w 10000"/>
                <a:gd name="connsiteY92" fmla="*/ 1340 h 9994"/>
                <a:gd name="connsiteX93" fmla="*/ 556 w 10000"/>
                <a:gd name="connsiteY93" fmla="*/ 1472 h 9994"/>
                <a:gd name="connsiteX94" fmla="*/ 504 w 10000"/>
                <a:gd name="connsiteY94" fmla="*/ 1591 h 9994"/>
                <a:gd name="connsiteX95" fmla="*/ 452 w 10000"/>
                <a:gd name="connsiteY95" fmla="*/ 1717 h 9994"/>
                <a:gd name="connsiteX96" fmla="*/ 408 w 10000"/>
                <a:gd name="connsiteY96" fmla="*/ 1843 h 9994"/>
                <a:gd name="connsiteX97" fmla="*/ 363 w 10000"/>
                <a:gd name="connsiteY97" fmla="*/ 1970 h 9994"/>
                <a:gd name="connsiteX98" fmla="*/ 319 w 10000"/>
                <a:gd name="connsiteY98" fmla="*/ 2105 h 9994"/>
                <a:gd name="connsiteX99" fmla="*/ 282 w 10000"/>
                <a:gd name="connsiteY99" fmla="*/ 2233 h 9994"/>
                <a:gd name="connsiteX100" fmla="*/ 237 w 10000"/>
                <a:gd name="connsiteY100" fmla="*/ 2366 h 9994"/>
                <a:gd name="connsiteX101" fmla="*/ 208 w 10000"/>
                <a:gd name="connsiteY101" fmla="*/ 2496 h 9994"/>
                <a:gd name="connsiteX102" fmla="*/ 170 w 10000"/>
                <a:gd name="connsiteY102" fmla="*/ 2630 h 9994"/>
                <a:gd name="connsiteX103" fmla="*/ 148 w 10000"/>
                <a:gd name="connsiteY103" fmla="*/ 2765 h 9994"/>
                <a:gd name="connsiteX104" fmla="*/ 119 w 10000"/>
                <a:gd name="connsiteY104" fmla="*/ 2898 h 9994"/>
                <a:gd name="connsiteX105" fmla="*/ 96 w 10000"/>
                <a:gd name="connsiteY105" fmla="*/ 3028 h 9994"/>
                <a:gd name="connsiteX106" fmla="*/ 74 w 10000"/>
                <a:gd name="connsiteY106" fmla="*/ 3168 h 9994"/>
                <a:gd name="connsiteX107" fmla="*/ 52 w 10000"/>
                <a:gd name="connsiteY107" fmla="*/ 3309 h 9994"/>
                <a:gd name="connsiteX108" fmla="*/ 37 w 10000"/>
                <a:gd name="connsiteY108" fmla="*/ 3443 h 9994"/>
                <a:gd name="connsiteX109" fmla="*/ 22 w 10000"/>
                <a:gd name="connsiteY109" fmla="*/ 3578 h 9994"/>
                <a:gd name="connsiteX110" fmla="*/ 15 w 10000"/>
                <a:gd name="connsiteY110" fmla="*/ 3714 h 9994"/>
                <a:gd name="connsiteX111" fmla="*/ 7 w 10000"/>
                <a:gd name="connsiteY111" fmla="*/ 3855 h 9994"/>
                <a:gd name="connsiteX112" fmla="*/ 0 w 10000"/>
                <a:gd name="connsiteY112" fmla="*/ 3989 h 9994"/>
                <a:gd name="connsiteX113" fmla="*/ 0 w 10000"/>
                <a:gd name="connsiteY113" fmla="*/ 4133 h 9994"/>
                <a:gd name="connsiteX114" fmla="*/ 7 w 10000"/>
                <a:gd name="connsiteY114" fmla="*/ 4313 h 9994"/>
                <a:gd name="connsiteX115" fmla="*/ 7 w 10000"/>
                <a:gd name="connsiteY115" fmla="*/ 4492 h 9994"/>
                <a:gd name="connsiteX116" fmla="*/ 22 w 10000"/>
                <a:gd name="connsiteY116" fmla="*/ 4660 h 9994"/>
                <a:gd name="connsiteX117" fmla="*/ 37 w 10000"/>
                <a:gd name="connsiteY117" fmla="*/ 4837 h 9994"/>
                <a:gd name="connsiteX118" fmla="*/ 59 w 10000"/>
                <a:gd name="connsiteY118" fmla="*/ 5012 h 9994"/>
                <a:gd name="connsiteX119" fmla="*/ 89 w 10000"/>
                <a:gd name="connsiteY119" fmla="*/ 5187 h 9994"/>
                <a:gd name="connsiteX120" fmla="*/ 119 w 10000"/>
                <a:gd name="connsiteY120" fmla="*/ 5360 h 9994"/>
                <a:gd name="connsiteX121" fmla="*/ 148 w 10000"/>
                <a:gd name="connsiteY121" fmla="*/ 5534 h 9994"/>
                <a:gd name="connsiteX122" fmla="*/ 193 w 10000"/>
                <a:gd name="connsiteY122" fmla="*/ 5705 h 9994"/>
                <a:gd name="connsiteX123" fmla="*/ 237 w 10000"/>
                <a:gd name="connsiteY123" fmla="*/ 5873 h 9994"/>
                <a:gd name="connsiteX124" fmla="*/ 282 w 10000"/>
                <a:gd name="connsiteY124" fmla="*/ 6044 h 9994"/>
                <a:gd name="connsiteX125" fmla="*/ 334 w 10000"/>
                <a:gd name="connsiteY125" fmla="*/ 6211 h 9994"/>
                <a:gd name="connsiteX126" fmla="*/ 393 w 10000"/>
                <a:gd name="connsiteY126" fmla="*/ 6372 h 9994"/>
                <a:gd name="connsiteX127" fmla="*/ 452 w 10000"/>
                <a:gd name="connsiteY127" fmla="*/ 6539 h 9994"/>
                <a:gd name="connsiteX128" fmla="*/ 519 w 10000"/>
                <a:gd name="connsiteY128" fmla="*/ 6701 h 9994"/>
                <a:gd name="connsiteX129" fmla="*/ 586 w 10000"/>
                <a:gd name="connsiteY129" fmla="*/ 6869 h 9994"/>
                <a:gd name="connsiteX130" fmla="*/ 660 w 10000"/>
                <a:gd name="connsiteY130" fmla="*/ 7024 h 9994"/>
                <a:gd name="connsiteX131" fmla="*/ 741 w 10000"/>
                <a:gd name="connsiteY131" fmla="*/ 7179 h 9994"/>
                <a:gd name="connsiteX132" fmla="*/ 823 w 10000"/>
                <a:gd name="connsiteY132" fmla="*/ 7345 h 9994"/>
                <a:gd name="connsiteX133" fmla="*/ 904 w 10000"/>
                <a:gd name="connsiteY133" fmla="*/ 7497 h 9994"/>
                <a:gd name="connsiteX134" fmla="*/ 993 w 10000"/>
                <a:gd name="connsiteY134" fmla="*/ 7648 h 9994"/>
                <a:gd name="connsiteX135" fmla="*/ 1090 w 10000"/>
                <a:gd name="connsiteY135" fmla="*/ 7793 h 9994"/>
                <a:gd name="connsiteX136" fmla="*/ 1186 w 10000"/>
                <a:gd name="connsiteY136" fmla="*/ 7949 h 9994"/>
                <a:gd name="connsiteX137" fmla="*/ 1290 w 10000"/>
                <a:gd name="connsiteY137" fmla="*/ 8100 h 9994"/>
                <a:gd name="connsiteX138" fmla="*/ 1386 w 10000"/>
                <a:gd name="connsiteY138" fmla="*/ 8247 h 9994"/>
                <a:gd name="connsiteX139" fmla="*/ 1497 w 10000"/>
                <a:gd name="connsiteY139" fmla="*/ 8395 h 9994"/>
                <a:gd name="connsiteX140" fmla="*/ 1609 w 10000"/>
                <a:gd name="connsiteY140" fmla="*/ 8534 h 9994"/>
                <a:gd name="connsiteX141" fmla="*/ 1727 w 10000"/>
                <a:gd name="connsiteY141" fmla="*/ 8683 h 9994"/>
                <a:gd name="connsiteX142" fmla="*/ 1846 w 10000"/>
                <a:gd name="connsiteY142" fmla="*/ 8821 h 9994"/>
                <a:gd name="connsiteX143" fmla="*/ 1964 w 10000"/>
                <a:gd name="connsiteY143" fmla="*/ 8956 h 9994"/>
                <a:gd name="connsiteX144" fmla="*/ 2090 w 10000"/>
                <a:gd name="connsiteY144" fmla="*/ 9089 h 9994"/>
                <a:gd name="connsiteX145" fmla="*/ 2224 w 10000"/>
                <a:gd name="connsiteY145" fmla="*/ 9227 h 9994"/>
                <a:gd name="connsiteX146" fmla="*/ 2350 w 10000"/>
                <a:gd name="connsiteY146" fmla="*/ 9362 h 9994"/>
                <a:gd name="connsiteX147" fmla="*/ 2491 w 10000"/>
                <a:gd name="connsiteY147" fmla="*/ 9492 h 9994"/>
                <a:gd name="connsiteX148" fmla="*/ 2617 w 10000"/>
                <a:gd name="connsiteY148" fmla="*/ 9622 h 9994"/>
                <a:gd name="connsiteX149" fmla="*/ 2765 w 10000"/>
                <a:gd name="connsiteY149" fmla="*/ 9749 h 9994"/>
                <a:gd name="connsiteX150" fmla="*/ 2906 w 10000"/>
                <a:gd name="connsiteY150" fmla="*/ 9871 h 9994"/>
                <a:gd name="connsiteX151" fmla="*/ 3054 w 10000"/>
                <a:gd name="connsiteY151" fmla="*/ 9994 h 9994"/>
                <a:gd name="connsiteX152" fmla="*/ 7539 w 10000"/>
                <a:gd name="connsiteY152" fmla="*/ 9521 h 9994"/>
                <a:gd name="connsiteX153" fmla="*/ 10000 w 10000"/>
                <a:gd name="connsiteY153" fmla="*/ 7535 h 9994"/>
                <a:gd name="connsiteX0" fmla="*/ 10000 w 10000"/>
                <a:gd name="connsiteY0" fmla="*/ 7540 h 9877"/>
                <a:gd name="connsiteX1" fmla="*/ 10000 w 10000"/>
                <a:gd name="connsiteY1" fmla="*/ 7540 h 9877"/>
                <a:gd name="connsiteX2" fmla="*/ 9911 w 10000"/>
                <a:gd name="connsiteY2" fmla="*/ 7522 h 9877"/>
                <a:gd name="connsiteX3" fmla="*/ 9815 w 10000"/>
                <a:gd name="connsiteY3" fmla="*/ 7502 h 9877"/>
                <a:gd name="connsiteX4" fmla="*/ 9726 w 10000"/>
                <a:gd name="connsiteY4" fmla="*/ 7480 h 9877"/>
                <a:gd name="connsiteX5" fmla="*/ 9637 w 10000"/>
                <a:gd name="connsiteY5" fmla="*/ 7448 h 9877"/>
                <a:gd name="connsiteX6" fmla="*/ 9548 w 10000"/>
                <a:gd name="connsiteY6" fmla="*/ 7426 h 9877"/>
                <a:gd name="connsiteX7" fmla="*/ 9466 w 10000"/>
                <a:gd name="connsiteY7" fmla="*/ 7399 h 9877"/>
                <a:gd name="connsiteX8" fmla="*/ 9377 w 10000"/>
                <a:gd name="connsiteY8" fmla="*/ 7372 h 9877"/>
                <a:gd name="connsiteX9" fmla="*/ 9288 w 10000"/>
                <a:gd name="connsiteY9" fmla="*/ 7343 h 9877"/>
                <a:gd name="connsiteX10" fmla="*/ 9118 w 10000"/>
                <a:gd name="connsiteY10" fmla="*/ 7280 h 9877"/>
                <a:gd name="connsiteX11" fmla="*/ 8955 w 10000"/>
                <a:gd name="connsiteY11" fmla="*/ 7212 h 9877"/>
                <a:gd name="connsiteX12" fmla="*/ 8792 w 10000"/>
                <a:gd name="connsiteY12" fmla="*/ 7142 h 9877"/>
                <a:gd name="connsiteX13" fmla="*/ 8636 w 10000"/>
                <a:gd name="connsiteY13" fmla="*/ 7060 h 9877"/>
                <a:gd name="connsiteX14" fmla="*/ 8480 w 10000"/>
                <a:gd name="connsiteY14" fmla="*/ 6978 h 9877"/>
                <a:gd name="connsiteX15" fmla="*/ 8340 w 10000"/>
                <a:gd name="connsiteY15" fmla="*/ 6900 h 9877"/>
                <a:gd name="connsiteX16" fmla="*/ 8199 w 10000"/>
                <a:gd name="connsiteY16" fmla="*/ 6806 h 9877"/>
                <a:gd name="connsiteX17" fmla="*/ 8058 w 10000"/>
                <a:gd name="connsiteY17" fmla="*/ 6709 h 9877"/>
                <a:gd name="connsiteX18" fmla="*/ 7924 w 10000"/>
                <a:gd name="connsiteY18" fmla="*/ 6611 h 9877"/>
                <a:gd name="connsiteX19" fmla="*/ 7798 w 10000"/>
                <a:gd name="connsiteY19" fmla="*/ 6504 h 9877"/>
                <a:gd name="connsiteX20" fmla="*/ 7672 w 10000"/>
                <a:gd name="connsiteY20" fmla="*/ 6402 h 9877"/>
                <a:gd name="connsiteX21" fmla="*/ 7554 w 10000"/>
                <a:gd name="connsiteY21" fmla="*/ 6294 h 9877"/>
                <a:gd name="connsiteX22" fmla="*/ 7450 w 10000"/>
                <a:gd name="connsiteY22" fmla="*/ 6177 h 9877"/>
                <a:gd name="connsiteX23" fmla="*/ 7346 w 10000"/>
                <a:gd name="connsiteY23" fmla="*/ 6059 h 9877"/>
                <a:gd name="connsiteX24" fmla="*/ 7250 w 10000"/>
                <a:gd name="connsiteY24" fmla="*/ 5939 h 9877"/>
                <a:gd name="connsiteX25" fmla="*/ 7161 w 10000"/>
                <a:gd name="connsiteY25" fmla="*/ 5817 h 9877"/>
                <a:gd name="connsiteX26" fmla="*/ 7072 w 10000"/>
                <a:gd name="connsiteY26" fmla="*/ 5690 h 9877"/>
                <a:gd name="connsiteX27" fmla="*/ 6990 w 10000"/>
                <a:gd name="connsiteY27" fmla="*/ 5554 h 9877"/>
                <a:gd name="connsiteX28" fmla="*/ 6953 w 10000"/>
                <a:gd name="connsiteY28" fmla="*/ 5496 h 9877"/>
                <a:gd name="connsiteX29" fmla="*/ 6916 w 10000"/>
                <a:gd name="connsiteY29" fmla="*/ 5423 h 9877"/>
                <a:gd name="connsiteX30" fmla="*/ 6887 w 10000"/>
                <a:gd name="connsiteY30" fmla="*/ 5359 h 9877"/>
                <a:gd name="connsiteX31" fmla="*/ 6850 w 10000"/>
                <a:gd name="connsiteY31" fmla="*/ 5290 h 9877"/>
                <a:gd name="connsiteX32" fmla="*/ 6820 w 10000"/>
                <a:gd name="connsiteY32" fmla="*/ 5223 h 9877"/>
                <a:gd name="connsiteX33" fmla="*/ 6790 w 10000"/>
                <a:gd name="connsiteY33" fmla="*/ 5154 h 9877"/>
                <a:gd name="connsiteX34" fmla="*/ 6768 w 10000"/>
                <a:gd name="connsiteY34" fmla="*/ 5082 h 9877"/>
                <a:gd name="connsiteX35" fmla="*/ 6738 w 10000"/>
                <a:gd name="connsiteY35" fmla="*/ 5015 h 9877"/>
                <a:gd name="connsiteX36" fmla="*/ 6723 w 10000"/>
                <a:gd name="connsiteY36" fmla="*/ 4940 h 9877"/>
                <a:gd name="connsiteX37" fmla="*/ 6694 w 10000"/>
                <a:gd name="connsiteY37" fmla="*/ 4871 h 9877"/>
                <a:gd name="connsiteX38" fmla="*/ 6679 w 10000"/>
                <a:gd name="connsiteY38" fmla="*/ 4799 h 9877"/>
                <a:gd name="connsiteX39" fmla="*/ 6664 w 10000"/>
                <a:gd name="connsiteY39" fmla="*/ 4729 h 9877"/>
                <a:gd name="connsiteX40" fmla="*/ 6649 w 10000"/>
                <a:gd name="connsiteY40" fmla="*/ 4653 h 9877"/>
                <a:gd name="connsiteX41" fmla="*/ 6635 w 10000"/>
                <a:gd name="connsiteY41" fmla="*/ 4585 h 9877"/>
                <a:gd name="connsiteX42" fmla="*/ 6620 w 10000"/>
                <a:gd name="connsiteY42" fmla="*/ 4512 h 9877"/>
                <a:gd name="connsiteX43" fmla="*/ 6612 w 10000"/>
                <a:gd name="connsiteY43" fmla="*/ 4440 h 9877"/>
                <a:gd name="connsiteX44" fmla="*/ 6605 w 10000"/>
                <a:gd name="connsiteY44" fmla="*/ 4364 h 9877"/>
                <a:gd name="connsiteX45" fmla="*/ 6597 w 10000"/>
                <a:gd name="connsiteY45" fmla="*/ 4285 h 9877"/>
                <a:gd name="connsiteX46" fmla="*/ 6597 w 10000"/>
                <a:gd name="connsiteY46" fmla="*/ 4213 h 9877"/>
                <a:gd name="connsiteX47" fmla="*/ 6590 w 10000"/>
                <a:gd name="connsiteY47" fmla="*/ 4135 h 9877"/>
                <a:gd name="connsiteX48" fmla="*/ 6597 w 10000"/>
                <a:gd name="connsiteY48" fmla="*/ 4060 h 9877"/>
                <a:gd name="connsiteX49" fmla="*/ 6605 w 10000"/>
                <a:gd name="connsiteY49" fmla="*/ 3978 h 9877"/>
                <a:gd name="connsiteX50" fmla="*/ 6605 w 10000"/>
                <a:gd name="connsiteY50" fmla="*/ 3897 h 9877"/>
                <a:gd name="connsiteX51" fmla="*/ 6612 w 10000"/>
                <a:gd name="connsiteY51" fmla="*/ 3817 h 9877"/>
                <a:gd name="connsiteX52" fmla="*/ 6620 w 10000"/>
                <a:gd name="connsiteY52" fmla="*/ 3737 h 9877"/>
                <a:gd name="connsiteX53" fmla="*/ 6635 w 10000"/>
                <a:gd name="connsiteY53" fmla="*/ 3668 h 9877"/>
                <a:gd name="connsiteX54" fmla="*/ 6649 w 10000"/>
                <a:gd name="connsiteY54" fmla="*/ 3587 h 9877"/>
                <a:gd name="connsiteX55" fmla="*/ 6664 w 10000"/>
                <a:gd name="connsiteY55" fmla="*/ 3513 h 9877"/>
                <a:gd name="connsiteX56" fmla="*/ 6686 w 10000"/>
                <a:gd name="connsiteY56" fmla="*/ 3433 h 9877"/>
                <a:gd name="connsiteX57" fmla="*/ 6709 w 10000"/>
                <a:gd name="connsiteY57" fmla="*/ 3362 h 9877"/>
                <a:gd name="connsiteX58" fmla="*/ 6731 w 10000"/>
                <a:gd name="connsiteY58" fmla="*/ 3286 h 9877"/>
                <a:gd name="connsiteX59" fmla="*/ 6753 w 10000"/>
                <a:gd name="connsiteY59" fmla="*/ 3207 h 9877"/>
                <a:gd name="connsiteX60" fmla="*/ 6783 w 10000"/>
                <a:gd name="connsiteY60" fmla="*/ 3143 h 9877"/>
                <a:gd name="connsiteX61" fmla="*/ 6812 w 10000"/>
                <a:gd name="connsiteY61" fmla="*/ 3069 h 9877"/>
                <a:gd name="connsiteX62" fmla="*/ 6842 w 10000"/>
                <a:gd name="connsiteY62" fmla="*/ 2992 h 9877"/>
                <a:gd name="connsiteX63" fmla="*/ 6879 w 10000"/>
                <a:gd name="connsiteY63" fmla="*/ 2922 h 9877"/>
                <a:gd name="connsiteX64" fmla="*/ 6909 w 10000"/>
                <a:gd name="connsiteY64" fmla="*/ 2853 h 9877"/>
                <a:gd name="connsiteX65" fmla="*/ 6946 w 10000"/>
                <a:gd name="connsiteY65" fmla="*/ 2777 h 9877"/>
                <a:gd name="connsiteX66" fmla="*/ 6990 w 10000"/>
                <a:gd name="connsiteY66" fmla="*/ 2715 h 9877"/>
                <a:gd name="connsiteX67" fmla="*/ 7027 w 10000"/>
                <a:gd name="connsiteY67" fmla="*/ 2644 h 9877"/>
                <a:gd name="connsiteX68" fmla="*/ 7072 w 10000"/>
                <a:gd name="connsiteY68" fmla="*/ 2580 h 9877"/>
                <a:gd name="connsiteX69" fmla="*/ 7109 w 10000"/>
                <a:gd name="connsiteY69" fmla="*/ 2507 h 9877"/>
                <a:gd name="connsiteX70" fmla="*/ 7161 w 10000"/>
                <a:gd name="connsiteY70" fmla="*/ 2449 h 9877"/>
                <a:gd name="connsiteX71" fmla="*/ 7213 w 10000"/>
                <a:gd name="connsiteY71" fmla="*/ 2378 h 9877"/>
                <a:gd name="connsiteX72" fmla="*/ 7257 w 10000"/>
                <a:gd name="connsiteY72" fmla="*/ 2315 h 9877"/>
                <a:gd name="connsiteX73" fmla="*/ 7309 w 10000"/>
                <a:gd name="connsiteY73" fmla="*/ 2251 h 9877"/>
                <a:gd name="connsiteX74" fmla="*/ 7361 w 10000"/>
                <a:gd name="connsiteY74" fmla="*/ 2184 h 9877"/>
                <a:gd name="connsiteX75" fmla="*/ 7413 w 10000"/>
                <a:gd name="connsiteY75" fmla="*/ 2126 h 9877"/>
                <a:gd name="connsiteX76" fmla="*/ 7472 w 10000"/>
                <a:gd name="connsiteY76" fmla="*/ 2063 h 9877"/>
                <a:gd name="connsiteX77" fmla="*/ 7524 w 10000"/>
                <a:gd name="connsiteY77" fmla="*/ 2009 h 9877"/>
                <a:gd name="connsiteX78" fmla="*/ 7583 w 10000"/>
                <a:gd name="connsiteY78" fmla="*/ 1947 h 9877"/>
                <a:gd name="connsiteX79" fmla="*/ 7610 w 10000"/>
                <a:gd name="connsiteY79" fmla="*/ 1913 h 9877"/>
                <a:gd name="connsiteX80" fmla="*/ 5390 w 10000"/>
                <a:gd name="connsiteY80" fmla="*/ 6 h 9877"/>
                <a:gd name="connsiteX81" fmla="*/ 1401 w 10000"/>
                <a:gd name="connsiteY81" fmla="*/ 0 h 9877"/>
                <a:gd name="connsiteX82" fmla="*/ 1305 w 10000"/>
                <a:gd name="connsiteY82" fmla="*/ 143 h 9877"/>
                <a:gd name="connsiteX83" fmla="*/ 1223 w 10000"/>
                <a:gd name="connsiteY83" fmla="*/ 253 h 9877"/>
                <a:gd name="connsiteX84" fmla="*/ 1149 w 10000"/>
                <a:gd name="connsiteY84" fmla="*/ 370 h 9877"/>
                <a:gd name="connsiteX85" fmla="*/ 1067 w 10000"/>
                <a:gd name="connsiteY85" fmla="*/ 490 h 9877"/>
                <a:gd name="connsiteX86" fmla="*/ 1001 w 10000"/>
                <a:gd name="connsiteY86" fmla="*/ 608 h 9877"/>
                <a:gd name="connsiteX87" fmla="*/ 927 w 10000"/>
                <a:gd name="connsiteY87" fmla="*/ 726 h 9877"/>
                <a:gd name="connsiteX88" fmla="*/ 860 w 10000"/>
                <a:gd name="connsiteY88" fmla="*/ 852 h 9877"/>
                <a:gd name="connsiteX89" fmla="*/ 793 w 10000"/>
                <a:gd name="connsiteY89" fmla="*/ 978 h 9877"/>
                <a:gd name="connsiteX90" fmla="*/ 734 w 10000"/>
                <a:gd name="connsiteY90" fmla="*/ 1092 h 9877"/>
                <a:gd name="connsiteX91" fmla="*/ 675 w 10000"/>
                <a:gd name="connsiteY91" fmla="*/ 1221 h 9877"/>
                <a:gd name="connsiteX92" fmla="*/ 615 w 10000"/>
                <a:gd name="connsiteY92" fmla="*/ 1341 h 9877"/>
                <a:gd name="connsiteX93" fmla="*/ 556 w 10000"/>
                <a:gd name="connsiteY93" fmla="*/ 1473 h 9877"/>
                <a:gd name="connsiteX94" fmla="*/ 504 w 10000"/>
                <a:gd name="connsiteY94" fmla="*/ 1592 h 9877"/>
                <a:gd name="connsiteX95" fmla="*/ 452 w 10000"/>
                <a:gd name="connsiteY95" fmla="*/ 1718 h 9877"/>
                <a:gd name="connsiteX96" fmla="*/ 408 w 10000"/>
                <a:gd name="connsiteY96" fmla="*/ 1844 h 9877"/>
                <a:gd name="connsiteX97" fmla="*/ 363 w 10000"/>
                <a:gd name="connsiteY97" fmla="*/ 1971 h 9877"/>
                <a:gd name="connsiteX98" fmla="*/ 319 w 10000"/>
                <a:gd name="connsiteY98" fmla="*/ 2106 h 9877"/>
                <a:gd name="connsiteX99" fmla="*/ 282 w 10000"/>
                <a:gd name="connsiteY99" fmla="*/ 2234 h 9877"/>
                <a:gd name="connsiteX100" fmla="*/ 237 w 10000"/>
                <a:gd name="connsiteY100" fmla="*/ 2367 h 9877"/>
                <a:gd name="connsiteX101" fmla="*/ 208 w 10000"/>
                <a:gd name="connsiteY101" fmla="*/ 2497 h 9877"/>
                <a:gd name="connsiteX102" fmla="*/ 170 w 10000"/>
                <a:gd name="connsiteY102" fmla="*/ 2632 h 9877"/>
                <a:gd name="connsiteX103" fmla="*/ 148 w 10000"/>
                <a:gd name="connsiteY103" fmla="*/ 2767 h 9877"/>
                <a:gd name="connsiteX104" fmla="*/ 119 w 10000"/>
                <a:gd name="connsiteY104" fmla="*/ 2900 h 9877"/>
                <a:gd name="connsiteX105" fmla="*/ 96 w 10000"/>
                <a:gd name="connsiteY105" fmla="*/ 3030 h 9877"/>
                <a:gd name="connsiteX106" fmla="*/ 74 w 10000"/>
                <a:gd name="connsiteY106" fmla="*/ 3170 h 9877"/>
                <a:gd name="connsiteX107" fmla="*/ 52 w 10000"/>
                <a:gd name="connsiteY107" fmla="*/ 3311 h 9877"/>
                <a:gd name="connsiteX108" fmla="*/ 37 w 10000"/>
                <a:gd name="connsiteY108" fmla="*/ 3445 h 9877"/>
                <a:gd name="connsiteX109" fmla="*/ 22 w 10000"/>
                <a:gd name="connsiteY109" fmla="*/ 3580 h 9877"/>
                <a:gd name="connsiteX110" fmla="*/ 15 w 10000"/>
                <a:gd name="connsiteY110" fmla="*/ 3716 h 9877"/>
                <a:gd name="connsiteX111" fmla="*/ 7 w 10000"/>
                <a:gd name="connsiteY111" fmla="*/ 3857 h 9877"/>
                <a:gd name="connsiteX112" fmla="*/ 0 w 10000"/>
                <a:gd name="connsiteY112" fmla="*/ 3991 h 9877"/>
                <a:gd name="connsiteX113" fmla="*/ 0 w 10000"/>
                <a:gd name="connsiteY113" fmla="*/ 4135 h 9877"/>
                <a:gd name="connsiteX114" fmla="*/ 7 w 10000"/>
                <a:gd name="connsiteY114" fmla="*/ 4316 h 9877"/>
                <a:gd name="connsiteX115" fmla="*/ 7 w 10000"/>
                <a:gd name="connsiteY115" fmla="*/ 4495 h 9877"/>
                <a:gd name="connsiteX116" fmla="*/ 22 w 10000"/>
                <a:gd name="connsiteY116" fmla="*/ 4663 h 9877"/>
                <a:gd name="connsiteX117" fmla="*/ 37 w 10000"/>
                <a:gd name="connsiteY117" fmla="*/ 4840 h 9877"/>
                <a:gd name="connsiteX118" fmla="*/ 59 w 10000"/>
                <a:gd name="connsiteY118" fmla="*/ 5015 h 9877"/>
                <a:gd name="connsiteX119" fmla="*/ 89 w 10000"/>
                <a:gd name="connsiteY119" fmla="*/ 5190 h 9877"/>
                <a:gd name="connsiteX120" fmla="*/ 119 w 10000"/>
                <a:gd name="connsiteY120" fmla="*/ 5363 h 9877"/>
                <a:gd name="connsiteX121" fmla="*/ 148 w 10000"/>
                <a:gd name="connsiteY121" fmla="*/ 5537 h 9877"/>
                <a:gd name="connsiteX122" fmla="*/ 193 w 10000"/>
                <a:gd name="connsiteY122" fmla="*/ 5708 h 9877"/>
                <a:gd name="connsiteX123" fmla="*/ 237 w 10000"/>
                <a:gd name="connsiteY123" fmla="*/ 5877 h 9877"/>
                <a:gd name="connsiteX124" fmla="*/ 282 w 10000"/>
                <a:gd name="connsiteY124" fmla="*/ 6048 h 9877"/>
                <a:gd name="connsiteX125" fmla="*/ 334 w 10000"/>
                <a:gd name="connsiteY125" fmla="*/ 6215 h 9877"/>
                <a:gd name="connsiteX126" fmla="*/ 393 w 10000"/>
                <a:gd name="connsiteY126" fmla="*/ 6376 h 9877"/>
                <a:gd name="connsiteX127" fmla="*/ 452 w 10000"/>
                <a:gd name="connsiteY127" fmla="*/ 6543 h 9877"/>
                <a:gd name="connsiteX128" fmla="*/ 519 w 10000"/>
                <a:gd name="connsiteY128" fmla="*/ 6705 h 9877"/>
                <a:gd name="connsiteX129" fmla="*/ 586 w 10000"/>
                <a:gd name="connsiteY129" fmla="*/ 6873 h 9877"/>
                <a:gd name="connsiteX130" fmla="*/ 660 w 10000"/>
                <a:gd name="connsiteY130" fmla="*/ 7028 h 9877"/>
                <a:gd name="connsiteX131" fmla="*/ 741 w 10000"/>
                <a:gd name="connsiteY131" fmla="*/ 7183 h 9877"/>
                <a:gd name="connsiteX132" fmla="*/ 823 w 10000"/>
                <a:gd name="connsiteY132" fmla="*/ 7349 h 9877"/>
                <a:gd name="connsiteX133" fmla="*/ 904 w 10000"/>
                <a:gd name="connsiteY133" fmla="*/ 7502 h 9877"/>
                <a:gd name="connsiteX134" fmla="*/ 993 w 10000"/>
                <a:gd name="connsiteY134" fmla="*/ 7653 h 9877"/>
                <a:gd name="connsiteX135" fmla="*/ 1090 w 10000"/>
                <a:gd name="connsiteY135" fmla="*/ 7798 h 9877"/>
                <a:gd name="connsiteX136" fmla="*/ 1186 w 10000"/>
                <a:gd name="connsiteY136" fmla="*/ 7954 h 9877"/>
                <a:gd name="connsiteX137" fmla="*/ 1290 w 10000"/>
                <a:gd name="connsiteY137" fmla="*/ 8105 h 9877"/>
                <a:gd name="connsiteX138" fmla="*/ 1386 w 10000"/>
                <a:gd name="connsiteY138" fmla="*/ 8252 h 9877"/>
                <a:gd name="connsiteX139" fmla="*/ 1497 w 10000"/>
                <a:gd name="connsiteY139" fmla="*/ 8400 h 9877"/>
                <a:gd name="connsiteX140" fmla="*/ 1609 w 10000"/>
                <a:gd name="connsiteY140" fmla="*/ 8539 h 9877"/>
                <a:gd name="connsiteX141" fmla="*/ 1727 w 10000"/>
                <a:gd name="connsiteY141" fmla="*/ 8688 h 9877"/>
                <a:gd name="connsiteX142" fmla="*/ 1846 w 10000"/>
                <a:gd name="connsiteY142" fmla="*/ 8826 h 9877"/>
                <a:gd name="connsiteX143" fmla="*/ 1964 w 10000"/>
                <a:gd name="connsiteY143" fmla="*/ 8961 h 9877"/>
                <a:gd name="connsiteX144" fmla="*/ 2090 w 10000"/>
                <a:gd name="connsiteY144" fmla="*/ 9094 h 9877"/>
                <a:gd name="connsiteX145" fmla="*/ 2224 w 10000"/>
                <a:gd name="connsiteY145" fmla="*/ 9233 h 9877"/>
                <a:gd name="connsiteX146" fmla="*/ 2350 w 10000"/>
                <a:gd name="connsiteY146" fmla="*/ 9368 h 9877"/>
                <a:gd name="connsiteX147" fmla="*/ 2491 w 10000"/>
                <a:gd name="connsiteY147" fmla="*/ 9498 h 9877"/>
                <a:gd name="connsiteX148" fmla="*/ 2617 w 10000"/>
                <a:gd name="connsiteY148" fmla="*/ 9628 h 9877"/>
                <a:gd name="connsiteX149" fmla="*/ 2765 w 10000"/>
                <a:gd name="connsiteY149" fmla="*/ 9755 h 9877"/>
                <a:gd name="connsiteX150" fmla="*/ 2906 w 10000"/>
                <a:gd name="connsiteY150" fmla="*/ 9877 h 9877"/>
                <a:gd name="connsiteX151" fmla="*/ 7539 w 10000"/>
                <a:gd name="connsiteY151" fmla="*/ 9527 h 9877"/>
                <a:gd name="connsiteX152" fmla="*/ 10000 w 10000"/>
                <a:gd name="connsiteY152" fmla="*/ 7540 h 9877"/>
                <a:gd name="connsiteX0" fmla="*/ 10000 w 10000"/>
                <a:gd name="connsiteY0" fmla="*/ 7634 h 9876"/>
                <a:gd name="connsiteX1" fmla="*/ 10000 w 10000"/>
                <a:gd name="connsiteY1" fmla="*/ 7634 h 9876"/>
                <a:gd name="connsiteX2" fmla="*/ 9911 w 10000"/>
                <a:gd name="connsiteY2" fmla="*/ 7616 h 9876"/>
                <a:gd name="connsiteX3" fmla="*/ 9815 w 10000"/>
                <a:gd name="connsiteY3" fmla="*/ 7595 h 9876"/>
                <a:gd name="connsiteX4" fmla="*/ 9726 w 10000"/>
                <a:gd name="connsiteY4" fmla="*/ 7573 h 9876"/>
                <a:gd name="connsiteX5" fmla="*/ 9637 w 10000"/>
                <a:gd name="connsiteY5" fmla="*/ 7541 h 9876"/>
                <a:gd name="connsiteX6" fmla="*/ 9548 w 10000"/>
                <a:gd name="connsiteY6" fmla="*/ 7518 h 9876"/>
                <a:gd name="connsiteX7" fmla="*/ 9466 w 10000"/>
                <a:gd name="connsiteY7" fmla="*/ 7491 h 9876"/>
                <a:gd name="connsiteX8" fmla="*/ 9377 w 10000"/>
                <a:gd name="connsiteY8" fmla="*/ 7464 h 9876"/>
                <a:gd name="connsiteX9" fmla="*/ 9288 w 10000"/>
                <a:gd name="connsiteY9" fmla="*/ 7434 h 9876"/>
                <a:gd name="connsiteX10" fmla="*/ 9118 w 10000"/>
                <a:gd name="connsiteY10" fmla="*/ 7371 h 9876"/>
                <a:gd name="connsiteX11" fmla="*/ 8955 w 10000"/>
                <a:gd name="connsiteY11" fmla="*/ 7302 h 9876"/>
                <a:gd name="connsiteX12" fmla="*/ 8792 w 10000"/>
                <a:gd name="connsiteY12" fmla="*/ 7231 h 9876"/>
                <a:gd name="connsiteX13" fmla="*/ 8636 w 10000"/>
                <a:gd name="connsiteY13" fmla="*/ 7148 h 9876"/>
                <a:gd name="connsiteX14" fmla="*/ 8480 w 10000"/>
                <a:gd name="connsiteY14" fmla="*/ 7065 h 9876"/>
                <a:gd name="connsiteX15" fmla="*/ 8340 w 10000"/>
                <a:gd name="connsiteY15" fmla="*/ 6986 h 9876"/>
                <a:gd name="connsiteX16" fmla="*/ 8199 w 10000"/>
                <a:gd name="connsiteY16" fmla="*/ 6891 h 9876"/>
                <a:gd name="connsiteX17" fmla="*/ 8058 w 10000"/>
                <a:gd name="connsiteY17" fmla="*/ 6793 h 9876"/>
                <a:gd name="connsiteX18" fmla="*/ 7924 w 10000"/>
                <a:gd name="connsiteY18" fmla="*/ 6693 h 9876"/>
                <a:gd name="connsiteX19" fmla="*/ 7798 w 10000"/>
                <a:gd name="connsiteY19" fmla="*/ 6585 h 9876"/>
                <a:gd name="connsiteX20" fmla="*/ 7672 w 10000"/>
                <a:gd name="connsiteY20" fmla="*/ 6482 h 9876"/>
                <a:gd name="connsiteX21" fmla="*/ 7554 w 10000"/>
                <a:gd name="connsiteY21" fmla="*/ 6372 h 9876"/>
                <a:gd name="connsiteX22" fmla="*/ 7450 w 10000"/>
                <a:gd name="connsiteY22" fmla="*/ 6254 h 9876"/>
                <a:gd name="connsiteX23" fmla="*/ 7346 w 10000"/>
                <a:gd name="connsiteY23" fmla="*/ 6134 h 9876"/>
                <a:gd name="connsiteX24" fmla="*/ 7250 w 10000"/>
                <a:gd name="connsiteY24" fmla="*/ 6013 h 9876"/>
                <a:gd name="connsiteX25" fmla="*/ 7161 w 10000"/>
                <a:gd name="connsiteY25" fmla="*/ 5889 h 9876"/>
                <a:gd name="connsiteX26" fmla="*/ 7072 w 10000"/>
                <a:gd name="connsiteY26" fmla="*/ 5761 h 9876"/>
                <a:gd name="connsiteX27" fmla="*/ 6990 w 10000"/>
                <a:gd name="connsiteY27" fmla="*/ 5623 h 9876"/>
                <a:gd name="connsiteX28" fmla="*/ 6953 w 10000"/>
                <a:gd name="connsiteY28" fmla="*/ 5564 h 9876"/>
                <a:gd name="connsiteX29" fmla="*/ 6916 w 10000"/>
                <a:gd name="connsiteY29" fmla="*/ 5491 h 9876"/>
                <a:gd name="connsiteX30" fmla="*/ 6887 w 10000"/>
                <a:gd name="connsiteY30" fmla="*/ 5426 h 9876"/>
                <a:gd name="connsiteX31" fmla="*/ 6850 w 10000"/>
                <a:gd name="connsiteY31" fmla="*/ 5356 h 9876"/>
                <a:gd name="connsiteX32" fmla="*/ 6820 w 10000"/>
                <a:gd name="connsiteY32" fmla="*/ 5288 h 9876"/>
                <a:gd name="connsiteX33" fmla="*/ 6790 w 10000"/>
                <a:gd name="connsiteY33" fmla="*/ 5218 h 9876"/>
                <a:gd name="connsiteX34" fmla="*/ 6768 w 10000"/>
                <a:gd name="connsiteY34" fmla="*/ 5145 h 9876"/>
                <a:gd name="connsiteX35" fmla="*/ 6738 w 10000"/>
                <a:gd name="connsiteY35" fmla="*/ 5077 h 9876"/>
                <a:gd name="connsiteX36" fmla="*/ 6723 w 10000"/>
                <a:gd name="connsiteY36" fmla="*/ 5002 h 9876"/>
                <a:gd name="connsiteX37" fmla="*/ 6694 w 10000"/>
                <a:gd name="connsiteY37" fmla="*/ 4932 h 9876"/>
                <a:gd name="connsiteX38" fmla="*/ 6679 w 10000"/>
                <a:gd name="connsiteY38" fmla="*/ 4859 h 9876"/>
                <a:gd name="connsiteX39" fmla="*/ 6664 w 10000"/>
                <a:gd name="connsiteY39" fmla="*/ 4788 h 9876"/>
                <a:gd name="connsiteX40" fmla="*/ 6649 w 10000"/>
                <a:gd name="connsiteY40" fmla="*/ 4711 h 9876"/>
                <a:gd name="connsiteX41" fmla="*/ 6635 w 10000"/>
                <a:gd name="connsiteY41" fmla="*/ 4642 h 9876"/>
                <a:gd name="connsiteX42" fmla="*/ 6620 w 10000"/>
                <a:gd name="connsiteY42" fmla="*/ 4568 h 9876"/>
                <a:gd name="connsiteX43" fmla="*/ 6612 w 10000"/>
                <a:gd name="connsiteY43" fmla="*/ 4495 h 9876"/>
                <a:gd name="connsiteX44" fmla="*/ 6605 w 10000"/>
                <a:gd name="connsiteY44" fmla="*/ 4418 h 9876"/>
                <a:gd name="connsiteX45" fmla="*/ 6597 w 10000"/>
                <a:gd name="connsiteY45" fmla="*/ 4338 h 9876"/>
                <a:gd name="connsiteX46" fmla="*/ 6597 w 10000"/>
                <a:gd name="connsiteY46" fmla="*/ 4265 h 9876"/>
                <a:gd name="connsiteX47" fmla="*/ 6590 w 10000"/>
                <a:gd name="connsiteY47" fmla="*/ 4186 h 9876"/>
                <a:gd name="connsiteX48" fmla="*/ 6597 w 10000"/>
                <a:gd name="connsiteY48" fmla="*/ 4111 h 9876"/>
                <a:gd name="connsiteX49" fmla="*/ 6605 w 10000"/>
                <a:gd name="connsiteY49" fmla="*/ 4028 h 9876"/>
                <a:gd name="connsiteX50" fmla="*/ 6605 w 10000"/>
                <a:gd name="connsiteY50" fmla="*/ 3946 h 9876"/>
                <a:gd name="connsiteX51" fmla="*/ 6612 w 10000"/>
                <a:gd name="connsiteY51" fmla="*/ 3865 h 9876"/>
                <a:gd name="connsiteX52" fmla="*/ 6620 w 10000"/>
                <a:gd name="connsiteY52" fmla="*/ 3784 h 9876"/>
                <a:gd name="connsiteX53" fmla="*/ 6635 w 10000"/>
                <a:gd name="connsiteY53" fmla="*/ 3714 h 9876"/>
                <a:gd name="connsiteX54" fmla="*/ 6649 w 10000"/>
                <a:gd name="connsiteY54" fmla="*/ 3632 h 9876"/>
                <a:gd name="connsiteX55" fmla="*/ 6664 w 10000"/>
                <a:gd name="connsiteY55" fmla="*/ 3557 h 9876"/>
                <a:gd name="connsiteX56" fmla="*/ 6686 w 10000"/>
                <a:gd name="connsiteY56" fmla="*/ 3476 h 9876"/>
                <a:gd name="connsiteX57" fmla="*/ 6709 w 10000"/>
                <a:gd name="connsiteY57" fmla="*/ 3404 h 9876"/>
                <a:gd name="connsiteX58" fmla="*/ 6731 w 10000"/>
                <a:gd name="connsiteY58" fmla="*/ 3327 h 9876"/>
                <a:gd name="connsiteX59" fmla="*/ 6753 w 10000"/>
                <a:gd name="connsiteY59" fmla="*/ 3247 h 9876"/>
                <a:gd name="connsiteX60" fmla="*/ 6783 w 10000"/>
                <a:gd name="connsiteY60" fmla="*/ 3182 h 9876"/>
                <a:gd name="connsiteX61" fmla="*/ 6812 w 10000"/>
                <a:gd name="connsiteY61" fmla="*/ 3107 h 9876"/>
                <a:gd name="connsiteX62" fmla="*/ 6842 w 10000"/>
                <a:gd name="connsiteY62" fmla="*/ 3029 h 9876"/>
                <a:gd name="connsiteX63" fmla="*/ 6879 w 10000"/>
                <a:gd name="connsiteY63" fmla="*/ 2958 h 9876"/>
                <a:gd name="connsiteX64" fmla="*/ 6909 w 10000"/>
                <a:gd name="connsiteY64" fmla="*/ 2889 h 9876"/>
                <a:gd name="connsiteX65" fmla="*/ 6946 w 10000"/>
                <a:gd name="connsiteY65" fmla="*/ 2812 h 9876"/>
                <a:gd name="connsiteX66" fmla="*/ 6990 w 10000"/>
                <a:gd name="connsiteY66" fmla="*/ 2749 h 9876"/>
                <a:gd name="connsiteX67" fmla="*/ 7027 w 10000"/>
                <a:gd name="connsiteY67" fmla="*/ 2677 h 9876"/>
                <a:gd name="connsiteX68" fmla="*/ 7072 w 10000"/>
                <a:gd name="connsiteY68" fmla="*/ 2612 h 9876"/>
                <a:gd name="connsiteX69" fmla="*/ 7109 w 10000"/>
                <a:gd name="connsiteY69" fmla="*/ 2538 h 9876"/>
                <a:gd name="connsiteX70" fmla="*/ 7161 w 10000"/>
                <a:gd name="connsiteY70" fmla="*/ 2479 h 9876"/>
                <a:gd name="connsiteX71" fmla="*/ 7213 w 10000"/>
                <a:gd name="connsiteY71" fmla="*/ 2408 h 9876"/>
                <a:gd name="connsiteX72" fmla="*/ 7257 w 10000"/>
                <a:gd name="connsiteY72" fmla="*/ 2344 h 9876"/>
                <a:gd name="connsiteX73" fmla="*/ 7309 w 10000"/>
                <a:gd name="connsiteY73" fmla="*/ 2279 h 9876"/>
                <a:gd name="connsiteX74" fmla="*/ 7361 w 10000"/>
                <a:gd name="connsiteY74" fmla="*/ 2211 h 9876"/>
                <a:gd name="connsiteX75" fmla="*/ 7413 w 10000"/>
                <a:gd name="connsiteY75" fmla="*/ 2152 h 9876"/>
                <a:gd name="connsiteX76" fmla="*/ 7472 w 10000"/>
                <a:gd name="connsiteY76" fmla="*/ 2089 h 9876"/>
                <a:gd name="connsiteX77" fmla="*/ 7524 w 10000"/>
                <a:gd name="connsiteY77" fmla="*/ 2034 h 9876"/>
                <a:gd name="connsiteX78" fmla="*/ 7583 w 10000"/>
                <a:gd name="connsiteY78" fmla="*/ 1971 h 9876"/>
                <a:gd name="connsiteX79" fmla="*/ 7610 w 10000"/>
                <a:gd name="connsiteY79" fmla="*/ 1937 h 9876"/>
                <a:gd name="connsiteX80" fmla="*/ 5390 w 10000"/>
                <a:gd name="connsiteY80" fmla="*/ 6 h 9876"/>
                <a:gd name="connsiteX81" fmla="*/ 1401 w 10000"/>
                <a:gd name="connsiteY81" fmla="*/ 0 h 9876"/>
                <a:gd name="connsiteX82" fmla="*/ 1305 w 10000"/>
                <a:gd name="connsiteY82" fmla="*/ 145 h 9876"/>
                <a:gd name="connsiteX83" fmla="*/ 1223 w 10000"/>
                <a:gd name="connsiteY83" fmla="*/ 256 h 9876"/>
                <a:gd name="connsiteX84" fmla="*/ 1149 w 10000"/>
                <a:gd name="connsiteY84" fmla="*/ 375 h 9876"/>
                <a:gd name="connsiteX85" fmla="*/ 1067 w 10000"/>
                <a:gd name="connsiteY85" fmla="*/ 496 h 9876"/>
                <a:gd name="connsiteX86" fmla="*/ 1001 w 10000"/>
                <a:gd name="connsiteY86" fmla="*/ 616 h 9876"/>
                <a:gd name="connsiteX87" fmla="*/ 927 w 10000"/>
                <a:gd name="connsiteY87" fmla="*/ 735 h 9876"/>
                <a:gd name="connsiteX88" fmla="*/ 860 w 10000"/>
                <a:gd name="connsiteY88" fmla="*/ 863 h 9876"/>
                <a:gd name="connsiteX89" fmla="*/ 793 w 10000"/>
                <a:gd name="connsiteY89" fmla="*/ 990 h 9876"/>
                <a:gd name="connsiteX90" fmla="*/ 734 w 10000"/>
                <a:gd name="connsiteY90" fmla="*/ 1106 h 9876"/>
                <a:gd name="connsiteX91" fmla="*/ 675 w 10000"/>
                <a:gd name="connsiteY91" fmla="*/ 1236 h 9876"/>
                <a:gd name="connsiteX92" fmla="*/ 615 w 10000"/>
                <a:gd name="connsiteY92" fmla="*/ 1358 h 9876"/>
                <a:gd name="connsiteX93" fmla="*/ 556 w 10000"/>
                <a:gd name="connsiteY93" fmla="*/ 1491 h 9876"/>
                <a:gd name="connsiteX94" fmla="*/ 504 w 10000"/>
                <a:gd name="connsiteY94" fmla="*/ 1612 h 9876"/>
                <a:gd name="connsiteX95" fmla="*/ 452 w 10000"/>
                <a:gd name="connsiteY95" fmla="*/ 1739 h 9876"/>
                <a:gd name="connsiteX96" fmla="*/ 408 w 10000"/>
                <a:gd name="connsiteY96" fmla="*/ 1867 h 9876"/>
                <a:gd name="connsiteX97" fmla="*/ 363 w 10000"/>
                <a:gd name="connsiteY97" fmla="*/ 1996 h 9876"/>
                <a:gd name="connsiteX98" fmla="*/ 319 w 10000"/>
                <a:gd name="connsiteY98" fmla="*/ 2132 h 9876"/>
                <a:gd name="connsiteX99" fmla="*/ 282 w 10000"/>
                <a:gd name="connsiteY99" fmla="*/ 2262 h 9876"/>
                <a:gd name="connsiteX100" fmla="*/ 237 w 10000"/>
                <a:gd name="connsiteY100" fmla="*/ 2396 h 9876"/>
                <a:gd name="connsiteX101" fmla="*/ 208 w 10000"/>
                <a:gd name="connsiteY101" fmla="*/ 2528 h 9876"/>
                <a:gd name="connsiteX102" fmla="*/ 170 w 10000"/>
                <a:gd name="connsiteY102" fmla="*/ 2665 h 9876"/>
                <a:gd name="connsiteX103" fmla="*/ 148 w 10000"/>
                <a:gd name="connsiteY103" fmla="*/ 2801 h 9876"/>
                <a:gd name="connsiteX104" fmla="*/ 119 w 10000"/>
                <a:gd name="connsiteY104" fmla="*/ 2936 h 9876"/>
                <a:gd name="connsiteX105" fmla="*/ 96 w 10000"/>
                <a:gd name="connsiteY105" fmla="*/ 3068 h 9876"/>
                <a:gd name="connsiteX106" fmla="*/ 74 w 10000"/>
                <a:gd name="connsiteY106" fmla="*/ 3209 h 9876"/>
                <a:gd name="connsiteX107" fmla="*/ 52 w 10000"/>
                <a:gd name="connsiteY107" fmla="*/ 3352 h 9876"/>
                <a:gd name="connsiteX108" fmla="*/ 37 w 10000"/>
                <a:gd name="connsiteY108" fmla="*/ 3488 h 9876"/>
                <a:gd name="connsiteX109" fmla="*/ 22 w 10000"/>
                <a:gd name="connsiteY109" fmla="*/ 3625 h 9876"/>
                <a:gd name="connsiteX110" fmla="*/ 15 w 10000"/>
                <a:gd name="connsiteY110" fmla="*/ 3762 h 9876"/>
                <a:gd name="connsiteX111" fmla="*/ 7 w 10000"/>
                <a:gd name="connsiteY111" fmla="*/ 3905 h 9876"/>
                <a:gd name="connsiteX112" fmla="*/ 0 w 10000"/>
                <a:gd name="connsiteY112" fmla="*/ 4041 h 9876"/>
                <a:gd name="connsiteX113" fmla="*/ 0 w 10000"/>
                <a:gd name="connsiteY113" fmla="*/ 4186 h 9876"/>
                <a:gd name="connsiteX114" fmla="*/ 7 w 10000"/>
                <a:gd name="connsiteY114" fmla="*/ 4370 h 9876"/>
                <a:gd name="connsiteX115" fmla="*/ 7 w 10000"/>
                <a:gd name="connsiteY115" fmla="*/ 4551 h 9876"/>
                <a:gd name="connsiteX116" fmla="*/ 22 w 10000"/>
                <a:gd name="connsiteY116" fmla="*/ 4721 h 9876"/>
                <a:gd name="connsiteX117" fmla="*/ 37 w 10000"/>
                <a:gd name="connsiteY117" fmla="*/ 4900 h 9876"/>
                <a:gd name="connsiteX118" fmla="*/ 59 w 10000"/>
                <a:gd name="connsiteY118" fmla="*/ 5077 h 9876"/>
                <a:gd name="connsiteX119" fmla="*/ 89 w 10000"/>
                <a:gd name="connsiteY119" fmla="*/ 5255 h 9876"/>
                <a:gd name="connsiteX120" fmla="*/ 119 w 10000"/>
                <a:gd name="connsiteY120" fmla="*/ 5430 h 9876"/>
                <a:gd name="connsiteX121" fmla="*/ 148 w 10000"/>
                <a:gd name="connsiteY121" fmla="*/ 5606 h 9876"/>
                <a:gd name="connsiteX122" fmla="*/ 193 w 10000"/>
                <a:gd name="connsiteY122" fmla="*/ 5779 h 9876"/>
                <a:gd name="connsiteX123" fmla="*/ 237 w 10000"/>
                <a:gd name="connsiteY123" fmla="*/ 5950 h 9876"/>
                <a:gd name="connsiteX124" fmla="*/ 282 w 10000"/>
                <a:gd name="connsiteY124" fmla="*/ 6123 h 9876"/>
                <a:gd name="connsiteX125" fmla="*/ 334 w 10000"/>
                <a:gd name="connsiteY125" fmla="*/ 6292 h 9876"/>
                <a:gd name="connsiteX126" fmla="*/ 393 w 10000"/>
                <a:gd name="connsiteY126" fmla="*/ 6455 h 9876"/>
                <a:gd name="connsiteX127" fmla="*/ 452 w 10000"/>
                <a:gd name="connsiteY127" fmla="*/ 6624 h 9876"/>
                <a:gd name="connsiteX128" fmla="*/ 519 w 10000"/>
                <a:gd name="connsiteY128" fmla="*/ 6788 h 9876"/>
                <a:gd name="connsiteX129" fmla="*/ 586 w 10000"/>
                <a:gd name="connsiteY129" fmla="*/ 6959 h 9876"/>
                <a:gd name="connsiteX130" fmla="*/ 660 w 10000"/>
                <a:gd name="connsiteY130" fmla="*/ 7116 h 9876"/>
                <a:gd name="connsiteX131" fmla="*/ 741 w 10000"/>
                <a:gd name="connsiteY131" fmla="*/ 7272 h 9876"/>
                <a:gd name="connsiteX132" fmla="*/ 823 w 10000"/>
                <a:gd name="connsiteY132" fmla="*/ 7441 h 9876"/>
                <a:gd name="connsiteX133" fmla="*/ 904 w 10000"/>
                <a:gd name="connsiteY133" fmla="*/ 7595 h 9876"/>
                <a:gd name="connsiteX134" fmla="*/ 993 w 10000"/>
                <a:gd name="connsiteY134" fmla="*/ 7748 h 9876"/>
                <a:gd name="connsiteX135" fmla="*/ 1090 w 10000"/>
                <a:gd name="connsiteY135" fmla="*/ 7895 h 9876"/>
                <a:gd name="connsiteX136" fmla="*/ 1186 w 10000"/>
                <a:gd name="connsiteY136" fmla="*/ 8053 h 9876"/>
                <a:gd name="connsiteX137" fmla="*/ 1290 w 10000"/>
                <a:gd name="connsiteY137" fmla="*/ 8206 h 9876"/>
                <a:gd name="connsiteX138" fmla="*/ 1386 w 10000"/>
                <a:gd name="connsiteY138" fmla="*/ 8355 h 9876"/>
                <a:gd name="connsiteX139" fmla="*/ 1497 w 10000"/>
                <a:gd name="connsiteY139" fmla="*/ 8505 h 9876"/>
                <a:gd name="connsiteX140" fmla="*/ 1609 w 10000"/>
                <a:gd name="connsiteY140" fmla="*/ 8645 h 9876"/>
                <a:gd name="connsiteX141" fmla="*/ 1727 w 10000"/>
                <a:gd name="connsiteY141" fmla="*/ 8796 h 9876"/>
                <a:gd name="connsiteX142" fmla="*/ 1846 w 10000"/>
                <a:gd name="connsiteY142" fmla="*/ 8936 h 9876"/>
                <a:gd name="connsiteX143" fmla="*/ 1964 w 10000"/>
                <a:gd name="connsiteY143" fmla="*/ 9073 h 9876"/>
                <a:gd name="connsiteX144" fmla="*/ 2090 w 10000"/>
                <a:gd name="connsiteY144" fmla="*/ 9207 h 9876"/>
                <a:gd name="connsiteX145" fmla="*/ 2224 w 10000"/>
                <a:gd name="connsiteY145" fmla="*/ 9348 h 9876"/>
                <a:gd name="connsiteX146" fmla="*/ 2350 w 10000"/>
                <a:gd name="connsiteY146" fmla="*/ 9485 h 9876"/>
                <a:gd name="connsiteX147" fmla="*/ 2491 w 10000"/>
                <a:gd name="connsiteY147" fmla="*/ 9616 h 9876"/>
                <a:gd name="connsiteX148" fmla="*/ 2617 w 10000"/>
                <a:gd name="connsiteY148" fmla="*/ 9748 h 9876"/>
                <a:gd name="connsiteX149" fmla="*/ 2765 w 10000"/>
                <a:gd name="connsiteY149" fmla="*/ 9876 h 9876"/>
                <a:gd name="connsiteX150" fmla="*/ 7539 w 10000"/>
                <a:gd name="connsiteY150" fmla="*/ 9646 h 9876"/>
                <a:gd name="connsiteX151" fmla="*/ 10000 w 10000"/>
                <a:gd name="connsiteY151" fmla="*/ 7634 h 9876"/>
                <a:gd name="connsiteX0" fmla="*/ 10000 w 10000"/>
                <a:gd name="connsiteY0" fmla="*/ 7730 h 9959"/>
                <a:gd name="connsiteX1" fmla="*/ 10000 w 10000"/>
                <a:gd name="connsiteY1" fmla="*/ 7730 h 9959"/>
                <a:gd name="connsiteX2" fmla="*/ 9911 w 10000"/>
                <a:gd name="connsiteY2" fmla="*/ 7712 h 9959"/>
                <a:gd name="connsiteX3" fmla="*/ 9815 w 10000"/>
                <a:gd name="connsiteY3" fmla="*/ 7690 h 9959"/>
                <a:gd name="connsiteX4" fmla="*/ 9726 w 10000"/>
                <a:gd name="connsiteY4" fmla="*/ 7668 h 9959"/>
                <a:gd name="connsiteX5" fmla="*/ 9637 w 10000"/>
                <a:gd name="connsiteY5" fmla="*/ 7636 h 9959"/>
                <a:gd name="connsiteX6" fmla="*/ 9548 w 10000"/>
                <a:gd name="connsiteY6" fmla="*/ 7612 h 9959"/>
                <a:gd name="connsiteX7" fmla="*/ 9466 w 10000"/>
                <a:gd name="connsiteY7" fmla="*/ 7585 h 9959"/>
                <a:gd name="connsiteX8" fmla="*/ 9377 w 10000"/>
                <a:gd name="connsiteY8" fmla="*/ 7558 h 9959"/>
                <a:gd name="connsiteX9" fmla="*/ 9288 w 10000"/>
                <a:gd name="connsiteY9" fmla="*/ 7527 h 9959"/>
                <a:gd name="connsiteX10" fmla="*/ 9118 w 10000"/>
                <a:gd name="connsiteY10" fmla="*/ 7464 h 9959"/>
                <a:gd name="connsiteX11" fmla="*/ 8955 w 10000"/>
                <a:gd name="connsiteY11" fmla="*/ 7394 h 9959"/>
                <a:gd name="connsiteX12" fmla="*/ 8792 w 10000"/>
                <a:gd name="connsiteY12" fmla="*/ 7322 h 9959"/>
                <a:gd name="connsiteX13" fmla="*/ 8636 w 10000"/>
                <a:gd name="connsiteY13" fmla="*/ 7238 h 9959"/>
                <a:gd name="connsiteX14" fmla="*/ 8480 w 10000"/>
                <a:gd name="connsiteY14" fmla="*/ 7154 h 9959"/>
                <a:gd name="connsiteX15" fmla="*/ 8340 w 10000"/>
                <a:gd name="connsiteY15" fmla="*/ 7074 h 9959"/>
                <a:gd name="connsiteX16" fmla="*/ 8199 w 10000"/>
                <a:gd name="connsiteY16" fmla="*/ 6978 h 9959"/>
                <a:gd name="connsiteX17" fmla="*/ 8058 w 10000"/>
                <a:gd name="connsiteY17" fmla="*/ 6878 h 9959"/>
                <a:gd name="connsiteX18" fmla="*/ 7924 w 10000"/>
                <a:gd name="connsiteY18" fmla="*/ 6777 h 9959"/>
                <a:gd name="connsiteX19" fmla="*/ 7798 w 10000"/>
                <a:gd name="connsiteY19" fmla="*/ 6668 h 9959"/>
                <a:gd name="connsiteX20" fmla="*/ 7672 w 10000"/>
                <a:gd name="connsiteY20" fmla="*/ 6563 h 9959"/>
                <a:gd name="connsiteX21" fmla="*/ 7554 w 10000"/>
                <a:gd name="connsiteY21" fmla="*/ 6452 h 9959"/>
                <a:gd name="connsiteX22" fmla="*/ 7450 w 10000"/>
                <a:gd name="connsiteY22" fmla="*/ 6333 h 9959"/>
                <a:gd name="connsiteX23" fmla="*/ 7346 w 10000"/>
                <a:gd name="connsiteY23" fmla="*/ 6211 h 9959"/>
                <a:gd name="connsiteX24" fmla="*/ 7250 w 10000"/>
                <a:gd name="connsiteY24" fmla="*/ 6088 h 9959"/>
                <a:gd name="connsiteX25" fmla="*/ 7161 w 10000"/>
                <a:gd name="connsiteY25" fmla="*/ 5963 h 9959"/>
                <a:gd name="connsiteX26" fmla="*/ 7072 w 10000"/>
                <a:gd name="connsiteY26" fmla="*/ 5833 h 9959"/>
                <a:gd name="connsiteX27" fmla="*/ 6990 w 10000"/>
                <a:gd name="connsiteY27" fmla="*/ 5694 h 9959"/>
                <a:gd name="connsiteX28" fmla="*/ 6953 w 10000"/>
                <a:gd name="connsiteY28" fmla="*/ 5634 h 9959"/>
                <a:gd name="connsiteX29" fmla="*/ 6916 w 10000"/>
                <a:gd name="connsiteY29" fmla="*/ 5560 h 9959"/>
                <a:gd name="connsiteX30" fmla="*/ 6887 w 10000"/>
                <a:gd name="connsiteY30" fmla="*/ 5494 h 9959"/>
                <a:gd name="connsiteX31" fmla="*/ 6850 w 10000"/>
                <a:gd name="connsiteY31" fmla="*/ 5423 h 9959"/>
                <a:gd name="connsiteX32" fmla="*/ 6820 w 10000"/>
                <a:gd name="connsiteY32" fmla="*/ 5354 h 9959"/>
                <a:gd name="connsiteX33" fmla="*/ 6790 w 10000"/>
                <a:gd name="connsiteY33" fmla="*/ 5284 h 9959"/>
                <a:gd name="connsiteX34" fmla="*/ 6768 w 10000"/>
                <a:gd name="connsiteY34" fmla="*/ 5210 h 9959"/>
                <a:gd name="connsiteX35" fmla="*/ 6738 w 10000"/>
                <a:gd name="connsiteY35" fmla="*/ 5141 h 9959"/>
                <a:gd name="connsiteX36" fmla="*/ 6723 w 10000"/>
                <a:gd name="connsiteY36" fmla="*/ 5065 h 9959"/>
                <a:gd name="connsiteX37" fmla="*/ 6694 w 10000"/>
                <a:gd name="connsiteY37" fmla="*/ 4994 h 9959"/>
                <a:gd name="connsiteX38" fmla="*/ 6679 w 10000"/>
                <a:gd name="connsiteY38" fmla="*/ 4920 h 9959"/>
                <a:gd name="connsiteX39" fmla="*/ 6664 w 10000"/>
                <a:gd name="connsiteY39" fmla="*/ 4848 h 9959"/>
                <a:gd name="connsiteX40" fmla="*/ 6649 w 10000"/>
                <a:gd name="connsiteY40" fmla="*/ 4770 h 9959"/>
                <a:gd name="connsiteX41" fmla="*/ 6635 w 10000"/>
                <a:gd name="connsiteY41" fmla="*/ 4700 h 9959"/>
                <a:gd name="connsiteX42" fmla="*/ 6620 w 10000"/>
                <a:gd name="connsiteY42" fmla="*/ 4625 h 9959"/>
                <a:gd name="connsiteX43" fmla="*/ 6612 w 10000"/>
                <a:gd name="connsiteY43" fmla="*/ 4551 h 9959"/>
                <a:gd name="connsiteX44" fmla="*/ 6605 w 10000"/>
                <a:gd name="connsiteY44" fmla="*/ 4473 h 9959"/>
                <a:gd name="connsiteX45" fmla="*/ 6597 w 10000"/>
                <a:gd name="connsiteY45" fmla="*/ 4392 h 9959"/>
                <a:gd name="connsiteX46" fmla="*/ 6597 w 10000"/>
                <a:gd name="connsiteY46" fmla="*/ 4319 h 9959"/>
                <a:gd name="connsiteX47" fmla="*/ 6590 w 10000"/>
                <a:gd name="connsiteY47" fmla="*/ 4239 h 9959"/>
                <a:gd name="connsiteX48" fmla="*/ 6597 w 10000"/>
                <a:gd name="connsiteY48" fmla="*/ 4163 h 9959"/>
                <a:gd name="connsiteX49" fmla="*/ 6605 w 10000"/>
                <a:gd name="connsiteY49" fmla="*/ 4079 h 9959"/>
                <a:gd name="connsiteX50" fmla="*/ 6605 w 10000"/>
                <a:gd name="connsiteY50" fmla="*/ 3996 h 9959"/>
                <a:gd name="connsiteX51" fmla="*/ 6612 w 10000"/>
                <a:gd name="connsiteY51" fmla="*/ 3914 h 9959"/>
                <a:gd name="connsiteX52" fmla="*/ 6620 w 10000"/>
                <a:gd name="connsiteY52" fmla="*/ 3832 h 9959"/>
                <a:gd name="connsiteX53" fmla="*/ 6635 w 10000"/>
                <a:gd name="connsiteY53" fmla="*/ 3761 h 9959"/>
                <a:gd name="connsiteX54" fmla="*/ 6649 w 10000"/>
                <a:gd name="connsiteY54" fmla="*/ 3678 h 9959"/>
                <a:gd name="connsiteX55" fmla="*/ 6664 w 10000"/>
                <a:gd name="connsiteY55" fmla="*/ 3602 h 9959"/>
                <a:gd name="connsiteX56" fmla="*/ 6686 w 10000"/>
                <a:gd name="connsiteY56" fmla="*/ 3520 h 9959"/>
                <a:gd name="connsiteX57" fmla="*/ 6709 w 10000"/>
                <a:gd name="connsiteY57" fmla="*/ 3447 h 9959"/>
                <a:gd name="connsiteX58" fmla="*/ 6731 w 10000"/>
                <a:gd name="connsiteY58" fmla="*/ 3369 h 9959"/>
                <a:gd name="connsiteX59" fmla="*/ 6753 w 10000"/>
                <a:gd name="connsiteY59" fmla="*/ 3288 h 9959"/>
                <a:gd name="connsiteX60" fmla="*/ 6783 w 10000"/>
                <a:gd name="connsiteY60" fmla="*/ 3222 h 9959"/>
                <a:gd name="connsiteX61" fmla="*/ 6812 w 10000"/>
                <a:gd name="connsiteY61" fmla="*/ 3146 h 9959"/>
                <a:gd name="connsiteX62" fmla="*/ 6842 w 10000"/>
                <a:gd name="connsiteY62" fmla="*/ 3067 h 9959"/>
                <a:gd name="connsiteX63" fmla="*/ 6879 w 10000"/>
                <a:gd name="connsiteY63" fmla="*/ 2995 h 9959"/>
                <a:gd name="connsiteX64" fmla="*/ 6909 w 10000"/>
                <a:gd name="connsiteY64" fmla="*/ 2925 h 9959"/>
                <a:gd name="connsiteX65" fmla="*/ 6946 w 10000"/>
                <a:gd name="connsiteY65" fmla="*/ 2847 h 9959"/>
                <a:gd name="connsiteX66" fmla="*/ 6990 w 10000"/>
                <a:gd name="connsiteY66" fmla="*/ 2784 h 9959"/>
                <a:gd name="connsiteX67" fmla="*/ 7027 w 10000"/>
                <a:gd name="connsiteY67" fmla="*/ 2711 h 9959"/>
                <a:gd name="connsiteX68" fmla="*/ 7072 w 10000"/>
                <a:gd name="connsiteY68" fmla="*/ 2645 h 9959"/>
                <a:gd name="connsiteX69" fmla="*/ 7109 w 10000"/>
                <a:gd name="connsiteY69" fmla="*/ 2570 h 9959"/>
                <a:gd name="connsiteX70" fmla="*/ 7161 w 10000"/>
                <a:gd name="connsiteY70" fmla="*/ 2510 h 9959"/>
                <a:gd name="connsiteX71" fmla="*/ 7213 w 10000"/>
                <a:gd name="connsiteY71" fmla="*/ 2438 h 9959"/>
                <a:gd name="connsiteX72" fmla="*/ 7257 w 10000"/>
                <a:gd name="connsiteY72" fmla="*/ 2373 h 9959"/>
                <a:gd name="connsiteX73" fmla="*/ 7309 w 10000"/>
                <a:gd name="connsiteY73" fmla="*/ 2308 h 9959"/>
                <a:gd name="connsiteX74" fmla="*/ 7361 w 10000"/>
                <a:gd name="connsiteY74" fmla="*/ 2239 h 9959"/>
                <a:gd name="connsiteX75" fmla="*/ 7413 w 10000"/>
                <a:gd name="connsiteY75" fmla="*/ 2179 h 9959"/>
                <a:gd name="connsiteX76" fmla="*/ 7472 w 10000"/>
                <a:gd name="connsiteY76" fmla="*/ 2115 h 9959"/>
                <a:gd name="connsiteX77" fmla="*/ 7524 w 10000"/>
                <a:gd name="connsiteY77" fmla="*/ 2060 h 9959"/>
                <a:gd name="connsiteX78" fmla="*/ 7583 w 10000"/>
                <a:gd name="connsiteY78" fmla="*/ 1996 h 9959"/>
                <a:gd name="connsiteX79" fmla="*/ 7610 w 10000"/>
                <a:gd name="connsiteY79" fmla="*/ 1961 h 9959"/>
                <a:gd name="connsiteX80" fmla="*/ 5390 w 10000"/>
                <a:gd name="connsiteY80" fmla="*/ 6 h 9959"/>
                <a:gd name="connsiteX81" fmla="*/ 1401 w 10000"/>
                <a:gd name="connsiteY81" fmla="*/ 0 h 9959"/>
                <a:gd name="connsiteX82" fmla="*/ 1305 w 10000"/>
                <a:gd name="connsiteY82" fmla="*/ 147 h 9959"/>
                <a:gd name="connsiteX83" fmla="*/ 1223 w 10000"/>
                <a:gd name="connsiteY83" fmla="*/ 259 h 9959"/>
                <a:gd name="connsiteX84" fmla="*/ 1149 w 10000"/>
                <a:gd name="connsiteY84" fmla="*/ 380 h 9959"/>
                <a:gd name="connsiteX85" fmla="*/ 1067 w 10000"/>
                <a:gd name="connsiteY85" fmla="*/ 502 h 9959"/>
                <a:gd name="connsiteX86" fmla="*/ 1001 w 10000"/>
                <a:gd name="connsiteY86" fmla="*/ 624 h 9959"/>
                <a:gd name="connsiteX87" fmla="*/ 927 w 10000"/>
                <a:gd name="connsiteY87" fmla="*/ 744 h 9959"/>
                <a:gd name="connsiteX88" fmla="*/ 860 w 10000"/>
                <a:gd name="connsiteY88" fmla="*/ 874 h 9959"/>
                <a:gd name="connsiteX89" fmla="*/ 793 w 10000"/>
                <a:gd name="connsiteY89" fmla="*/ 1002 h 9959"/>
                <a:gd name="connsiteX90" fmla="*/ 734 w 10000"/>
                <a:gd name="connsiteY90" fmla="*/ 1120 h 9959"/>
                <a:gd name="connsiteX91" fmla="*/ 675 w 10000"/>
                <a:gd name="connsiteY91" fmla="*/ 1252 h 9959"/>
                <a:gd name="connsiteX92" fmla="*/ 615 w 10000"/>
                <a:gd name="connsiteY92" fmla="*/ 1375 h 9959"/>
                <a:gd name="connsiteX93" fmla="*/ 556 w 10000"/>
                <a:gd name="connsiteY93" fmla="*/ 1510 h 9959"/>
                <a:gd name="connsiteX94" fmla="*/ 504 w 10000"/>
                <a:gd name="connsiteY94" fmla="*/ 1632 h 9959"/>
                <a:gd name="connsiteX95" fmla="*/ 452 w 10000"/>
                <a:gd name="connsiteY95" fmla="*/ 1761 h 9959"/>
                <a:gd name="connsiteX96" fmla="*/ 408 w 10000"/>
                <a:gd name="connsiteY96" fmla="*/ 1890 h 9959"/>
                <a:gd name="connsiteX97" fmla="*/ 363 w 10000"/>
                <a:gd name="connsiteY97" fmla="*/ 2021 h 9959"/>
                <a:gd name="connsiteX98" fmla="*/ 319 w 10000"/>
                <a:gd name="connsiteY98" fmla="*/ 2159 h 9959"/>
                <a:gd name="connsiteX99" fmla="*/ 282 w 10000"/>
                <a:gd name="connsiteY99" fmla="*/ 2290 h 9959"/>
                <a:gd name="connsiteX100" fmla="*/ 237 w 10000"/>
                <a:gd name="connsiteY100" fmla="*/ 2426 h 9959"/>
                <a:gd name="connsiteX101" fmla="*/ 208 w 10000"/>
                <a:gd name="connsiteY101" fmla="*/ 2560 h 9959"/>
                <a:gd name="connsiteX102" fmla="*/ 170 w 10000"/>
                <a:gd name="connsiteY102" fmla="*/ 2698 h 9959"/>
                <a:gd name="connsiteX103" fmla="*/ 148 w 10000"/>
                <a:gd name="connsiteY103" fmla="*/ 2836 h 9959"/>
                <a:gd name="connsiteX104" fmla="*/ 119 w 10000"/>
                <a:gd name="connsiteY104" fmla="*/ 2973 h 9959"/>
                <a:gd name="connsiteX105" fmla="*/ 96 w 10000"/>
                <a:gd name="connsiteY105" fmla="*/ 3107 h 9959"/>
                <a:gd name="connsiteX106" fmla="*/ 74 w 10000"/>
                <a:gd name="connsiteY106" fmla="*/ 3249 h 9959"/>
                <a:gd name="connsiteX107" fmla="*/ 52 w 10000"/>
                <a:gd name="connsiteY107" fmla="*/ 3394 h 9959"/>
                <a:gd name="connsiteX108" fmla="*/ 37 w 10000"/>
                <a:gd name="connsiteY108" fmla="*/ 3532 h 9959"/>
                <a:gd name="connsiteX109" fmla="*/ 22 w 10000"/>
                <a:gd name="connsiteY109" fmla="*/ 3671 h 9959"/>
                <a:gd name="connsiteX110" fmla="*/ 15 w 10000"/>
                <a:gd name="connsiteY110" fmla="*/ 3809 h 9959"/>
                <a:gd name="connsiteX111" fmla="*/ 7 w 10000"/>
                <a:gd name="connsiteY111" fmla="*/ 3954 h 9959"/>
                <a:gd name="connsiteX112" fmla="*/ 0 w 10000"/>
                <a:gd name="connsiteY112" fmla="*/ 4092 h 9959"/>
                <a:gd name="connsiteX113" fmla="*/ 0 w 10000"/>
                <a:gd name="connsiteY113" fmla="*/ 4239 h 9959"/>
                <a:gd name="connsiteX114" fmla="*/ 7 w 10000"/>
                <a:gd name="connsiteY114" fmla="*/ 4425 h 9959"/>
                <a:gd name="connsiteX115" fmla="*/ 7 w 10000"/>
                <a:gd name="connsiteY115" fmla="*/ 4608 h 9959"/>
                <a:gd name="connsiteX116" fmla="*/ 22 w 10000"/>
                <a:gd name="connsiteY116" fmla="*/ 4780 h 9959"/>
                <a:gd name="connsiteX117" fmla="*/ 37 w 10000"/>
                <a:gd name="connsiteY117" fmla="*/ 4962 h 9959"/>
                <a:gd name="connsiteX118" fmla="*/ 59 w 10000"/>
                <a:gd name="connsiteY118" fmla="*/ 5141 h 9959"/>
                <a:gd name="connsiteX119" fmla="*/ 89 w 10000"/>
                <a:gd name="connsiteY119" fmla="*/ 5321 h 9959"/>
                <a:gd name="connsiteX120" fmla="*/ 119 w 10000"/>
                <a:gd name="connsiteY120" fmla="*/ 5498 h 9959"/>
                <a:gd name="connsiteX121" fmla="*/ 148 w 10000"/>
                <a:gd name="connsiteY121" fmla="*/ 5676 h 9959"/>
                <a:gd name="connsiteX122" fmla="*/ 193 w 10000"/>
                <a:gd name="connsiteY122" fmla="*/ 5852 h 9959"/>
                <a:gd name="connsiteX123" fmla="*/ 237 w 10000"/>
                <a:gd name="connsiteY123" fmla="*/ 6025 h 9959"/>
                <a:gd name="connsiteX124" fmla="*/ 282 w 10000"/>
                <a:gd name="connsiteY124" fmla="*/ 6200 h 9959"/>
                <a:gd name="connsiteX125" fmla="*/ 334 w 10000"/>
                <a:gd name="connsiteY125" fmla="*/ 6371 h 9959"/>
                <a:gd name="connsiteX126" fmla="*/ 393 w 10000"/>
                <a:gd name="connsiteY126" fmla="*/ 6536 h 9959"/>
                <a:gd name="connsiteX127" fmla="*/ 452 w 10000"/>
                <a:gd name="connsiteY127" fmla="*/ 6707 h 9959"/>
                <a:gd name="connsiteX128" fmla="*/ 519 w 10000"/>
                <a:gd name="connsiteY128" fmla="*/ 6873 h 9959"/>
                <a:gd name="connsiteX129" fmla="*/ 586 w 10000"/>
                <a:gd name="connsiteY129" fmla="*/ 7046 h 9959"/>
                <a:gd name="connsiteX130" fmla="*/ 660 w 10000"/>
                <a:gd name="connsiteY130" fmla="*/ 7205 h 9959"/>
                <a:gd name="connsiteX131" fmla="*/ 741 w 10000"/>
                <a:gd name="connsiteY131" fmla="*/ 7363 h 9959"/>
                <a:gd name="connsiteX132" fmla="*/ 823 w 10000"/>
                <a:gd name="connsiteY132" fmla="*/ 7534 h 9959"/>
                <a:gd name="connsiteX133" fmla="*/ 904 w 10000"/>
                <a:gd name="connsiteY133" fmla="*/ 7690 h 9959"/>
                <a:gd name="connsiteX134" fmla="*/ 993 w 10000"/>
                <a:gd name="connsiteY134" fmla="*/ 7845 h 9959"/>
                <a:gd name="connsiteX135" fmla="*/ 1090 w 10000"/>
                <a:gd name="connsiteY135" fmla="*/ 7994 h 9959"/>
                <a:gd name="connsiteX136" fmla="*/ 1186 w 10000"/>
                <a:gd name="connsiteY136" fmla="*/ 8154 h 9959"/>
                <a:gd name="connsiteX137" fmla="*/ 1290 w 10000"/>
                <a:gd name="connsiteY137" fmla="*/ 8309 h 9959"/>
                <a:gd name="connsiteX138" fmla="*/ 1386 w 10000"/>
                <a:gd name="connsiteY138" fmla="*/ 8460 h 9959"/>
                <a:gd name="connsiteX139" fmla="*/ 1497 w 10000"/>
                <a:gd name="connsiteY139" fmla="*/ 8612 h 9959"/>
                <a:gd name="connsiteX140" fmla="*/ 1609 w 10000"/>
                <a:gd name="connsiteY140" fmla="*/ 8754 h 9959"/>
                <a:gd name="connsiteX141" fmla="*/ 1727 w 10000"/>
                <a:gd name="connsiteY141" fmla="*/ 8906 h 9959"/>
                <a:gd name="connsiteX142" fmla="*/ 1846 w 10000"/>
                <a:gd name="connsiteY142" fmla="*/ 9048 h 9959"/>
                <a:gd name="connsiteX143" fmla="*/ 1964 w 10000"/>
                <a:gd name="connsiteY143" fmla="*/ 9187 h 9959"/>
                <a:gd name="connsiteX144" fmla="*/ 2090 w 10000"/>
                <a:gd name="connsiteY144" fmla="*/ 9323 h 9959"/>
                <a:gd name="connsiteX145" fmla="*/ 2224 w 10000"/>
                <a:gd name="connsiteY145" fmla="*/ 9465 h 9959"/>
                <a:gd name="connsiteX146" fmla="*/ 2350 w 10000"/>
                <a:gd name="connsiteY146" fmla="*/ 9604 h 9959"/>
                <a:gd name="connsiteX147" fmla="*/ 2491 w 10000"/>
                <a:gd name="connsiteY147" fmla="*/ 9737 h 9959"/>
                <a:gd name="connsiteX148" fmla="*/ 2617 w 10000"/>
                <a:gd name="connsiteY148" fmla="*/ 9870 h 9959"/>
                <a:gd name="connsiteX149" fmla="*/ 7539 w 10000"/>
                <a:gd name="connsiteY149" fmla="*/ 9767 h 9959"/>
                <a:gd name="connsiteX150" fmla="*/ 10000 w 10000"/>
                <a:gd name="connsiteY150" fmla="*/ 7730 h 9959"/>
                <a:gd name="connsiteX0" fmla="*/ 10000 w 10000"/>
                <a:gd name="connsiteY0" fmla="*/ 7762 h 9807"/>
                <a:gd name="connsiteX1" fmla="*/ 10000 w 10000"/>
                <a:gd name="connsiteY1" fmla="*/ 7762 h 9807"/>
                <a:gd name="connsiteX2" fmla="*/ 9911 w 10000"/>
                <a:gd name="connsiteY2" fmla="*/ 7744 h 9807"/>
                <a:gd name="connsiteX3" fmla="*/ 9815 w 10000"/>
                <a:gd name="connsiteY3" fmla="*/ 7722 h 9807"/>
                <a:gd name="connsiteX4" fmla="*/ 9726 w 10000"/>
                <a:gd name="connsiteY4" fmla="*/ 7700 h 9807"/>
                <a:gd name="connsiteX5" fmla="*/ 9637 w 10000"/>
                <a:gd name="connsiteY5" fmla="*/ 7667 h 9807"/>
                <a:gd name="connsiteX6" fmla="*/ 9548 w 10000"/>
                <a:gd name="connsiteY6" fmla="*/ 7643 h 9807"/>
                <a:gd name="connsiteX7" fmla="*/ 9466 w 10000"/>
                <a:gd name="connsiteY7" fmla="*/ 7616 h 9807"/>
                <a:gd name="connsiteX8" fmla="*/ 9377 w 10000"/>
                <a:gd name="connsiteY8" fmla="*/ 7589 h 9807"/>
                <a:gd name="connsiteX9" fmla="*/ 9288 w 10000"/>
                <a:gd name="connsiteY9" fmla="*/ 7558 h 9807"/>
                <a:gd name="connsiteX10" fmla="*/ 9118 w 10000"/>
                <a:gd name="connsiteY10" fmla="*/ 7495 h 9807"/>
                <a:gd name="connsiteX11" fmla="*/ 8955 w 10000"/>
                <a:gd name="connsiteY11" fmla="*/ 7424 h 9807"/>
                <a:gd name="connsiteX12" fmla="*/ 8792 w 10000"/>
                <a:gd name="connsiteY12" fmla="*/ 7352 h 9807"/>
                <a:gd name="connsiteX13" fmla="*/ 8636 w 10000"/>
                <a:gd name="connsiteY13" fmla="*/ 7268 h 9807"/>
                <a:gd name="connsiteX14" fmla="*/ 8480 w 10000"/>
                <a:gd name="connsiteY14" fmla="*/ 7183 h 9807"/>
                <a:gd name="connsiteX15" fmla="*/ 8340 w 10000"/>
                <a:gd name="connsiteY15" fmla="*/ 7103 h 9807"/>
                <a:gd name="connsiteX16" fmla="*/ 8199 w 10000"/>
                <a:gd name="connsiteY16" fmla="*/ 7007 h 9807"/>
                <a:gd name="connsiteX17" fmla="*/ 8058 w 10000"/>
                <a:gd name="connsiteY17" fmla="*/ 6906 h 9807"/>
                <a:gd name="connsiteX18" fmla="*/ 7924 w 10000"/>
                <a:gd name="connsiteY18" fmla="*/ 6805 h 9807"/>
                <a:gd name="connsiteX19" fmla="*/ 7798 w 10000"/>
                <a:gd name="connsiteY19" fmla="*/ 6695 h 9807"/>
                <a:gd name="connsiteX20" fmla="*/ 7672 w 10000"/>
                <a:gd name="connsiteY20" fmla="*/ 6590 h 9807"/>
                <a:gd name="connsiteX21" fmla="*/ 7554 w 10000"/>
                <a:gd name="connsiteY21" fmla="*/ 6479 h 9807"/>
                <a:gd name="connsiteX22" fmla="*/ 7450 w 10000"/>
                <a:gd name="connsiteY22" fmla="*/ 6359 h 9807"/>
                <a:gd name="connsiteX23" fmla="*/ 7346 w 10000"/>
                <a:gd name="connsiteY23" fmla="*/ 6237 h 9807"/>
                <a:gd name="connsiteX24" fmla="*/ 7250 w 10000"/>
                <a:gd name="connsiteY24" fmla="*/ 6113 h 9807"/>
                <a:gd name="connsiteX25" fmla="*/ 7161 w 10000"/>
                <a:gd name="connsiteY25" fmla="*/ 5988 h 9807"/>
                <a:gd name="connsiteX26" fmla="*/ 7072 w 10000"/>
                <a:gd name="connsiteY26" fmla="*/ 5857 h 9807"/>
                <a:gd name="connsiteX27" fmla="*/ 6990 w 10000"/>
                <a:gd name="connsiteY27" fmla="*/ 5717 h 9807"/>
                <a:gd name="connsiteX28" fmla="*/ 6953 w 10000"/>
                <a:gd name="connsiteY28" fmla="*/ 5657 h 9807"/>
                <a:gd name="connsiteX29" fmla="*/ 6916 w 10000"/>
                <a:gd name="connsiteY29" fmla="*/ 5583 h 9807"/>
                <a:gd name="connsiteX30" fmla="*/ 6887 w 10000"/>
                <a:gd name="connsiteY30" fmla="*/ 5517 h 9807"/>
                <a:gd name="connsiteX31" fmla="*/ 6850 w 10000"/>
                <a:gd name="connsiteY31" fmla="*/ 5445 h 9807"/>
                <a:gd name="connsiteX32" fmla="*/ 6820 w 10000"/>
                <a:gd name="connsiteY32" fmla="*/ 5376 h 9807"/>
                <a:gd name="connsiteX33" fmla="*/ 6790 w 10000"/>
                <a:gd name="connsiteY33" fmla="*/ 5306 h 9807"/>
                <a:gd name="connsiteX34" fmla="*/ 6768 w 10000"/>
                <a:gd name="connsiteY34" fmla="*/ 5231 h 9807"/>
                <a:gd name="connsiteX35" fmla="*/ 6738 w 10000"/>
                <a:gd name="connsiteY35" fmla="*/ 5162 h 9807"/>
                <a:gd name="connsiteX36" fmla="*/ 6723 w 10000"/>
                <a:gd name="connsiteY36" fmla="*/ 5086 h 9807"/>
                <a:gd name="connsiteX37" fmla="*/ 6694 w 10000"/>
                <a:gd name="connsiteY37" fmla="*/ 5015 h 9807"/>
                <a:gd name="connsiteX38" fmla="*/ 6679 w 10000"/>
                <a:gd name="connsiteY38" fmla="*/ 4940 h 9807"/>
                <a:gd name="connsiteX39" fmla="*/ 6664 w 10000"/>
                <a:gd name="connsiteY39" fmla="*/ 4868 h 9807"/>
                <a:gd name="connsiteX40" fmla="*/ 6649 w 10000"/>
                <a:gd name="connsiteY40" fmla="*/ 4790 h 9807"/>
                <a:gd name="connsiteX41" fmla="*/ 6635 w 10000"/>
                <a:gd name="connsiteY41" fmla="*/ 4719 h 9807"/>
                <a:gd name="connsiteX42" fmla="*/ 6620 w 10000"/>
                <a:gd name="connsiteY42" fmla="*/ 4644 h 9807"/>
                <a:gd name="connsiteX43" fmla="*/ 6612 w 10000"/>
                <a:gd name="connsiteY43" fmla="*/ 4570 h 9807"/>
                <a:gd name="connsiteX44" fmla="*/ 6605 w 10000"/>
                <a:gd name="connsiteY44" fmla="*/ 4491 h 9807"/>
                <a:gd name="connsiteX45" fmla="*/ 6597 w 10000"/>
                <a:gd name="connsiteY45" fmla="*/ 4410 h 9807"/>
                <a:gd name="connsiteX46" fmla="*/ 6597 w 10000"/>
                <a:gd name="connsiteY46" fmla="*/ 4337 h 9807"/>
                <a:gd name="connsiteX47" fmla="*/ 6590 w 10000"/>
                <a:gd name="connsiteY47" fmla="*/ 4256 h 9807"/>
                <a:gd name="connsiteX48" fmla="*/ 6597 w 10000"/>
                <a:gd name="connsiteY48" fmla="*/ 4180 h 9807"/>
                <a:gd name="connsiteX49" fmla="*/ 6605 w 10000"/>
                <a:gd name="connsiteY49" fmla="*/ 4096 h 9807"/>
                <a:gd name="connsiteX50" fmla="*/ 6605 w 10000"/>
                <a:gd name="connsiteY50" fmla="*/ 4012 h 9807"/>
                <a:gd name="connsiteX51" fmla="*/ 6612 w 10000"/>
                <a:gd name="connsiteY51" fmla="*/ 3930 h 9807"/>
                <a:gd name="connsiteX52" fmla="*/ 6620 w 10000"/>
                <a:gd name="connsiteY52" fmla="*/ 3848 h 9807"/>
                <a:gd name="connsiteX53" fmla="*/ 6635 w 10000"/>
                <a:gd name="connsiteY53" fmla="*/ 3776 h 9807"/>
                <a:gd name="connsiteX54" fmla="*/ 6649 w 10000"/>
                <a:gd name="connsiteY54" fmla="*/ 3693 h 9807"/>
                <a:gd name="connsiteX55" fmla="*/ 6664 w 10000"/>
                <a:gd name="connsiteY55" fmla="*/ 3617 h 9807"/>
                <a:gd name="connsiteX56" fmla="*/ 6686 w 10000"/>
                <a:gd name="connsiteY56" fmla="*/ 3534 h 9807"/>
                <a:gd name="connsiteX57" fmla="*/ 6709 w 10000"/>
                <a:gd name="connsiteY57" fmla="*/ 3461 h 9807"/>
                <a:gd name="connsiteX58" fmla="*/ 6731 w 10000"/>
                <a:gd name="connsiteY58" fmla="*/ 3383 h 9807"/>
                <a:gd name="connsiteX59" fmla="*/ 6753 w 10000"/>
                <a:gd name="connsiteY59" fmla="*/ 3302 h 9807"/>
                <a:gd name="connsiteX60" fmla="*/ 6783 w 10000"/>
                <a:gd name="connsiteY60" fmla="*/ 3235 h 9807"/>
                <a:gd name="connsiteX61" fmla="*/ 6812 w 10000"/>
                <a:gd name="connsiteY61" fmla="*/ 3159 h 9807"/>
                <a:gd name="connsiteX62" fmla="*/ 6842 w 10000"/>
                <a:gd name="connsiteY62" fmla="*/ 3080 h 9807"/>
                <a:gd name="connsiteX63" fmla="*/ 6879 w 10000"/>
                <a:gd name="connsiteY63" fmla="*/ 3007 h 9807"/>
                <a:gd name="connsiteX64" fmla="*/ 6909 w 10000"/>
                <a:gd name="connsiteY64" fmla="*/ 2937 h 9807"/>
                <a:gd name="connsiteX65" fmla="*/ 6946 w 10000"/>
                <a:gd name="connsiteY65" fmla="*/ 2859 h 9807"/>
                <a:gd name="connsiteX66" fmla="*/ 6990 w 10000"/>
                <a:gd name="connsiteY66" fmla="*/ 2795 h 9807"/>
                <a:gd name="connsiteX67" fmla="*/ 7027 w 10000"/>
                <a:gd name="connsiteY67" fmla="*/ 2722 h 9807"/>
                <a:gd name="connsiteX68" fmla="*/ 7072 w 10000"/>
                <a:gd name="connsiteY68" fmla="*/ 2656 h 9807"/>
                <a:gd name="connsiteX69" fmla="*/ 7109 w 10000"/>
                <a:gd name="connsiteY69" fmla="*/ 2581 h 9807"/>
                <a:gd name="connsiteX70" fmla="*/ 7161 w 10000"/>
                <a:gd name="connsiteY70" fmla="*/ 2520 h 9807"/>
                <a:gd name="connsiteX71" fmla="*/ 7213 w 10000"/>
                <a:gd name="connsiteY71" fmla="*/ 2448 h 9807"/>
                <a:gd name="connsiteX72" fmla="*/ 7257 w 10000"/>
                <a:gd name="connsiteY72" fmla="*/ 2383 h 9807"/>
                <a:gd name="connsiteX73" fmla="*/ 7309 w 10000"/>
                <a:gd name="connsiteY73" fmla="*/ 2318 h 9807"/>
                <a:gd name="connsiteX74" fmla="*/ 7361 w 10000"/>
                <a:gd name="connsiteY74" fmla="*/ 2248 h 9807"/>
                <a:gd name="connsiteX75" fmla="*/ 7413 w 10000"/>
                <a:gd name="connsiteY75" fmla="*/ 2188 h 9807"/>
                <a:gd name="connsiteX76" fmla="*/ 7472 w 10000"/>
                <a:gd name="connsiteY76" fmla="*/ 2124 h 9807"/>
                <a:gd name="connsiteX77" fmla="*/ 7524 w 10000"/>
                <a:gd name="connsiteY77" fmla="*/ 2068 h 9807"/>
                <a:gd name="connsiteX78" fmla="*/ 7583 w 10000"/>
                <a:gd name="connsiteY78" fmla="*/ 2004 h 9807"/>
                <a:gd name="connsiteX79" fmla="*/ 7610 w 10000"/>
                <a:gd name="connsiteY79" fmla="*/ 1969 h 9807"/>
                <a:gd name="connsiteX80" fmla="*/ 5390 w 10000"/>
                <a:gd name="connsiteY80" fmla="*/ 6 h 9807"/>
                <a:gd name="connsiteX81" fmla="*/ 1401 w 10000"/>
                <a:gd name="connsiteY81" fmla="*/ 0 h 9807"/>
                <a:gd name="connsiteX82" fmla="*/ 1305 w 10000"/>
                <a:gd name="connsiteY82" fmla="*/ 148 h 9807"/>
                <a:gd name="connsiteX83" fmla="*/ 1223 w 10000"/>
                <a:gd name="connsiteY83" fmla="*/ 260 h 9807"/>
                <a:gd name="connsiteX84" fmla="*/ 1149 w 10000"/>
                <a:gd name="connsiteY84" fmla="*/ 382 h 9807"/>
                <a:gd name="connsiteX85" fmla="*/ 1067 w 10000"/>
                <a:gd name="connsiteY85" fmla="*/ 504 h 9807"/>
                <a:gd name="connsiteX86" fmla="*/ 1001 w 10000"/>
                <a:gd name="connsiteY86" fmla="*/ 627 h 9807"/>
                <a:gd name="connsiteX87" fmla="*/ 927 w 10000"/>
                <a:gd name="connsiteY87" fmla="*/ 747 h 9807"/>
                <a:gd name="connsiteX88" fmla="*/ 860 w 10000"/>
                <a:gd name="connsiteY88" fmla="*/ 878 h 9807"/>
                <a:gd name="connsiteX89" fmla="*/ 793 w 10000"/>
                <a:gd name="connsiteY89" fmla="*/ 1006 h 9807"/>
                <a:gd name="connsiteX90" fmla="*/ 734 w 10000"/>
                <a:gd name="connsiteY90" fmla="*/ 1125 h 9807"/>
                <a:gd name="connsiteX91" fmla="*/ 675 w 10000"/>
                <a:gd name="connsiteY91" fmla="*/ 1257 h 9807"/>
                <a:gd name="connsiteX92" fmla="*/ 615 w 10000"/>
                <a:gd name="connsiteY92" fmla="*/ 1381 h 9807"/>
                <a:gd name="connsiteX93" fmla="*/ 556 w 10000"/>
                <a:gd name="connsiteY93" fmla="*/ 1516 h 9807"/>
                <a:gd name="connsiteX94" fmla="*/ 504 w 10000"/>
                <a:gd name="connsiteY94" fmla="*/ 1639 h 9807"/>
                <a:gd name="connsiteX95" fmla="*/ 452 w 10000"/>
                <a:gd name="connsiteY95" fmla="*/ 1768 h 9807"/>
                <a:gd name="connsiteX96" fmla="*/ 408 w 10000"/>
                <a:gd name="connsiteY96" fmla="*/ 1898 h 9807"/>
                <a:gd name="connsiteX97" fmla="*/ 363 w 10000"/>
                <a:gd name="connsiteY97" fmla="*/ 2029 h 9807"/>
                <a:gd name="connsiteX98" fmla="*/ 319 w 10000"/>
                <a:gd name="connsiteY98" fmla="*/ 2168 h 9807"/>
                <a:gd name="connsiteX99" fmla="*/ 282 w 10000"/>
                <a:gd name="connsiteY99" fmla="*/ 2299 h 9807"/>
                <a:gd name="connsiteX100" fmla="*/ 237 w 10000"/>
                <a:gd name="connsiteY100" fmla="*/ 2436 h 9807"/>
                <a:gd name="connsiteX101" fmla="*/ 208 w 10000"/>
                <a:gd name="connsiteY101" fmla="*/ 2571 h 9807"/>
                <a:gd name="connsiteX102" fmla="*/ 170 w 10000"/>
                <a:gd name="connsiteY102" fmla="*/ 2709 h 9807"/>
                <a:gd name="connsiteX103" fmla="*/ 148 w 10000"/>
                <a:gd name="connsiteY103" fmla="*/ 2848 h 9807"/>
                <a:gd name="connsiteX104" fmla="*/ 119 w 10000"/>
                <a:gd name="connsiteY104" fmla="*/ 2985 h 9807"/>
                <a:gd name="connsiteX105" fmla="*/ 96 w 10000"/>
                <a:gd name="connsiteY105" fmla="*/ 3120 h 9807"/>
                <a:gd name="connsiteX106" fmla="*/ 74 w 10000"/>
                <a:gd name="connsiteY106" fmla="*/ 3262 h 9807"/>
                <a:gd name="connsiteX107" fmla="*/ 52 w 10000"/>
                <a:gd name="connsiteY107" fmla="*/ 3408 h 9807"/>
                <a:gd name="connsiteX108" fmla="*/ 37 w 10000"/>
                <a:gd name="connsiteY108" fmla="*/ 3547 h 9807"/>
                <a:gd name="connsiteX109" fmla="*/ 22 w 10000"/>
                <a:gd name="connsiteY109" fmla="*/ 3686 h 9807"/>
                <a:gd name="connsiteX110" fmla="*/ 15 w 10000"/>
                <a:gd name="connsiteY110" fmla="*/ 3825 h 9807"/>
                <a:gd name="connsiteX111" fmla="*/ 7 w 10000"/>
                <a:gd name="connsiteY111" fmla="*/ 3970 h 9807"/>
                <a:gd name="connsiteX112" fmla="*/ 0 w 10000"/>
                <a:gd name="connsiteY112" fmla="*/ 4109 h 9807"/>
                <a:gd name="connsiteX113" fmla="*/ 0 w 10000"/>
                <a:gd name="connsiteY113" fmla="*/ 4256 h 9807"/>
                <a:gd name="connsiteX114" fmla="*/ 7 w 10000"/>
                <a:gd name="connsiteY114" fmla="*/ 4443 h 9807"/>
                <a:gd name="connsiteX115" fmla="*/ 7 w 10000"/>
                <a:gd name="connsiteY115" fmla="*/ 4627 h 9807"/>
                <a:gd name="connsiteX116" fmla="*/ 22 w 10000"/>
                <a:gd name="connsiteY116" fmla="*/ 4800 h 9807"/>
                <a:gd name="connsiteX117" fmla="*/ 37 w 10000"/>
                <a:gd name="connsiteY117" fmla="*/ 4982 h 9807"/>
                <a:gd name="connsiteX118" fmla="*/ 59 w 10000"/>
                <a:gd name="connsiteY118" fmla="*/ 5162 h 9807"/>
                <a:gd name="connsiteX119" fmla="*/ 89 w 10000"/>
                <a:gd name="connsiteY119" fmla="*/ 5343 h 9807"/>
                <a:gd name="connsiteX120" fmla="*/ 119 w 10000"/>
                <a:gd name="connsiteY120" fmla="*/ 5521 h 9807"/>
                <a:gd name="connsiteX121" fmla="*/ 148 w 10000"/>
                <a:gd name="connsiteY121" fmla="*/ 5699 h 9807"/>
                <a:gd name="connsiteX122" fmla="*/ 193 w 10000"/>
                <a:gd name="connsiteY122" fmla="*/ 5876 h 9807"/>
                <a:gd name="connsiteX123" fmla="*/ 237 w 10000"/>
                <a:gd name="connsiteY123" fmla="*/ 6050 h 9807"/>
                <a:gd name="connsiteX124" fmla="*/ 282 w 10000"/>
                <a:gd name="connsiteY124" fmla="*/ 6226 h 9807"/>
                <a:gd name="connsiteX125" fmla="*/ 334 w 10000"/>
                <a:gd name="connsiteY125" fmla="*/ 6397 h 9807"/>
                <a:gd name="connsiteX126" fmla="*/ 393 w 10000"/>
                <a:gd name="connsiteY126" fmla="*/ 6563 h 9807"/>
                <a:gd name="connsiteX127" fmla="*/ 452 w 10000"/>
                <a:gd name="connsiteY127" fmla="*/ 6735 h 9807"/>
                <a:gd name="connsiteX128" fmla="*/ 519 w 10000"/>
                <a:gd name="connsiteY128" fmla="*/ 6901 h 9807"/>
                <a:gd name="connsiteX129" fmla="*/ 586 w 10000"/>
                <a:gd name="connsiteY129" fmla="*/ 7075 h 9807"/>
                <a:gd name="connsiteX130" fmla="*/ 660 w 10000"/>
                <a:gd name="connsiteY130" fmla="*/ 7235 h 9807"/>
                <a:gd name="connsiteX131" fmla="*/ 741 w 10000"/>
                <a:gd name="connsiteY131" fmla="*/ 7393 h 9807"/>
                <a:gd name="connsiteX132" fmla="*/ 823 w 10000"/>
                <a:gd name="connsiteY132" fmla="*/ 7565 h 9807"/>
                <a:gd name="connsiteX133" fmla="*/ 904 w 10000"/>
                <a:gd name="connsiteY133" fmla="*/ 7722 h 9807"/>
                <a:gd name="connsiteX134" fmla="*/ 993 w 10000"/>
                <a:gd name="connsiteY134" fmla="*/ 7877 h 9807"/>
                <a:gd name="connsiteX135" fmla="*/ 1090 w 10000"/>
                <a:gd name="connsiteY135" fmla="*/ 8027 h 9807"/>
                <a:gd name="connsiteX136" fmla="*/ 1186 w 10000"/>
                <a:gd name="connsiteY136" fmla="*/ 8188 h 9807"/>
                <a:gd name="connsiteX137" fmla="*/ 1290 w 10000"/>
                <a:gd name="connsiteY137" fmla="*/ 8343 h 9807"/>
                <a:gd name="connsiteX138" fmla="*/ 1386 w 10000"/>
                <a:gd name="connsiteY138" fmla="*/ 8495 h 9807"/>
                <a:gd name="connsiteX139" fmla="*/ 1497 w 10000"/>
                <a:gd name="connsiteY139" fmla="*/ 8647 h 9807"/>
                <a:gd name="connsiteX140" fmla="*/ 1609 w 10000"/>
                <a:gd name="connsiteY140" fmla="*/ 8790 h 9807"/>
                <a:gd name="connsiteX141" fmla="*/ 1727 w 10000"/>
                <a:gd name="connsiteY141" fmla="*/ 8943 h 9807"/>
                <a:gd name="connsiteX142" fmla="*/ 1846 w 10000"/>
                <a:gd name="connsiteY142" fmla="*/ 9085 h 9807"/>
                <a:gd name="connsiteX143" fmla="*/ 1964 w 10000"/>
                <a:gd name="connsiteY143" fmla="*/ 9225 h 9807"/>
                <a:gd name="connsiteX144" fmla="*/ 2090 w 10000"/>
                <a:gd name="connsiteY144" fmla="*/ 9361 h 9807"/>
                <a:gd name="connsiteX145" fmla="*/ 2224 w 10000"/>
                <a:gd name="connsiteY145" fmla="*/ 9504 h 9807"/>
                <a:gd name="connsiteX146" fmla="*/ 2350 w 10000"/>
                <a:gd name="connsiteY146" fmla="*/ 9644 h 9807"/>
                <a:gd name="connsiteX147" fmla="*/ 2491 w 10000"/>
                <a:gd name="connsiteY147" fmla="*/ 9777 h 9807"/>
                <a:gd name="connsiteX148" fmla="*/ 7539 w 10000"/>
                <a:gd name="connsiteY148" fmla="*/ 9807 h 9807"/>
                <a:gd name="connsiteX149" fmla="*/ 10000 w 10000"/>
                <a:gd name="connsiteY149" fmla="*/ 7762 h 9807"/>
                <a:gd name="connsiteX0" fmla="*/ 10000 w 10000"/>
                <a:gd name="connsiteY0" fmla="*/ 7915 h 10000"/>
                <a:gd name="connsiteX1" fmla="*/ 10000 w 10000"/>
                <a:gd name="connsiteY1" fmla="*/ 7915 h 10000"/>
                <a:gd name="connsiteX2" fmla="*/ 9911 w 10000"/>
                <a:gd name="connsiteY2" fmla="*/ 7896 h 10000"/>
                <a:gd name="connsiteX3" fmla="*/ 9815 w 10000"/>
                <a:gd name="connsiteY3" fmla="*/ 7874 h 10000"/>
                <a:gd name="connsiteX4" fmla="*/ 9726 w 10000"/>
                <a:gd name="connsiteY4" fmla="*/ 7852 h 10000"/>
                <a:gd name="connsiteX5" fmla="*/ 9637 w 10000"/>
                <a:gd name="connsiteY5" fmla="*/ 7818 h 10000"/>
                <a:gd name="connsiteX6" fmla="*/ 9548 w 10000"/>
                <a:gd name="connsiteY6" fmla="*/ 7793 h 10000"/>
                <a:gd name="connsiteX7" fmla="*/ 9466 w 10000"/>
                <a:gd name="connsiteY7" fmla="*/ 7766 h 10000"/>
                <a:gd name="connsiteX8" fmla="*/ 9377 w 10000"/>
                <a:gd name="connsiteY8" fmla="*/ 7738 h 10000"/>
                <a:gd name="connsiteX9" fmla="*/ 9288 w 10000"/>
                <a:gd name="connsiteY9" fmla="*/ 7707 h 10000"/>
                <a:gd name="connsiteX10" fmla="*/ 9118 w 10000"/>
                <a:gd name="connsiteY10" fmla="*/ 7643 h 10000"/>
                <a:gd name="connsiteX11" fmla="*/ 8955 w 10000"/>
                <a:gd name="connsiteY11" fmla="*/ 7570 h 10000"/>
                <a:gd name="connsiteX12" fmla="*/ 8792 w 10000"/>
                <a:gd name="connsiteY12" fmla="*/ 7497 h 10000"/>
                <a:gd name="connsiteX13" fmla="*/ 8636 w 10000"/>
                <a:gd name="connsiteY13" fmla="*/ 7411 h 10000"/>
                <a:gd name="connsiteX14" fmla="*/ 8480 w 10000"/>
                <a:gd name="connsiteY14" fmla="*/ 7324 h 10000"/>
                <a:gd name="connsiteX15" fmla="*/ 8340 w 10000"/>
                <a:gd name="connsiteY15" fmla="*/ 7243 h 10000"/>
                <a:gd name="connsiteX16" fmla="*/ 8199 w 10000"/>
                <a:gd name="connsiteY16" fmla="*/ 7145 h 10000"/>
                <a:gd name="connsiteX17" fmla="*/ 8058 w 10000"/>
                <a:gd name="connsiteY17" fmla="*/ 7042 h 10000"/>
                <a:gd name="connsiteX18" fmla="*/ 7924 w 10000"/>
                <a:gd name="connsiteY18" fmla="*/ 6939 h 10000"/>
                <a:gd name="connsiteX19" fmla="*/ 7798 w 10000"/>
                <a:gd name="connsiteY19" fmla="*/ 6827 h 10000"/>
                <a:gd name="connsiteX20" fmla="*/ 7672 w 10000"/>
                <a:gd name="connsiteY20" fmla="*/ 6720 h 10000"/>
                <a:gd name="connsiteX21" fmla="*/ 7554 w 10000"/>
                <a:gd name="connsiteY21" fmla="*/ 6607 h 10000"/>
                <a:gd name="connsiteX22" fmla="*/ 7450 w 10000"/>
                <a:gd name="connsiteY22" fmla="*/ 6484 h 10000"/>
                <a:gd name="connsiteX23" fmla="*/ 7346 w 10000"/>
                <a:gd name="connsiteY23" fmla="*/ 6360 h 10000"/>
                <a:gd name="connsiteX24" fmla="*/ 7250 w 10000"/>
                <a:gd name="connsiteY24" fmla="*/ 6233 h 10000"/>
                <a:gd name="connsiteX25" fmla="*/ 7161 w 10000"/>
                <a:gd name="connsiteY25" fmla="*/ 6106 h 10000"/>
                <a:gd name="connsiteX26" fmla="*/ 7072 w 10000"/>
                <a:gd name="connsiteY26" fmla="*/ 5972 h 10000"/>
                <a:gd name="connsiteX27" fmla="*/ 6990 w 10000"/>
                <a:gd name="connsiteY27" fmla="*/ 5830 h 10000"/>
                <a:gd name="connsiteX28" fmla="*/ 6953 w 10000"/>
                <a:gd name="connsiteY28" fmla="*/ 5768 h 10000"/>
                <a:gd name="connsiteX29" fmla="*/ 6916 w 10000"/>
                <a:gd name="connsiteY29" fmla="*/ 5693 h 10000"/>
                <a:gd name="connsiteX30" fmla="*/ 6887 w 10000"/>
                <a:gd name="connsiteY30" fmla="*/ 5626 h 10000"/>
                <a:gd name="connsiteX31" fmla="*/ 6850 w 10000"/>
                <a:gd name="connsiteY31" fmla="*/ 5552 h 10000"/>
                <a:gd name="connsiteX32" fmla="*/ 6820 w 10000"/>
                <a:gd name="connsiteY32" fmla="*/ 5482 h 10000"/>
                <a:gd name="connsiteX33" fmla="*/ 6790 w 10000"/>
                <a:gd name="connsiteY33" fmla="*/ 5410 h 10000"/>
                <a:gd name="connsiteX34" fmla="*/ 6768 w 10000"/>
                <a:gd name="connsiteY34" fmla="*/ 5334 h 10000"/>
                <a:gd name="connsiteX35" fmla="*/ 6738 w 10000"/>
                <a:gd name="connsiteY35" fmla="*/ 5264 h 10000"/>
                <a:gd name="connsiteX36" fmla="*/ 6723 w 10000"/>
                <a:gd name="connsiteY36" fmla="*/ 5186 h 10000"/>
                <a:gd name="connsiteX37" fmla="*/ 6694 w 10000"/>
                <a:gd name="connsiteY37" fmla="*/ 5114 h 10000"/>
                <a:gd name="connsiteX38" fmla="*/ 6679 w 10000"/>
                <a:gd name="connsiteY38" fmla="*/ 5037 h 10000"/>
                <a:gd name="connsiteX39" fmla="*/ 6664 w 10000"/>
                <a:gd name="connsiteY39" fmla="*/ 4964 h 10000"/>
                <a:gd name="connsiteX40" fmla="*/ 6649 w 10000"/>
                <a:gd name="connsiteY40" fmla="*/ 4884 h 10000"/>
                <a:gd name="connsiteX41" fmla="*/ 6635 w 10000"/>
                <a:gd name="connsiteY41" fmla="*/ 4812 h 10000"/>
                <a:gd name="connsiteX42" fmla="*/ 6620 w 10000"/>
                <a:gd name="connsiteY42" fmla="*/ 4735 h 10000"/>
                <a:gd name="connsiteX43" fmla="*/ 6612 w 10000"/>
                <a:gd name="connsiteY43" fmla="*/ 4660 h 10000"/>
                <a:gd name="connsiteX44" fmla="*/ 6605 w 10000"/>
                <a:gd name="connsiteY44" fmla="*/ 4579 h 10000"/>
                <a:gd name="connsiteX45" fmla="*/ 6597 w 10000"/>
                <a:gd name="connsiteY45" fmla="*/ 4497 h 10000"/>
                <a:gd name="connsiteX46" fmla="*/ 6597 w 10000"/>
                <a:gd name="connsiteY46" fmla="*/ 4422 h 10000"/>
                <a:gd name="connsiteX47" fmla="*/ 6590 w 10000"/>
                <a:gd name="connsiteY47" fmla="*/ 4340 h 10000"/>
                <a:gd name="connsiteX48" fmla="*/ 6597 w 10000"/>
                <a:gd name="connsiteY48" fmla="*/ 4262 h 10000"/>
                <a:gd name="connsiteX49" fmla="*/ 6605 w 10000"/>
                <a:gd name="connsiteY49" fmla="*/ 4177 h 10000"/>
                <a:gd name="connsiteX50" fmla="*/ 6605 w 10000"/>
                <a:gd name="connsiteY50" fmla="*/ 4091 h 10000"/>
                <a:gd name="connsiteX51" fmla="*/ 6612 w 10000"/>
                <a:gd name="connsiteY51" fmla="*/ 4007 h 10000"/>
                <a:gd name="connsiteX52" fmla="*/ 6620 w 10000"/>
                <a:gd name="connsiteY52" fmla="*/ 3924 h 10000"/>
                <a:gd name="connsiteX53" fmla="*/ 6635 w 10000"/>
                <a:gd name="connsiteY53" fmla="*/ 3850 h 10000"/>
                <a:gd name="connsiteX54" fmla="*/ 6649 w 10000"/>
                <a:gd name="connsiteY54" fmla="*/ 3766 h 10000"/>
                <a:gd name="connsiteX55" fmla="*/ 6664 w 10000"/>
                <a:gd name="connsiteY55" fmla="*/ 3688 h 10000"/>
                <a:gd name="connsiteX56" fmla="*/ 6686 w 10000"/>
                <a:gd name="connsiteY56" fmla="*/ 3604 h 10000"/>
                <a:gd name="connsiteX57" fmla="*/ 6709 w 10000"/>
                <a:gd name="connsiteY57" fmla="*/ 3529 h 10000"/>
                <a:gd name="connsiteX58" fmla="*/ 6731 w 10000"/>
                <a:gd name="connsiteY58" fmla="*/ 3450 h 10000"/>
                <a:gd name="connsiteX59" fmla="*/ 6753 w 10000"/>
                <a:gd name="connsiteY59" fmla="*/ 3367 h 10000"/>
                <a:gd name="connsiteX60" fmla="*/ 6783 w 10000"/>
                <a:gd name="connsiteY60" fmla="*/ 3299 h 10000"/>
                <a:gd name="connsiteX61" fmla="*/ 6812 w 10000"/>
                <a:gd name="connsiteY61" fmla="*/ 3221 h 10000"/>
                <a:gd name="connsiteX62" fmla="*/ 6842 w 10000"/>
                <a:gd name="connsiteY62" fmla="*/ 3141 h 10000"/>
                <a:gd name="connsiteX63" fmla="*/ 6879 w 10000"/>
                <a:gd name="connsiteY63" fmla="*/ 3066 h 10000"/>
                <a:gd name="connsiteX64" fmla="*/ 6909 w 10000"/>
                <a:gd name="connsiteY64" fmla="*/ 2995 h 10000"/>
                <a:gd name="connsiteX65" fmla="*/ 6946 w 10000"/>
                <a:gd name="connsiteY65" fmla="*/ 2915 h 10000"/>
                <a:gd name="connsiteX66" fmla="*/ 6990 w 10000"/>
                <a:gd name="connsiteY66" fmla="*/ 2850 h 10000"/>
                <a:gd name="connsiteX67" fmla="*/ 7027 w 10000"/>
                <a:gd name="connsiteY67" fmla="*/ 2776 h 10000"/>
                <a:gd name="connsiteX68" fmla="*/ 7072 w 10000"/>
                <a:gd name="connsiteY68" fmla="*/ 2708 h 10000"/>
                <a:gd name="connsiteX69" fmla="*/ 7109 w 10000"/>
                <a:gd name="connsiteY69" fmla="*/ 2632 h 10000"/>
                <a:gd name="connsiteX70" fmla="*/ 7161 w 10000"/>
                <a:gd name="connsiteY70" fmla="*/ 2570 h 10000"/>
                <a:gd name="connsiteX71" fmla="*/ 7213 w 10000"/>
                <a:gd name="connsiteY71" fmla="*/ 2496 h 10000"/>
                <a:gd name="connsiteX72" fmla="*/ 7257 w 10000"/>
                <a:gd name="connsiteY72" fmla="*/ 2430 h 10000"/>
                <a:gd name="connsiteX73" fmla="*/ 7309 w 10000"/>
                <a:gd name="connsiteY73" fmla="*/ 2364 h 10000"/>
                <a:gd name="connsiteX74" fmla="*/ 7361 w 10000"/>
                <a:gd name="connsiteY74" fmla="*/ 2292 h 10000"/>
                <a:gd name="connsiteX75" fmla="*/ 7413 w 10000"/>
                <a:gd name="connsiteY75" fmla="*/ 2231 h 10000"/>
                <a:gd name="connsiteX76" fmla="*/ 7472 w 10000"/>
                <a:gd name="connsiteY76" fmla="*/ 2166 h 10000"/>
                <a:gd name="connsiteX77" fmla="*/ 7524 w 10000"/>
                <a:gd name="connsiteY77" fmla="*/ 2109 h 10000"/>
                <a:gd name="connsiteX78" fmla="*/ 7583 w 10000"/>
                <a:gd name="connsiteY78" fmla="*/ 2043 h 10000"/>
                <a:gd name="connsiteX79" fmla="*/ 7610 w 10000"/>
                <a:gd name="connsiteY79" fmla="*/ 2008 h 10000"/>
                <a:gd name="connsiteX80" fmla="*/ 5390 w 10000"/>
                <a:gd name="connsiteY80" fmla="*/ 6 h 10000"/>
                <a:gd name="connsiteX81" fmla="*/ 1401 w 10000"/>
                <a:gd name="connsiteY81" fmla="*/ 0 h 10000"/>
                <a:gd name="connsiteX82" fmla="*/ 1305 w 10000"/>
                <a:gd name="connsiteY82" fmla="*/ 151 h 10000"/>
                <a:gd name="connsiteX83" fmla="*/ 1223 w 10000"/>
                <a:gd name="connsiteY83" fmla="*/ 265 h 10000"/>
                <a:gd name="connsiteX84" fmla="*/ 1149 w 10000"/>
                <a:gd name="connsiteY84" fmla="*/ 390 h 10000"/>
                <a:gd name="connsiteX85" fmla="*/ 1067 w 10000"/>
                <a:gd name="connsiteY85" fmla="*/ 514 h 10000"/>
                <a:gd name="connsiteX86" fmla="*/ 1001 w 10000"/>
                <a:gd name="connsiteY86" fmla="*/ 639 h 10000"/>
                <a:gd name="connsiteX87" fmla="*/ 927 w 10000"/>
                <a:gd name="connsiteY87" fmla="*/ 762 h 10000"/>
                <a:gd name="connsiteX88" fmla="*/ 860 w 10000"/>
                <a:gd name="connsiteY88" fmla="*/ 895 h 10000"/>
                <a:gd name="connsiteX89" fmla="*/ 793 w 10000"/>
                <a:gd name="connsiteY89" fmla="*/ 1026 h 10000"/>
                <a:gd name="connsiteX90" fmla="*/ 734 w 10000"/>
                <a:gd name="connsiteY90" fmla="*/ 1147 h 10000"/>
                <a:gd name="connsiteX91" fmla="*/ 675 w 10000"/>
                <a:gd name="connsiteY91" fmla="*/ 1282 h 10000"/>
                <a:gd name="connsiteX92" fmla="*/ 615 w 10000"/>
                <a:gd name="connsiteY92" fmla="*/ 1408 h 10000"/>
                <a:gd name="connsiteX93" fmla="*/ 556 w 10000"/>
                <a:gd name="connsiteY93" fmla="*/ 1546 h 10000"/>
                <a:gd name="connsiteX94" fmla="*/ 504 w 10000"/>
                <a:gd name="connsiteY94" fmla="*/ 1671 h 10000"/>
                <a:gd name="connsiteX95" fmla="*/ 452 w 10000"/>
                <a:gd name="connsiteY95" fmla="*/ 1803 h 10000"/>
                <a:gd name="connsiteX96" fmla="*/ 408 w 10000"/>
                <a:gd name="connsiteY96" fmla="*/ 1935 h 10000"/>
                <a:gd name="connsiteX97" fmla="*/ 363 w 10000"/>
                <a:gd name="connsiteY97" fmla="*/ 2069 h 10000"/>
                <a:gd name="connsiteX98" fmla="*/ 319 w 10000"/>
                <a:gd name="connsiteY98" fmla="*/ 2211 h 10000"/>
                <a:gd name="connsiteX99" fmla="*/ 282 w 10000"/>
                <a:gd name="connsiteY99" fmla="*/ 2344 h 10000"/>
                <a:gd name="connsiteX100" fmla="*/ 237 w 10000"/>
                <a:gd name="connsiteY100" fmla="*/ 2484 h 10000"/>
                <a:gd name="connsiteX101" fmla="*/ 208 w 10000"/>
                <a:gd name="connsiteY101" fmla="*/ 2622 h 10000"/>
                <a:gd name="connsiteX102" fmla="*/ 170 w 10000"/>
                <a:gd name="connsiteY102" fmla="*/ 2762 h 10000"/>
                <a:gd name="connsiteX103" fmla="*/ 148 w 10000"/>
                <a:gd name="connsiteY103" fmla="*/ 2904 h 10000"/>
                <a:gd name="connsiteX104" fmla="*/ 119 w 10000"/>
                <a:gd name="connsiteY104" fmla="*/ 3044 h 10000"/>
                <a:gd name="connsiteX105" fmla="*/ 96 w 10000"/>
                <a:gd name="connsiteY105" fmla="*/ 3181 h 10000"/>
                <a:gd name="connsiteX106" fmla="*/ 74 w 10000"/>
                <a:gd name="connsiteY106" fmla="*/ 3326 h 10000"/>
                <a:gd name="connsiteX107" fmla="*/ 52 w 10000"/>
                <a:gd name="connsiteY107" fmla="*/ 3475 h 10000"/>
                <a:gd name="connsiteX108" fmla="*/ 37 w 10000"/>
                <a:gd name="connsiteY108" fmla="*/ 3617 h 10000"/>
                <a:gd name="connsiteX109" fmla="*/ 22 w 10000"/>
                <a:gd name="connsiteY109" fmla="*/ 3759 h 10000"/>
                <a:gd name="connsiteX110" fmla="*/ 15 w 10000"/>
                <a:gd name="connsiteY110" fmla="*/ 3900 h 10000"/>
                <a:gd name="connsiteX111" fmla="*/ 7 w 10000"/>
                <a:gd name="connsiteY111" fmla="*/ 4048 h 10000"/>
                <a:gd name="connsiteX112" fmla="*/ 0 w 10000"/>
                <a:gd name="connsiteY112" fmla="*/ 4190 h 10000"/>
                <a:gd name="connsiteX113" fmla="*/ 0 w 10000"/>
                <a:gd name="connsiteY113" fmla="*/ 4340 h 10000"/>
                <a:gd name="connsiteX114" fmla="*/ 7 w 10000"/>
                <a:gd name="connsiteY114" fmla="*/ 4530 h 10000"/>
                <a:gd name="connsiteX115" fmla="*/ 7 w 10000"/>
                <a:gd name="connsiteY115" fmla="*/ 4718 h 10000"/>
                <a:gd name="connsiteX116" fmla="*/ 22 w 10000"/>
                <a:gd name="connsiteY116" fmla="*/ 4894 h 10000"/>
                <a:gd name="connsiteX117" fmla="*/ 37 w 10000"/>
                <a:gd name="connsiteY117" fmla="*/ 5080 h 10000"/>
                <a:gd name="connsiteX118" fmla="*/ 59 w 10000"/>
                <a:gd name="connsiteY118" fmla="*/ 5264 h 10000"/>
                <a:gd name="connsiteX119" fmla="*/ 89 w 10000"/>
                <a:gd name="connsiteY119" fmla="*/ 5448 h 10000"/>
                <a:gd name="connsiteX120" fmla="*/ 119 w 10000"/>
                <a:gd name="connsiteY120" fmla="*/ 5630 h 10000"/>
                <a:gd name="connsiteX121" fmla="*/ 148 w 10000"/>
                <a:gd name="connsiteY121" fmla="*/ 5811 h 10000"/>
                <a:gd name="connsiteX122" fmla="*/ 193 w 10000"/>
                <a:gd name="connsiteY122" fmla="*/ 5992 h 10000"/>
                <a:gd name="connsiteX123" fmla="*/ 237 w 10000"/>
                <a:gd name="connsiteY123" fmla="*/ 6169 h 10000"/>
                <a:gd name="connsiteX124" fmla="*/ 282 w 10000"/>
                <a:gd name="connsiteY124" fmla="*/ 6349 h 10000"/>
                <a:gd name="connsiteX125" fmla="*/ 334 w 10000"/>
                <a:gd name="connsiteY125" fmla="*/ 6523 h 10000"/>
                <a:gd name="connsiteX126" fmla="*/ 393 w 10000"/>
                <a:gd name="connsiteY126" fmla="*/ 6692 h 10000"/>
                <a:gd name="connsiteX127" fmla="*/ 452 w 10000"/>
                <a:gd name="connsiteY127" fmla="*/ 6868 h 10000"/>
                <a:gd name="connsiteX128" fmla="*/ 519 w 10000"/>
                <a:gd name="connsiteY128" fmla="*/ 7037 h 10000"/>
                <a:gd name="connsiteX129" fmla="*/ 586 w 10000"/>
                <a:gd name="connsiteY129" fmla="*/ 7214 h 10000"/>
                <a:gd name="connsiteX130" fmla="*/ 660 w 10000"/>
                <a:gd name="connsiteY130" fmla="*/ 7377 h 10000"/>
                <a:gd name="connsiteX131" fmla="*/ 741 w 10000"/>
                <a:gd name="connsiteY131" fmla="*/ 7538 h 10000"/>
                <a:gd name="connsiteX132" fmla="*/ 823 w 10000"/>
                <a:gd name="connsiteY132" fmla="*/ 7714 h 10000"/>
                <a:gd name="connsiteX133" fmla="*/ 904 w 10000"/>
                <a:gd name="connsiteY133" fmla="*/ 7874 h 10000"/>
                <a:gd name="connsiteX134" fmla="*/ 993 w 10000"/>
                <a:gd name="connsiteY134" fmla="*/ 8032 h 10000"/>
                <a:gd name="connsiteX135" fmla="*/ 1090 w 10000"/>
                <a:gd name="connsiteY135" fmla="*/ 8185 h 10000"/>
                <a:gd name="connsiteX136" fmla="*/ 1186 w 10000"/>
                <a:gd name="connsiteY136" fmla="*/ 8349 h 10000"/>
                <a:gd name="connsiteX137" fmla="*/ 1290 w 10000"/>
                <a:gd name="connsiteY137" fmla="*/ 8507 h 10000"/>
                <a:gd name="connsiteX138" fmla="*/ 1386 w 10000"/>
                <a:gd name="connsiteY138" fmla="*/ 8662 h 10000"/>
                <a:gd name="connsiteX139" fmla="*/ 1497 w 10000"/>
                <a:gd name="connsiteY139" fmla="*/ 8817 h 10000"/>
                <a:gd name="connsiteX140" fmla="*/ 1609 w 10000"/>
                <a:gd name="connsiteY140" fmla="*/ 8963 h 10000"/>
                <a:gd name="connsiteX141" fmla="*/ 1727 w 10000"/>
                <a:gd name="connsiteY141" fmla="*/ 9119 h 10000"/>
                <a:gd name="connsiteX142" fmla="*/ 1846 w 10000"/>
                <a:gd name="connsiteY142" fmla="*/ 9264 h 10000"/>
                <a:gd name="connsiteX143" fmla="*/ 1964 w 10000"/>
                <a:gd name="connsiteY143" fmla="*/ 9407 h 10000"/>
                <a:gd name="connsiteX144" fmla="*/ 2090 w 10000"/>
                <a:gd name="connsiteY144" fmla="*/ 9545 h 10000"/>
                <a:gd name="connsiteX145" fmla="*/ 2224 w 10000"/>
                <a:gd name="connsiteY145" fmla="*/ 9691 h 10000"/>
                <a:gd name="connsiteX146" fmla="*/ 2350 w 10000"/>
                <a:gd name="connsiteY146" fmla="*/ 9834 h 10000"/>
                <a:gd name="connsiteX147" fmla="*/ 7539 w 10000"/>
                <a:gd name="connsiteY147" fmla="*/ 10000 h 10000"/>
                <a:gd name="connsiteX148" fmla="*/ 10000 w 10000"/>
                <a:gd name="connsiteY148" fmla="*/ 7915 h 10000"/>
                <a:gd name="connsiteX0" fmla="*/ 10000 w 10000"/>
                <a:gd name="connsiteY0" fmla="*/ 7915 h 9834"/>
                <a:gd name="connsiteX1" fmla="*/ 10000 w 10000"/>
                <a:gd name="connsiteY1" fmla="*/ 7915 h 9834"/>
                <a:gd name="connsiteX2" fmla="*/ 9911 w 10000"/>
                <a:gd name="connsiteY2" fmla="*/ 7896 h 9834"/>
                <a:gd name="connsiteX3" fmla="*/ 9815 w 10000"/>
                <a:gd name="connsiteY3" fmla="*/ 7874 h 9834"/>
                <a:gd name="connsiteX4" fmla="*/ 9726 w 10000"/>
                <a:gd name="connsiteY4" fmla="*/ 7852 h 9834"/>
                <a:gd name="connsiteX5" fmla="*/ 9637 w 10000"/>
                <a:gd name="connsiteY5" fmla="*/ 7818 h 9834"/>
                <a:gd name="connsiteX6" fmla="*/ 9548 w 10000"/>
                <a:gd name="connsiteY6" fmla="*/ 7793 h 9834"/>
                <a:gd name="connsiteX7" fmla="*/ 9466 w 10000"/>
                <a:gd name="connsiteY7" fmla="*/ 7766 h 9834"/>
                <a:gd name="connsiteX8" fmla="*/ 9377 w 10000"/>
                <a:gd name="connsiteY8" fmla="*/ 7738 h 9834"/>
                <a:gd name="connsiteX9" fmla="*/ 9288 w 10000"/>
                <a:gd name="connsiteY9" fmla="*/ 7707 h 9834"/>
                <a:gd name="connsiteX10" fmla="*/ 9118 w 10000"/>
                <a:gd name="connsiteY10" fmla="*/ 7643 h 9834"/>
                <a:gd name="connsiteX11" fmla="*/ 8955 w 10000"/>
                <a:gd name="connsiteY11" fmla="*/ 7570 h 9834"/>
                <a:gd name="connsiteX12" fmla="*/ 8792 w 10000"/>
                <a:gd name="connsiteY12" fmla="*/ 7497 h 9834"/>
                <a:gd name="connsiteX13" fmla="*/ 8636 w 10000"/>
                <a:gd name="connsiteY13" fmla="*/ 7411 h 9834"/>
                <a:gd name="connsiteX14" fmla="*/ 8480 w 10000"/>
                <a:gd name="connsiteY14" fmla="*/ 7324 h 9834"/>
                <a:gd name="connsiteX15" fmla="*/ 8340 w 10000"/>
                <a:gd name="connsiteY15" fmla="*/ 7243 h 9834"/>
                <a:gd name="connsiteX16" fmla="*/ 8199 w 10000"/>
                <a:gd name="connsiteY16" fmla="*/ 7145 h 9834"/>
                <a:gd name="connsiteX17" fmla="*/ 8058 w 10000"/>
                <a:gd name="connsiteY17" fmla="*/ 7042 h 9834"/>
                <a:gd name="connsiteX18" fmla="*/ 7924 w 10000"/>
                <a:gd name="connsiteY18" fmla="*/ 6939 h 9834"/>
                <a:gd name="connsiteX19" fmla="*/ 7798 w 10000"/>
                <a:gd name="connsiteY19" fmla="*/ 6827 h 9834"/>
                <a:gd name="connsiteX20" fmla="*/ 7672 w 10000"/>
                <a:gd name="connsiteY20" fmla="*/ 6720 h 9834"/>
                <a:gd name="connsiteX21" fmla="*/ 7554 w 10000"/>
                <a:gd name="connsiteY21" fmla="*/ 6607 h 9834"/>
                <a:gd name="connsiteX22" fmla="*/ 7450 w 10000"/>
                <a:gd name="connsiteY22" fmla="*/ 6484 h 9834"/>
                <a:gd name="connsiteX23" fmla="*/ 7346 w 10000"/>
                <a:gd name="connsiteY23" fmla="*/ 6360 h 9834"/>
                <a:gd name="connsiteX24" fmla="*/ 7250 w 10000"/>
                <a:gd name="connsiteY24" fmla="*/ 6233 h 9834"/>
                <a:gd name="connsiteX25" fmla="*/ 7161 w 10000"/>
                <a:gd name="connsiteY25" fmla="*/ 6106 h 9834"/>
                <a:gd name="connsiteX26" fmla="*/ 7072 w 10000"/>
                <a:gd name="connsiteY26" fmla="*/ 5972 h 9834"/>
                <a:gd name="connsiteX27" fmla="*/ 6990 w 10000"/>
                <a:gd name="connsiteY27" fmla="*/ 5830 h 9834"/>
                <a:gd name="connsiteX28" fmla="*/ 6953 w 10000"/>
                <a:gd name="connsiteY28" fmla="*/ 5768 h 9834"/>
                <a:gd name="connsiteX29" fmla="*/ 6916 w 10000"/>
                <a:gd name="connsiteY29" fmla="*/ 5693 h 9834"/>
                <a:gd name="connsiteX30" fmla="*/ 6887 w 10000"/>
                <a:gd name="connsiteY30" fmla="*/ 5626 h 9834"/>
                <a:gd name="connsiteX31" fmla="*/ 6850 w 10000"/>
                <a:gd name="connsiteY31" fmla="*/ 5552 h 9834"/>
                <a:gd name="connsiteX32" fmla="*/ 6820 w 10000"/>
                <a:gd name="connsiteY32" fmla="*/ 5482 h 9834"/>
                <a:gd name="connsiteX33" fmla="*/ 6790 w 10000"/>
                <a:gd name="connsiteY33" fmla="*/ 5410 h 9834"/>
                <a:gd name="connsiteX34" fmla="*/ 6768 w 10000"/>
                <a:gd name="connsiteY34" fmla="*/ 5334 h 9834"/>
                <a:gd name="connsiteX35" fmla="*/ 6738 w 10000"/>
                <a:gd name="connsiteY35" fmla="*/ 5264 h 9834"/>
                <a:gd name="connsiteX36" fmla="*/ 6723 w 10000"/>
                <a:gd name="connsiteY36" fmla="*/ 5186 h 9834"/>
                <a:gd name="connsiteX37" fmla="*/ 6694 w 10000"/>
                <a:gd name="connsiteY37" fmla="*/ 5114 h 9834"/>
                <a:gd name="connsiteX38" fmla="*/ 6679 w 10000"/>
                <a:gd name="connsiteY38" fmla="*/ 5037 h 9834"/>
                <a:gd name="connsiteX39" fmla="*/ 6664 w 10000"/>
                <a:gd name="connsiteY39" fmla="*/ 4964 h 9834"/>
                <a:gd name="connsiteX40" fmla="*/ 6649 w 10000"/>
                <a:gd name="connsiteY40" fmla="*/ 4884 h 9834"/>
                <a:gd name="connsiteX41" fmla="*/ 6635 w 10000"/>
                <a:gd name="connsiteY41" fmla="*/ 4812 h 9834"/>
                <a:gd name="connsiteX42" fmla="*/ 6620 w 10000"/>
                <a:gd name="connsiteY42" fmla="*/ 4735 h 9834"/>
                <a:gd name="connsiteX43" fmla="*/ 6612 w 10000"/>
                <a:gd name="connsiteY43" fmla="*/ 4660 h 9834"/>
                <a:gd name="connsiteX44" fmla="*/ 6605 w 10000"/>
                <a:gd name="connsiteY44" fmla="*/ 4579 h 9834"/>
                <a:gd name="connsiteX45" fmla="*/ 6597 w 10000"/>
                <a:gd name="connsiteY45" fmla="*/ 4497 h 9834"/>
                <a:gd name="connsiteX46" fmla="*/ 6597 w 10000"/>
                <a:gd name="connsiteY46" fmla="*/ 4422 h 9834"/>
                <a:gd name="connsiteX47" fmla="*/ 6590 w 10000"/>
                <a:gd name="connsiteY47" fmla="*/ 4340 h 9834"/>
                <a:gd name="connsiteX48" fmla="*/ 6597 w 10000"/>
                <a:gd name="connsiteY48" fmla="*/ 4262 h 9834"/>
                <a:gd name="connsiteX49" fmla="*/ 6605 w 10000"/>
                <a:gd name="connsiteY49" fmla="*/ 4177 h 9834"/>
                <a:gd name="connsiteX50" fmla="*/ 6605 w 10000"/>
                <a:gd name="connsiteY50" fmla="*/ 4091 h 9834"/>
                <a:gd name="connsiteX51" fmla="*/ 6612 w 10000"/>
                <a:gd name="connsiteY51" fmla="*/ 4007 h 9834"/>
                <a:gd name="connsiteX52" fmla="*/ 6620 w 10000"/>
                <a:gd name="connsiteY52" fmla="*/ 3924 h 9834"/>
                <a:gd name="connsiteX53" fmla="*/ 6635 w 10000"/>
                <a:gd name="connsiteY53" fmla="*/ 3850 h 9834"/>
                <a:gd name="connsiteX54" fmla="*/ 6649 w 10000"/>
                <a:gd name="connsiteY54" fmla="*/ 3766 h 9834"/>
                <a:gd name="connsiteX55" fmla="*/ 6664 w 10000"/>
                <a:gd name="connsiteY55" fmla="*/ 3688 h 9834"/>
                <a:gd name="connsiteX56" fmla="*/ 6686 w 10000"/>
                <a:gd name="connsiteY56" fmla="*/ 3604 h 9834"/>
                <a:gd name="connsiteX57" fmla="*/ 6709 w 10000"/>
                <a:gd name="connsiteY57" fmla="*/ 3529 h 9834"/>
                <a:gd name="connsiteX58" fmla="*/ 6731 w 10000"/>
                <a:gd name="connsiteY58" fmla="*/ 3450 h 9834"/>
                <a:gd name="connsiteX59" fmla="*/ 6753 w 10000"/>
                <a:gd name="connsiteY59" fmla="*/ 3367 h 9834"/>
                <a:gd name="connsiteX60" fmla="*/ 6783 w 10000"/>
                <a:gd name="connsiteY60" fmla="*/ 3299 h 9834"/>
                <a:gd name="connsiteX61" fmla="*/ 6812 w 10000"/>
                <a:gd name="connsiteY61" fmla="*/ 3221 h 9834"/>
                <a:gd name="connsiteX62" fmla="*/ 6842 w 10000"/>
                <a:gd name="connsiteY62" fmla="*/ 3141 h 9834"/>
                <a:gd name="connsiteX63" fmla="*/ 6879 w 10000"/>
                <a:gd name="connsiteY63" fmla="*/ 3066 h 9834"/>
                <a:gd name="connsiteX64" fmla="*/ 6909 w 10000"/>
                <a:gd name="connsiteY64" fmla="*/ 2995 h 9834"/>
                <a:gd name="connsiteX65" fmla="*/ 6946 w 10000"/>
                <a:gd name="connsiteY65" fmla="*/ 2915 h 9834"/>
                <a:gd name="connsiteX66" fmla="*/ 6990 w 10000"/>
                <a:gd name="connsiteY66" fmla="*/ 2850 h 9834"/>
                <a:gd name="connsiteX67" fmla="*/ 7027 w 10000"/>
                <a:gd name="connsiteY67" fmla="*/ 2776 h 9834"/>
                <a:gd name="connsiteX68" fmla="*/ 7072 w 10000"/>
                <a:gd name="connsiteY68" fmla="*/ 2708 h 9834"/>
                <a:gd name="connsiteX69" fmla="*/ 7109 w 10000"/>
                <a:gd name="connsiteY69" fmla="*/ 2632 h 9834"/>
                <a:gd name="connsiteX70" fmla="*/ 7161 w 10000"/>
                <a:gd name="connsiteY70" fmla="*/ 2570 h 9834"/>
                <a:gd name="connsiteX71" fmla="*/ 7213 w 10000"/>
                <a:gd name="connsiteY71" fmla="*/ 2496 h 9834"/>
                <a:gd name="connsiteX72" fmla="*/ 7257 w 10000"/>
                <a:gd name="connsiteY72" fmla="*/ 2430 h 9834"/>
                <a:gd name="connsiteX73" fmla="*/ 7309 w 10000"/>
                <a:gd name="connsiteY73" fmla="*/ 2364 h 9834"/>
                <a:gd name="connsiteX74" fmla="*/ 7361 w 10000"/>
                <a:gd name="connsiteY74" fmla="*/ 2292 h 9834"/>
                <a:gd name="connsiteX75" fmla="*/ 7413 w 10000"/>
                <a:gd name="connsiteY75" fmla="*/ 2231 h 9834"/>
                <a:gd name="connsiteX76" fmla="*/ 7472 w 10000"/>
                <a:gd name="connsiteY76" fmla="*/ 2166 h 9834"/>
                <a:gd name="connsiteX77" fmla="*/ 7524 w 10000"/>
                <a:gd name="connsiteY77" fmla="*/ 2109 h 9834"/>
                <a:gd name="connsiteX78" fmla="*/ 7583 w 10000"/>
                <a:gd name="connsiteY78" fmla="*/ 2043 h 9834"/>
                <a:gd name="connsiteX79" fmla="*/ 7610 w 10000"/>
                <a:gd name="connsiteY79" fmla="*/ 2008 h 9834"/>
                <a:gd name="connsiteX80" fmla="*/ 5390 w 10000"/>
                <a:gd name="connsiteY80" fmla="*/ 6 h 9834"/>
                <a:gd name="connsiteX81" fmla="*/ 1401 w 10000"/>
                <a:gd name="connsiteY81" fmla="*/ 0 h 9834"/>
                <a:gd name="connsiteX82" fmla="*/ 1305 w 10000"/>
                <a:gd name="connsiteY82" fmla="*/ 151 h 9834"/>
                <a:gd name="connsiteX83" fmla="*/ 1223 w 10000"/>
                <a:gd name="connsiteY83" fmla="*/ 265 h 9834"/>
                <a:gd name="connsiteX84" fmla="*/ 1149 w 10000"/>
                <a:gd name="connsiteY84" fmla="*/ 390 h 9834"/>
                <a:gd name="connsiteX85" fmla="*/ 1067 w 10000"/>
                <a:gd name="connsiteY85" fmla="*/ 514 h 9834"/>
                <a:gd name="connsiteX86" fmla="*/ 1001 w 10000"/>
                <a:gd name="connsiteY86" fmla="*/ 639 h 9834"/>
                <a:gd name="connsiteX87" fmla="*/ 927 w 10000"/>
                <a:gd name="connsiteY87" fmla="*/ 762 h 9834"/>
                <a:gd name="connsiteX88" fmla="*/ 860 w 10000"/>
                <a:gd name="connsiteY88" fmla="*/ 895 h 9834"/>
                <a:gd name="connsiteX89" fmla="*/ 793 w 10000"/>
                <a:gd name="connsiteY89" fmla="*/ 1026 h 9834"/>
                <a:gd name="connsiteX90" fmla="*/ 734 w 10000"/>
                <a:gd name="connsiteY90" fmla="*/ 1147 h 9834"/>
                <a:gd name="connsiteX91" fmla="*/ 675 w 10000"/>
                <a:gd name="connsiteY91" fmla="*/ 1282 h 9834"/>
                <a:gd name="connsiteX92" fmla="*/ 615 w 10000"/>
                <a:gd name="connsiteY92" fmla="*/ 1408 h 9834"/>
                <a:gd name="connsiteX93" fmla="*/ 556 w 10000"/>
                <a:gd name="connsiteY93" fmla="*/ 1546 h 9834"/>
                <a:gd name="connsiteX94" fmla="*/ 504 w 10000"/>
                <a:gd name="connsiteY94" fmla="*/ 1671 h 9834"/>
                <a:gd name="connsiteX95" fmla="*/ 452 w 10000"/>
                <a:gd name="connsiteY95" fmla="*/ 1803 h 9834"/>
                <a:gd name="connsiteX96" fmla="*/ 408 w 10000"/>
                <a:gd name="connsiteY96" fmla="*/ 1935 h 9834"/>
                <a:gd name="connsiteX97" fmla="*/ 363 w 10000"/>
                <a:gd name="connsiteY97" fmla="*/ 2069 h 9834"/>
                <a:gd name="connsiteX98" fmla="*/ 319 w 10000"/>
                <a:gd name="connsiteY98" fmla="*/ 2211 h 9834"/>
                <a:gd name="connsiteX99" fmla="*/ 282 w 10000"/>
                <a:gd name="connsiteY99" fmla="*/ 2344 h 9834"/>
                <a:gd name="connsiteX100" fmla="*/ 237 w 10000"/>
                <a:gd name="connsiteY100" fmla="*/ 2484 h 9834"/>
                <a:gd name="connsiteX101" fmla="*/ 208 w 10000"/>
                <a:gd name="connsiteY101" fmla="*/ 2622 h 9834"/>
                <a:gd name="connsiteX102" fmla="*/ 170 w 10000"/>
                <a:gd name="connsiteY102" fmla="*/ 2762 h 9834"/>
                <a:gd name="connsiteX103" fmla="*/ 148 w 10000"/>
                <a:gd name="connsiteY103" fmla="*/ 2904 h 9834"/>
                <a:gd name="connsiteX104" fmla="*/ 119 w 10000"/>
                <a:gd name="connsiteY104" fmla="*/ 3044 h 9834"/>
                <a:gd name="connsiteX105" fmla="*/ 96 w 10000"/>
                <a:gd name="connsiteY105" fmla="*/ 3181 h 9834"/>
                <a:gd name="connsiteX106" fmla="*/ 74 w 10000"/>
                <a:gd name="connsiteY106" fmla="*/ 3326 h 9834"/>
                <a:gd name="connsiteX107" fmla="*/ 52 w 10000"/>
                <a:gd name="connsiteY107" fmla="*/ 3475 h 9834"/>
                <a:gd name="connsiteX108" fmla="*/ 37 w 10000"/>
                <a:gd name="connsiteY108" fmla="*/ 3617 h 9834"/>
                <a:gd name="connsiteX109" fmla="*/ 22 w 10000"/>
                <a:gd name="connsiteY109" fmla="*/ 3759 h 9834"/>
                <a:gd name="connsiteX110" fmla="*/ 15 w 10000"/>
                <a:gd name="connsiteY110" fmla="*/ 3900 h 9834"/>
                <a:gd name="connsiteX111" fmla="*/ 7 w 10000"/>
                <a:gd name="connsiteY111" fmla="*/ 4048 h 9834"/>
                <a:gd name="connsiteX112" fmla="*/ 0 w 10000"/>
                <a:gd name="connsiteY112" fmla="*/ 4190 h 9834"/>
                <a:gd name="connsiteX113" fmla="*/ 0 w 10000"/>
                <a:gd name="connsiteY113" fmla="*/ 4340 h 9834"/>
                <a:gd name="connsiteX114" fmla="*/ 7 w 10000"/>
                <a:gd name="connsiteY114" fmla="*/ 4530 h 9834"/>
                <a:gd name="connsiteX115" fmla="*/ 7 w 10000"/>
                <a:gd name="connsiteY115" fmla="*/ 4718 h 9834"/>
                <a:gd name="connsiteX116" fmla="*/ 22 w 10000"/>
                <a:gd name="connsiteY116" fmla="*/ 4894 h 9834"/>
                <a:gd name="connsiteX117" fmla="*/ 37 w 10000"/>
                <a:gd name="connsiteY117" fmla="*/ 5080 h 9834"/>
                <a:gd name="connsiteX118" fmla="*/ 59 w 10000"/>
                <a:gd name="connsiteY118" fmla="*/ 5264 h 9834"/>
                <a:gd name="connsiteX119" fmla="*/ 89 w 10000"/>
                <a:gd name="connsiteY119" fmla="*/ 5448 h 9834"/>
                <a:gd name="connsiteX120" fmla="*/ 119 w 10000"/>
                <a:gd name="connsiteY120" fmla="*/ 5630 h 9834"/>
                <a:gd name="connsiteX121" fmla="*/ 148 w 10000"/>
                <a:gd name="connsiteY121" fmla="*/ 5811 h 9834"/>
                <a:gd name="connsiteX122" fmla="*/ 193 w 10000"/>
                <a:gd name="connsiteY122" fmla="*/ 5992 h 9834"/>
                <a:gd name="connsiteX123" fmla="*/ 237 w 10000"/>
                <a:gd name="connsiteY123" fmla="*/ 6169 h 9834"/>
                <a:gd name="connsiteX124" fmla="*/ 282 w 10000"/>
                <a:gd name="connsiteY124" fmla="*/ 6349 h 9834"/>
                <a:gd name="connsiteX125" fmla="*/ 334 w 10000"/>
                <a:gd name="connsiteY125" fmla="*/ 6523 h 9834"/>
                <a:gd name="connsiteX126" fmla="*/ 393 w 10000"/>
                <a:gd name="connsiteY126" fmla="*/ 6692 h 9834"/>
                <a:gd name="connsiteX127" fmla="*/ 452 w 10000"/>
                <a:gd name="connsiteY127" fmla="*/ 6868 h 9834"/>
                <a:gd name="connsiteX128" fmla="*/ 519 w 10000"/>
                <a:gd name="connsiteY128" fmla="*/ 7037 h 9834"/>
                <a:gd name="connsiteX129" fmla="*/ 586 w 10000"/>
                <a:gd name="connsiteY129" fmla="*/ 7214 h 9834"/>
                <a:gd name="connsiteX130" fmla="*/ 660 w 10000"/>
                <a:gd name="connsiteY130" fmla="*/ 7377 h 9834"/>
                <a:gd name="connsiteX131" fmla="*/ 741 w 10000"/>
                <a:gd name="connsiteY131" fmla="*/ 7538 h 9834"/>
                <a:gd name="connsiteX132" fmla="*/ 823 w 10000"/>
                <a:gd name="connsiteY132" fmla="*/ 7714 h 9834"/>
                <a:gd name="connsiteX133" fmla="*/ 904 w 10000"/>
                <a:gd name="connsiteY133" fmla="*/ 7874 h 9834"/>
                <a:gd name="connsiteX134" fmla="*/ 993 w 10000"/>
                <a:gd name="connsiteY134" fmla="*/ 8032 h 9834"/>
                <a:gd name="connsiteX135" fmla="*/ 1090 w 10000"/>
                <a:gd name="connsiteY135" fmla="*/ 8185 h 9834"/>
                <a:gd name="connsiteX136" fmla="*/ 1186 w 10000"/>
                <a:gd name="connsiteY136" fmla="*/ 8349 h 9834"/>
                <a:gd name="connsiteX137" fmla="*/ 1290 w 10000"/>
                <a:gd name="connsiteY137" fmla="*/ 8507 h 9834"/>
                <a:gd name="connsiteX138" fmla="*/ 1386 w 10000"/>
                <a:gd name="connsiteY138" fmla="*/ 8662 h 9834"/>
                <a:gd name="connsiteX139" fmla="*/ 1497 w 10000"/>
                <a:gd name="connsiteY139" fmla="*/ 8817 h 9834"/>
                <a:gd name="connsiteX140" fmla="*/ 1609 w 10000"/>
                <a:gd name="connsiteY140" fmla="*/ 8963 h 9834"/>
                <a:gd name="connsiteX141" fmla="*/ 1727 w 10000"/>
                <a:gd name="connsiteY141" fmla="*/ 9119 h 9834"/>
                <a:gd name="connsiteX142" fmla="*/ 1846 w 10000"/>
                <a:gd name="connsiteY142" fmla="*/ 9264 h 9834"/>
                <a:gd name="connsiteX143" fmla="*/ 1964 w 10000"/>
                <a:gd name="connsiteY143" fmla="*/ 9407 h 9834"/>
                <a:gd name="connsiteX144" fmla="*/ 2090 w 10000"/>
                <a:gd name="connsiteY144" fmla="*/ 9545 h 9834"/>
                <a:gd name="connsiteX145" fmla="*/ 2224 w 10000"/>
                <a:gd name="connsiteY145" fmla="*/ 9691 h 9834"/>
                <a:gd name="connsiteX146" fmla="*/ 2350 w 10000"/>
                <a:gd name="connsiteY146" fmla="*/ 9834 h 9834"/>
                <a:gd name="connsiteX147" fmla="*/ 4348 w 10000"/>
                <a:gd name="connsiteY147" fmla="*/ 7345 h 9834"/>
                <a:gd name="connsiteX148" fmla="*/ 10000 w 10000"/>
                <a:gd name="connsiteY148" fmla="*/ 7915 h 9834"/>
                <a:gd name="connsiteX0" fmla="*/ 4348 w 10000"/>
                <a:gd name="connsiteY0" fmla="*/ 7469 h 10000"/>
                <a:gd name="connsiteX1" fmla="*/ 10000 w 10000"/>
                <a:gd name="connsiteY1" fmla="*/ 8049 h 10000"/>
                <a:gd name="connsiteX2" fmla="*/ 9911 w 10000"/>
                <a:gd name="connsiteY2" fmla="*/ 8029 h 10000"/>
                <a:gd name="connsiteX3" fmla="*/ 9815 w 10000"/>
                <a:gd name="connsiteY3" fmla="*/ 8007 h 10000"/>
                <a:gd name="connsiteX4" fmla="*/ 9726 w 10000"/>
                <a:gd name="connsiteY4" fmla="*/ 7985 h 10000"/>
                <a:gd name="connsiteX5" fmla="*/ 9637 w 10000"/>
                <a:gd name="connsiteY5" fmla="*/ 7950 h 10000"/>
                <a:gd name="connsiteX6" fmla="*/ 9548 w 10000"/>
                <a:gd name="connsiteY6" fmla="*/ 7925 h 10000"/>
                <a:gd name="connsiteX7" fmla="*/ 9466 w 10000"/>
                <a:gd name="connsiteY7" fmla="*/ 7897 h 10000"/>
                <a:gd name="connsiteX8" fmla="*/ 9377 w 10000"/>
                <a:gd name="connsiteY8" fmla="*/ 7869 h 10000"/>
                <a:gd name="connsiteX9" fmla="*/ 9288 w 10000"/>
                <a:gd name="connsiteY9" fmla="*/ 7837 h 10000"/>
                <a:gd name="connsiteX10" fmla="*/ 9118 w 10000"/>
                <a:gd name="connsiteY10" fmla="*/ 7772 h 10000"/>
                <a:gd name="connsiteX11" fmla="*/ 8955 w 10000"/>
                <a:gd name="connsiteY11" fmla="*/ 7698 h 10000"/>
                <a:gd name="connsiteX12" fmla="*/ 8792 w 10000"/>
                <a:gd name="connsiteY12" fmla="*/ 7624 h 10000"/>
                <a:gd name="connsiteX13" fmla="*/ 8636 w 10000"/>
                <a:gd name="connsiteY13" fmla="*/ 7536 h 10000"/>
                <a:gd name="connsiteX14" fmla="*/ 8480 w 10000"/>
                <a:gd name="connsiteY14" fmla="*/ 7448 h 10000"/>
                <a:gd name="connsiteX15" fmla="*/ 8340 w 10000"/>
                <a:gd name="connsiteY15" fmla="*/ 7365 h 10000"/>
                <a:gd name="connsiteX16" fmla="*/ 8199 w 10000"/>
                <a:gd name="connsiteY16" fmla="*/ 7266 h 10000"/>
                <a:gd name="connsiteX17" fmla="*/ 8058 w 10000"/>
                <a:gd name="connsiteY17" fmla="*/ 7161 h 10000"/>
                <a:gd name="connsiteX18" fmla="*/ 7924 w 10000"/>
                <a:gd name="connsiteY18" fmla="*/ 7056 h 10000"/>
                <a:gd name="connsiteX19" fmla="*/ 7798 w 10000"/>
                <a:gd name="connsiteY19" fmla="*/ 6942 h 10000"/>
                <a:gd name="connsiteX20" fmla="*/ 7672 w 10000"/>
                <a:gd name="connsiteY20" fmla="*/ 6833 h 10000"/>
                <a:gd name="connsiteX21" fmla="*/ 7554 w 10000"/>
                <a:gd name="connsiteY21" fmla="*/ 6719 h 10000"/>
                <a:gd name="connsiteX22" fmla="*/ 7450 w 10000"/>
                <a:gd name="connsiteY22" fmla="*/ 6593 h 10000"/>
                <a:gd name="connsiteX23" fmla="*/ 7346 w 10000"/>
                <a:gd name="connsiteY23" fmla="*/ 6467 h 10000"/>
                <a:gd name="connsiteX24" fmla="*/ 7250 w 10000"/>
                <a:gd name="connsiteY24" fmla="*/ 6338 h 10000"/>
                <a:gd name="connsiteX25" fmla="*/ 7161 w 10000"/>
                <a:gd name="connsiteY25" fmla="*/ 6209 h 10000"/>
                <a:gd name="connsiteX26" fmla="*/ 7072 w 10000"/>
                <a:gd name="connsiteY26" fmla="*/ 6073 h 10000"/>
                <a:gd name="connsiteX27" fmla="*/ 6990 w 10000"/>
                <a:gd name="connsiteY27" fmla="*/ 5928 h 10000"/>
                <a:gd name="connsiteX28" fmla="*/ 6953 w 10000"/>
                <a:gd name="connsiteY28" fmla="*/ 5865 h 10000"/>
                <a:gd name="connsiteX29" fmla="*/ 6916 w 10000"/>
                <a:gd name="connsiteY29" fmla="*/ 5789 h 10000"/>
                <a:gd name="connsiteX30" fmla="*/ 6887 w 10000"/>
                <a:gd name="connsiteY30" fmla="*/ 5721 h 10000"/>
                <a:gd name="connsiteX31" fmla="*/ 6850 w 10000"/>
                <a:gd name="connsiteY31" fmla="*/ 5646 h 10000"/>
                <a:gd name="connsiteX32" fmla="*/ 6820 w 10000"/>
                <a:gd name="connsiteY32" fmla="*/ 5575 h 10000"/>
                <a:gd name="connsiteX33" fmla="*/ 6790 w 10000"/>
                <a:gd name="connsiteY33" fmla="*/ 5501 h 10000"/>
                <a:gd name="connsiteX34" fmla="*/ 6768 w 10000"/>
                <a:gd name="connsiteY34" fmla="*/ 5424 h 10000"/>
                <a:gd name="connsiteX35" fmla="*/ 6738 w 10000"/>
                <a:gd name="connsiteY35" fmla="*/ 5353 h 10000"/>
                <a:gd name="connsiteX36" fmla="*/ 6723 w 10000"/>
                <a:gd name="connsiteY36" fmla="*/ 5274 h 10000"/>
                <a:gd name="connsiteX37" fmla="*/ 6694 w 10000"/>
                <a:gd name="connsiteY37" fmla="*/ 5200 h 10000"/>
                <a:gd name="connsiteX38" fmla="*/ 6679 w 10000"/>
                <a:gd name="connsiteY38" fmla="*/ 5122 h 10000"/>
                <a:gd name="connsiteX39" fmla="*/ 6664 w 10000"/>
                <a:gd name="connsiteY39" fmla="*/ 5048 h 10000"/>
                <a:gd name="connsiteX40" fmla="*/ 6649 w 10000"/>
                <a:gd name="connsiteY40" fmla="*/ 4966 h 10000"/>
                <a:gd name="connsiteX41" fmla="*/ 6635 w 10000"/>
                <a:gd name="connsiteY41" fmla="*/ 4893 h 10000"/>
                <a:gd name="connsiteX42" fmla="*/ 6620 w 10000"/>
                <a:gd name="connsiteY42" fmla="*/ 4815 h 10000"/>
                <a:gd name="connsiteX43" fmla="*/ 6612 w 10000"/>
                <a:gd name="connsiteY43" fmla="*/ 4739 h 10000"/>
                <a:gd name="connsiteX44" fmla="*/ 6605 w 10000"/>
                <a:gd name="connsiteY44" fmla="*/ 4656 h 10000"/>
                <a:gd name="connsiteX45" fmla="*/ 6597 w 10000"/>
                <a:gd name="connsiteY45" fmla="*/ 4573 h 10000"/>
                <a:gd name="connsiteX46" fmla="*/ 6597 w 10000"/>
                <a:gd name="connsiteY46" fmla="*/ 4497 h 10000"/>
                <a:gd name="connsiteX47" fmla="*/ 6590 w 10000"/>
                <a:gd name="connsiteY47" fmla="*/ 4413 h 10000"/>
                <a:gd name="connsiteX48" fmla="*/ 6597 w 10000"/>
                <a:gd name="connsiteY48" fmla="*/ 4334 h 10000"/>
                <a:gd name="connsiteX49" fmla="*/ 6605 w 10000"/>
                <a:gd name="connsiteY49" fmla="*/ 4248 h 10000"/>
                <a:gd name="connsiteX50" fmla="*/ 6605 w 10000"/>
                <a:gd name="connsiteY50" fmla="*/ 4160 h 10000"/>
                <a:gd name="connsiteX51" fmla="*/ 6612 w 10000"/>
                <a:gd name="connsiteY51" fmla="*/ 4075 h 10000"/>
                <a:gd name="connsiteX52" fmla="*/ 6620 w 10000"/>
                <a:gd name="connsiteY52" fmla="*/ 3990 h 10000"/>
                <a:gd name="connsiteX53" fmla="*/ 6635 w 10000"/>
                <a:gd name="connsiteY53" fmla="*/ 3915 h 10000"/>
                <a:gd name="connsiteX54" fmla="*/ 6649 w 10000"/>
                <a:gd name="connsiteY54" fmla="*/ 3830 h 10000"/>
                <a:gd name="connsiteX55" fmla="*/ 6664 w 10000"/>
                <a:gd name="connsiteY55" fmla="*/ 3750 h 10000"/>
                <a:gd name="connsiteX56" fmla="*/ 6686 w 10000"/>
                <a:gd name="connsiteY56" fmla="*/ 3665 h 10000"/>
                <a:gd name="connsiteX57" fmla="*/ 6709 w 10000"/>
                <a:gd name="connsiteY57" fmla="*/ 3589 h 10000"/>
                <a:gd name="connsiteX58" fmla="*/ 6731 w 10000"/>
                <a:gd name="connsiteY58" fmla="*/ 3508 h 10000"/>
                <a:gd name="connsiteX59" fmla="*/ 6753 w 10000"/>
                <a:gd name="connsiteY59" fmla="*/ 3424 h 10000"/>
                <a:gd name="connsiteX60" fmla="*/ 6783 w 10000"/>
                <a:gd name="connsiteY60" fmla="*/ 3355 h 10000"/>
                <a:gd name="connsiteX61" fmla="*/ 6812 w 10000"/>
                <a:gd name="connsiteY61" fmla="*/ 3275 h 10000"/>
                <a:gd name="connsiteX62" fmla="*/ 6842 w 10000"/>
                <a:gd name="connsiteY62" fmla="*/ 3194 h 10000"/>
                <a:gd name="connsiteX63" fmla="*/ 6879 w 10000"/>
                <a:gd name="connsiteY63" fmla="*/ 3118 h 10000"/>
                <a:gd name="connsiteX64" fmla="*/ 6909 w 10000"/>
                <a:gd name="connsiteY64" fmla="*/ 3046 h 10000"/>
                <a:gd name="connsiteX65" fmla="*/ 6946 w 10000"/>
                <a:gd name="connsiteY65" fmla="*/ 2964 h 10000"/>
                <a:gd name="connsiteX66" fmla="*/ 6990 w 10000"/>
                <a:gd name="connsiteY66" fmla="*/ 2898 h 10000"/>
                <a:gd name="connsiteX67" fmla="*/ 7027 w 10000"/>
                <a:gd name="connsiteY67" fmla="*/ 2823 h 10000"/>
                <a:gd name="connsiteX68" fmla="*/ 7072 w 10000"/>
                <a:gd name="connsiteY68" fmla="*/ 2754 h 10000"/>
                <a:gd name="connsiteX69" fmla="*/ 7109 w 10000"/>
                <a:gd name="connsiteY69" fmla="*/ 2676 h 10000"/>
                <a:gd name="connsiteX70" fmla="*/ 7161 w 10000"/>
                <a:gd name="connsiteY70" fmla="*/ 2613 h 10000"/>
                <a:gd name="connsiteX71" fmla="*/ 7213 w 10000"/>
                <a:gd name="connsiteY71" fmla="*/ 2538 h 10000"/>
                <a:gd name="connsiteX72" fmla="*/ 7257 w 10000"/>
                <a:gd name="connsiteY72" fmla="*/ 2471 h 10000"/>
                <a:gd name="connsiteX73" fmla="*/ 7309 w 10000"/>
                <a:gd name="connsiteY73" fmla="*/ 2404 h 10000"/>
                <a:gd name="connsiteX74" fmla="*/ 7361 w 10000"/>
                <a:gd name="connsiteY74" fmla="*/ 2331 h 10000"/>
                <a:gd name="connsiteX75" fmla="*/ 7413 w 10000"/>
                <a:gd name="connsiteY75" fmla="*/ 2269 h 10000"/>
                <a:gd name="connsiteX76" fmla="*/ 7472 w 10000"/>
                <a:gd name="connsiteY76" fmla="*/ 2203 h 10000"/>
                <a:gd name="connsiteX77" fmla="*/ 7524 w 10000"/>
                <a:gd name="connsiteY77" fmla="*/ 2145 h 10000"/>
                <a:gd name="connsiteX78" fmla="*/ 7583 w 10000"/>
                <a:gd name="connsiteY78" fmla="*/ 2077 h 10000"/>
                <a:gd name="connsiteX79" fmla="*/ 7610 w 10000"/>
                <a:gd name="connsiteY79" fmla="*/ 2042 h 10000"/>
                <a:gd name="connsiteX80" fmla="*/ 5390 w 10000"/>
                <a:gd name="connsiteY80" fmla="*/ 6 h 10000"/>
                <a:gd name="connsiteX81" fmla="*/ 1401 w 10000"/>
                <a:gd name="connsiteY81" fmla="*/ 0 h 10000"/>
                <a:gd name="connsiteX82" fmla="*/ 1305 w 10000"/>
                <a:gd name="connsiteY82" fmla="*/ 154 h 10000"/>
                <a:gd name="connsiteX83" fmla="*/ 1223 w 10000"/>
                <a:gd name="connsiteY83" fmla="*/ 269 h 10000"/>
                <a:gd name="connsiteX84" fmla="*/ 1149 w 10000"/>
                <a:gd name="connsiteY84" fmla="*/ 397 h 10000"/>
                <a:gd name="connsiteX85" fmla="*/ 1067 w 10000"/>
                <a:gd name="connsiteY85" fmla="*/ 523 h 10000"/>
                <a:gd name="connsiteX86" fmla="*/ 1001 w 10000"/>
                <a:gd name="connsiteY86" fmla="*/ 650 h 10000"/>
                <a:gd name="connsiteX87" fmla="*/ 927 w 10000"/>
                <a:gd name="connsiteY87" fmla="*/ 775 h 10000"/>
                <a:gd name="connsiteX88" fmla="*/ 860 w 10000"/>
                <a:gd name="connsiteY88" fmla="*/ 910 h 10000"/>
                <a:gd name="connsiteX89" fmla="*/ 793 w 10000"/>
                <a:gd name="connsiteY89" fmla="*/ 1043 h 10000"/>
                <a:gd name="connsiteX90" fmla="*/ 734 w 10000"/>
                <a:gd name="connsiteY90" fmla="*/ 1166 h 10000"/>
                <a:gd name="connsiteX91" fmla="*/ 675 w 10000"/>
                <a:gd name="connsiteY91" fmla="*/ 1304 h 10000"/>
                <a:gd name="connsiteX92" fmla="*/ 615 w 10000"/>
                <a:gd name="connsiteY92" fmla="*/ 1432 h 10000"/>
                <a:gd name="connsiteX93" fmla="*/ 556 w 10000"/>
                <a:gd name="connsiteY93" fmla="*/ 1572 h 10000"/>
                <a:gd name="connsiteX94" fmla="*/ 504 w 10000"/>
                <a:gd name="connsiteY94" fmla="*/ 1699 h 10000"/>
                <a:gd name="connsiteX95" fmla="*/ 452 w 10000"/>
                <a:gd name="connsiteY95" fmla="*/ 1833 h 10000"/>
                <a:gd name="connsiteX96" fmla="*/ 408 w 10000"/>
                <a:gd name="connsiteY96" fmla="*/ 1968 h 10000"/>
                <a:gd name="connsiteX97" fmla="*/ 363 w 10000"/>
                <a:gd name="connsiteY97" fmla="*/ 2104 h 10000"/>
                <a:gd name="connsiteX98" fmla="*/ 319 w 10000"/>
                <a:gd name="connsiteY98" fmla="*/ 2248 h 10000"/>
                <a:gd name="connsiteX99" fmla="*/ 282 w 10000"/>
                <a:gd name="connsiteY99" fmla="*/ 2384 h 10000"/>
                <a:gd name="connsiteX100" fmla="*/ 237 w 10000"/>
                <a:gd name="connsiteY100" fmla="*/ 2526 h 10000"/>
                <a:gd name="connsiteX101" fmla="*/ 208 w 10000"/>
                <a:gd name="connsiteY101" fmla="*/ 2666 h 10000"/>
                <a:gd name="connsiteX102" fmla="*/ 170 w 10000"/>
                <a:gd name="connsiteY102" fmla="*/ 2809 h 10000"/>
                <a:gd name="connsiteX103" fmla="*/ 148 w 10000"/>
                <a:gd name="connsiteY103" fmla="*/ 2953 h 10000"/>
                <a:gd name="connsiteX104" fmla="*/ 119 w 10000"/>
                <a:gd name="connsiteY104" fmla="*/ 3095 h 10000"/>
                <a:gd name="connsiteX105" fmla="*/ 96 w 10000"/>
                <a:gd name="connsiteY105" fmla="*/ 3235 h 10000"/>
                <a:gd name="connsiteX106" fmla="*/ 74 w 10000"/>
                <a:gd name="connsiteY106" fmla="*/ 3382 h 10000"/>
                <a:gd name="connsiteX107" fmla="*/ 52 w 10000"/>
                <a:gd name="connsiteY107" fmla="*/ 3534 h 10000"/>
                <a:gd name="connsiteX108" fmla="*/ 37 w 10000"/>
                <a:gd name="connsiteY108" fmla="*/ 3678 h 10000"/>
                <a:gd name="connsiteX109" fmla="*/ 22 w 10000"/>
                <a:gd name="connsiteY109" fmla="*/ 3822 h 10000"/>
                <a:gd name="connsiteX110" fmla="*/ 15 w 10000"/>
                <a:gd name="connsiteY110" fmla="*/ 3966 h 10000"/>
                <a:gd name="connsiteX111" fmla="*/ 7 w 10000"/>
                <a:gd name="connsiteY111" fmla="*/ 4116 h 10000"/>
                <a:gd name="connsiteX112" fmla="*/ 0 w 10000"/>
                <a:gd name="connsiteY112" fmla="*/ 4261 h 10000"/>
                <a:gd name="connsiteX113" fmla="*/ 0 w 10000"/>
                <a:gd name="connsiteY113" fmla="*/ 4413 h 10000"/>
                <a:gd name="connsiteX114" fmla="*/ 7 w 10000"/>
                <a:gd name="connsiteY114" fmla="*/ 4606 h 10000"/>
                <a:gd name="connsiteX115" fmla="*/ 7 w 10000"/>
                <a:gd name="connsiteY115" fmla="*/ 4798 h 10000"/>
                <a:gd name="connsiteX116" fmla="*/ 22 w 10000"/>
                <a:gd name="connsiteY116" fmla="*/ 4977 h 10000"/>
                <a:gd name="connsiteX117" fmla="*/ 37 w 10000"/>
                <a:gd name="connsiteY117" fmla="*/ 5166 h 10000"/>
                <a:gd name="connsiteX118" fmla="*/ 59 w 10000"/>
                <a:gd name="connsiteY118" fmla="*/ 5353 h 10000"/>
                <a:gd name="connsiteX119" fmla="*/ 89 w 10000"/>
                <a:gd name="connsiteY119" fmla="*/ 5540 h 10000"/>
                <a:gd name="connsiteX120" fmla="*/ 119 w 10000"/>
                <a:gd name="connsiteY120" fmla="*/ 5725 h 10000"/>
                <a:gd name="connsiteX121" fmla="*/ 148 w 10000"/>
                <a:gd name="connsiteY121" fmla="*/ 5909 h 10000"/>
                <a:gd name="connsiteX122" fmla="*/ 193 w 10000"/>
                <a:gd name="connsiteY122" fmla="*/ 6093 h 10000"/>
                <a:gd name="connsiteX123" fmla="*/ 237 w 10000"/>
                <a:gd name="connsiteY123" fmla="*/ 6273 h 10000"/>
                <a:gd name="connsiteX124" fmla="*/ 282 w 10000"/>
                <a:gd name="connsiteY124" fmla="*/ 6456 h 10000"/>
                <a:gd name="connsiteX125" fmla="*/ 334 w 10000"/>
                <a:gd name="connsiteY125" fmla="*/ 6633 h 10000"/>
                <a:gd name="connsiteX126" fmla="*/ 393 w 10000"/>
                <a:gd name="connsiteY126" fmla="*/ 6805 h 10000"/>
                <a:gd name="connsiteX127" fmla="*/ 452 w 10000"/>
                <a:gd name="connsiteY127" fmla="*/ 6984 h 10000"/>
                <a:gd name="connsiteX128" fmla="*/ 519 w 10000"/>
                <a:gd name="connsiteY128" fmla="*/ 7156 h 10000"/>
                <a:gd name="connsiteX129" fmla="*/ 586 w 10000"/>
                <a:gd name="connsiteY129" fmla="*/ 7336 h 10000"/>
                <a:gd name="connsiteX130" fmla="*/ 660 w 10000"/>
                <a:gd name="connsiteY130" fmla="*/ 7502 h 10000"/>
                <a:gd name="connsiteX131" fmla="*/ 741 w 10000"/>
                <a:gd name="connsiteY131" fmla="*/ 7665 h 10000"/>
                <a:gd name="connsiteX132" fmla="*/ 823 w 10000"/>
                <a:gd name="connsiteY132" fmla="*/ 7844 h 10000"/>
                <a:gd name="connsiteX133" fmla="*/ 904 w 10000"/>
                <a:gd name="connsiteY133" fmla="*/ 8007 h 10000"/>
                <a:gd name="connsiteX134" fmla="*/ 993 w 10000"/>
                <a:gd name="connsiteY134" fmla="*/ 8168 h 10000"/>
                <a:gd name="connsiteX135" fmla="*/ 1090 w 10000"/>
                <a:gd name="connsiteY135" fmla="*/ 8323 h 10000"/>
                <a:gd name="connsiteX136" fmla="*/ 1186 w 10000"/>
                <a:gd name="connsiteY136" fmla="*/ 8490 h 10000"/>
                <a:gd name="connsiteX137" fmla="*/ 1290 w 10000"/>
                <a:gd name="connsiteY137" fmla="*/ 8651 h 10000"/>
                <a:gd name="connsiteX138" fmla="*/ 1386 w 10000"/>
                <a:gd name="connsiteY138" fmla="*/ 8808 h 10000"/>
                <a:gd name="connsiteX139" fmla="*/ 1497 w 10000"/>
                <a:gd name="connsiteY139" fmla="*/ 8966 h 10000"/>
                <a:gd name="connsiteX140" fmla="*/ 1609 w 10000"/>
                <a:gd name="connsiteY140" fmla="*/ 9114 h 10000"/>
                <a:gd name="connsiteX141" fmla="*/ 1727 w 10000"/>
                <a:gd name="connsiteY141" fmla="*/ 9273 h 10000"/>
                <a:gd name="connsiteX142" fmla="*/ 1846 w 10000"/>
                <a:gd name="connsiteY142" fmla="*/ 9420 h 10000"/>
                <a:gd name="connsiteX143" fmla="*/ 1964 w 10000"/>
                <a:gd name="connsiteY143" fmla="*/ 9566 h 10000"/>
                <a:gd name="connsiteX144" fmla="*/ 2090 w 10000"/>
                <a:gd name="connsiteY144" fmla="*/ 9706 h 10000"/>
                <a:gd name="connsiteX145" fmla="*/ 2224 w 10000"/>
                <a:gd name="connsiteY145" fmla="*/ 9855 h 10000"/>
                <a:gd name="connsiteX146" fmla="*/ 2350 w 10000"/>
                <a:gd name="connsiteY146" fmla="*/ 10000 h 10000"/>
                <a:gd name="connsiteX147" fmla="*/ 4348 w 10000"/>
                <a:gd name="connsiteY147" fmla="*/ 7469 h 10000"/>
                <a:gd name="connsiteX0" fmla="*/ 4348 w 10370"/>
                <a:gd name="connsiteY0" fmla="*/ 7469 h 10000"/>
                <a:gd name="connsiteX1" fmla="*/ 10000 w 10370"/>
                <a:gd name="connsiteY1" fmla="*/ 8049 h 10000"/>
                <a:gd name="connsiteX2" fmla="*/ 9815 w 10370"/>
                <a:gd name="connsiteY2" fmla="*/ 8007 h 10000"/>
                <a:gd name="connsiteX3" fmla="*/ 9726 w 10370"/>
                <a:gd name="connsiteY3" fmla="*/ 7985 h 10000"/>
                <a:gd name="connsiteX4" fmla="*/ 9637 w 10370"/>
                <a:gd name="connsiteY4" fmla="*/ 7950 h 10000"/>
                <a:gd name="connsiteX5" fmla="*/ 9548 w 10370"/>
                <a:gd name="connsiteY5" fmla="*/ 7925 h 10000"/>
                <a:gd name="connsiteX6" fmla="*/ 9466 w 10370"/>
                <a:gd name="connsiteY6" fmla="*/ 7897 h 10000"/>
                <a:gd name="connsiteX7" fmla="*/ 9377 w 10370"/>
                <a:gd name="connsiteY7" fmla="*/ 7869 h 10000"/>
                <a:gd name="connsiteX8" fmla="*/ 9288 w 10370"/>
                <a:gd name="connsiteY8" fmla="*/ 7837 h 10000"/>
                <a:gd name="connsiteX9" fmla="*/ 9118 w 10370"/>
                <a:gd name="connsiteY9" fmla="*/ 7772 h 10000"/>
                <a:gd name="connsiteX10" fmla="*/ 8955 w 10370"/>
                <a:gd name="connsiteY10" fmla="*/ 7698 h 10000"/>
                <a:gd name="connsiteX11" fmla="*/ 8792 w 10370"/>
                <a:gd name="connsiteY11" fmla="*/ 7624 h 10000"/>
                <a:gd name="connsiteX12" fmla="*/ 8636 w 10370"/>
                <a:gd name="connsiteY12" fmla="*/ 7536 h 10000"/>
                <a:gd name="connsiteX13" fmla="*/ 8480 w 10370"/>
                <a:gd name="connsiteY13" fmla="*/ 7448 h 10000"/>
                <a:gd name="connsiteX14" fmla="*/ 8340 w 10370"/>
                <a:gd name="connsiteY14" fmla="*/ 7365 h 10000"/>
                <a:gd name="connsiteX15" fmla="*/ 8199 w 10370"/>
                <a:gd name="connsiteY15" fmla="*/ 7266 h 10000"/>
                <a:gd name="connsiteX16" fmla="*/ 8058 w 10370"/>
                <a:gd name="connsiteY16" fmla="*/ 7161 h 10000"/>
                <a:gd name="connsiteX17" fmla="*/ 7924 w 10370"/>
                <a:gd name="connsiteY17" fmla="*/ 7056 h 10000"/>
                <a:gd name="connsiteX18" fmla="*/ 7798 w 10370"/>
                <a:gd name="connsiteY18" fmla="*/ 6942 h 10000"/>
                <a:gd name="connsiteX19" fmla="*/ 7672 w 10370"/>
                <a:gd name="connsiteY19" fmla="*/ 6833 h 10000"/>
                <a:gd name="connsiteX20" fmla="*/ 7554 w 10370"/>
                <a:gd name="connsiteY20" fmla="*/ 6719 h 10000"/>
                <a:gd name="connsiteX21" fmla="*/ 7450 w 10370"/>
                <a:gd name="connsiteY21" fmla="*/ 6593 h 10000"/>
                <a:gd name="connsiteX22" fmla="*/ 7346 w 10370"/>
                <a:gd name="connsiteY22" fmla="*/ 6467 h 10000"/>
                <a:gd name="connsiteX23" fmla="*/ 7250 w 10370"/>
                <a:gd name="connsiteY23" fmla="*/ 6338 h 10000"/>
                <a:gd name="connsiteX24" fmla="*/ 7161 w 10370"/>
                <a:gd name="connsiteY24" fmla="*/ 6209 h 10000"/>
                <a:gd name="connsiteX25" fmla="*/ 7072 w 10370"/>
                <a:gd name="connsiteY25" fmla="*/ 6073 h 10000"/>
                <a:gd name="connsiteX26" fmla="*/ 6990 w 10370"/>
                <a:gd name="connsiteY26" fmla="*/ 5928 h 10000"/>
                <a:gd name="connsiteX27" fmla="*/ 6953 w 10370"/>
                <a:gd name="connsiteY27" fmla="*/ 5865 h 10000"/>
                <a:gd name="connsiteX28" fmla="*/ 6916 w 10370"/>
                <a:gd name="connsiteY28" fmla="*/ 5789 h 10000"/>
                <a:gd name="connsiteX29" fmla="*/ 6887 w 10370"/>
                <a:gd name="connsiteY29" fmla="*/ 5721 h 10000"/>
                <a:gd name="connsiteX30" fmla="*/ 6850 w 10370"/>
                <a:gd name="connsiteY30" fmla="*/ 5646 h 10000"/>
                <a:gd name="connsiteX31" fmla="*/ 6820 w 10370"/>
                <a:gd name="connsiteY31" fmla="*/ 5575 h 10000"/>
                <a:gd name="connsiteX32" fmla="*/ 6790 w 10370"/>
                <a:gd name="connsiteY32" fmla="*/ 5501 h 10000"/>
                <a:gd name="connsiteX33" fmla="*/ 6768 w 10370"/>
                <a:gd name="connsiteY33" fmla="*/ 5424 h 10000"/>
                <a:gd name="connsiteX34" fmla="*/ 6738 w 10370"/>
                <a:gd name="connsiteY34" fmla="*/ 5353 h 10000"/>
                <a:gd name="connsiteX35" fmla="*/ 6723 w 10370"/>
                <a:gd name="connsiteY35" fmla="*/ 5274 h 10000"/>
                <a:gd name="connsiteX36" fmla="*/ 6694 w 10370"/>
                <a:gd name="connsiteY36" fmla="*/ 5200 h 10000"/>
                <a:gd name="connsiteX37" fmla="*/ 6679 w 10370"/>
                <a:gd name="connsiteY37" fmla="*/ 5122 h 10000"/>
                <a:gd name="connsiteX38" fmla="*/ 6664 w 10370"/>
                <a:gd name="connsiteY38" fmla="*/ 5048 h 10000"/>
                <a:gd name="connsiteX39" fmla="*/ 6649 w 10370"/>
                <a:gd name="connsiteY39" fmla="*/ 4966 h 10000"/>
                <a:gd name="connsiteX40" fmla="*/ 6635 w 10370"/>
                <a:gd name="connsiteY40" fmla="*/ 4893 h 10000"/>
                <a:gd name="connsiteX41" fmla="*/ 6620 w 10370"/>
                <a:gd name="connsiteY41" fmla="*/ 4815 h 10000"/>
                <a:gd name="connsiteX42" fmla="*/ 6612 w 10370"/>
                <a:gd name="connsiteY42" fmla="*/ 4739 h 10000"/>
                <a:gd name="connsiteX43" fmla="*/ 6605 w 10370"/>
                <a:gd name="connsiteY43" fmla="*/ 4656 h 10000"/>
                <a:gd name="connsiteX44" fmla="*/ 6597 w 10370"/>
                <a:gd name="connsiteY44" fmla="*/ 4573 h 10000"/>
                <a:gd name="connsiteX45" fmla="*/ 6597 w 10370"/>
                <a:gd name="connsiteY45" fmla="*/ 4497 h 10000"/>
                <a:gd name="connsiteX46" fmla="*/ 6590 w 10370"/>
                <a:gd name="connsiteY46" fmla="*/ 4413 h 10000"/>
                <a:gd name="connsiteX47" fmla="*/ 6597 w 10370"/>
                <a:gd name="connsiteY47" fmla="*/ 4334 h 10000"/>
                <a:gd name="connsiteX48" fmla="*/ 6605 w 10370"/>
                <a:gd name="connsiteY48" fmla="*/ 4248 h 10000"/>
                <a:gd name="connsiteX49" fmla="*/ 6605 w 10370"/>
                <a:gd name="connsiteY49" fmla="*/ 4160 h 10000"/>
                <a:gd name="connsiteX50" fmla="*/ 6612 w 10370"/>
                <a:gd name="connsiteY50" fmla="*/ 4075 h 10000"/>
                <a:gd name="connsiteX51" fmla="*/ 6620 w 10370"/>
                <a:gd name="connsiteY51" fmla="*/ 3990 h 10000"/>
                <a:gd name="connsiteX52" fmla="*/ 6635 w 10370"/>
                <a:gd name="connsiteY52" fmla="*/ 3915 h 10000"/>
                <a:gd name="connsiteX53" fmla="*/ 6649 w 10370"/>
                <a:gd name="connsiteY53" fmla="*/ 3830 h 10000"/>
                <a:gd name="connsiteX54" fmla="*/ 6664 w 10370"/>
                <a:gd name="connsiteY54" fmla="*/ 3750 h 10000"/>
                <a:gd name="connsiteX55" fmla="*/ 6686 w 10370"/>
                <a:gd name="connsiteY55" fmla="*/ 3665 h 10000"/>
                <a:gd name="connsiteX56" fmla="*/ 6709 w 10370"/>
                <a:gd name="connsiteY56" fmla="*/ 3589 h 10000"/>
                <a:gd name="connsiteX57" fmla="*/ 6731 w 10370"/>
                <a:gd name="connsiteY57" fmla="*/ 3508 h 10000"/>
                <a:gd name="connsiteX58" fmla="*/ 6753 w 10370"/>
                <a:gd name="connsiteY58" fmla="*/ 3424 h 10000"/>
                <a:gd name="connsiteX59" fmla="*/ 6783 w 10370"/>
                <a:gd name="connsiteY59" fmla="*/ 3355 h 10000"/>
                <a:gd name="connsiteX60" fmla="*/ 6812 w 10370"/>
                <a:gd name="connsiteY60" fmla="*/ 3275 h 10000"/>
                <a:gd name="connsiteX61" fmla="*/ 6842 w 10370"/>
                <a:gd name="connsiteY61" fmla="*/ 3194 h 10000"/>
                <a:gd name="connsiteX62" fmla="*/ 6879 w 10370"/>
                <a:gd name="connsiteY62" fmla="*/ 3118 h 10000"/>
                <a:gd name="connsiteX63" fmla="*/ 6909 w 10370"/>
                <a:gd name="connsiteY63" fmla="*/ 3046 h 10000"/>
                <a:gd name="connsiteX64" fmla="*/ 6946 w 10370"/>
                <a:gd name="connsiteY64" fmla="*/ 2964 h 10000"/>
                <a:gd name="connsiteX65" fmla="*/ 6990 w 10370"/>
                <a:gd name="connsiteY65" fmla="*/ 2898 h 10000"/>
                <a:gd name="connsiteX66" fmla="*/ 7027 w 10370"/>
                <a:gd name="connsiteY66" fmla="*/ 2823 h 10000"/>
                <a:gd name="connsiteX67" fmla="*/ 7072 w 10370"/>
                <a:gd name="connsiteY67" fmla="*/ 2754 h 10000"/>
                <a:gd name="connsiteX68" fmla="*/ 7109 w 10370"/>
                <a:gd name="connsiteY68" fmla="*/ 2676 h 10000"/>
                <a:gd name="connsiteX69" fmla="*/ 7161 w 10370"/>
                <a:gd name="connsiteY69" fmla="*/ 2613 h 10000"/>
                <a:gd name="connsiteX70" fmla="*/ 7213 w 10370"/>
                <a:gd name="connsiteY70" fmla="*/ 2538 h 10000"/>
                <a:gd name="connsiteX71" fmla="*/ 7257 w 10370"/>
                <a:gd name="connsiteY71" fmla="*/ 2471 h 10000"/>
                <a:gd name="connsiteX72" fmla="*/ 7309 w 10370"/>
                <a:gd name="connsiteY72" fmla="*/ 2404 h 10000"/>
                <a:gd name="connsiteX73" fmla="*/ 7361 w 10370"/>
                <a:gd name="connsiteY73" fmla="*/ 2331 h 10000"/>
                <a:gd name="connsiteX74" fmla="*/ 7413 w 10370"/>
                <a:gd name="connsiteY74" fmla="*/ 2269 h 10000"/>
                <a:gd name="connsiteX75" fmla="*/ 7472 w 10370"/>
                <a:gd name="connsiteY75" fmla="*/ 2203 h 10000"/>
                <a:gd name="connsiteX76" fmla="*/ 7524 w 10370"/>
                <a:gd name="connsiteY76" fmla="*/ 2145 h 10000"/>
                <a:gd name="connsiteX77" fmla="*/ 7583 w 10370"/>
                <a:gd name="connsiteY77" fmla="*/ 2077 h 10000"/>
                <a:gd name="connsiteX78" fmla="*/ 7610 w 10370"/>
                <a:gd name="connsiteY78" fmla="*/ 2042 h 10000"/>
                <a:gd name="connsiteX79" fmla="*/ 5390 w 10370"/>
                <a:gd name="connsiteY79" fmla="*/ 6 h 10000"/>
                <a:gd name="connsiteX80" fmla="*/ 1401 w 10370"/>
                <a:gd name="connsiteY80" fmla="*/ 0 h 10000"/>
                <a:gd name="connsiteX81" fmla="*/ 1305 w 10370"/>
                <a:gd name="connsiteY81" fmla="*/ 154 h 10000"/>
                <a:gd name="connsiteX82" fmla="*/ 1223 w 10370"/>
                <a:gd name="connsiteY82" fmla="*/ 269 h 10000"/>
                <a:gd name="connsiteX83" fmla="*/ 1149 w 10370"/>
                <a:gd name="connsiteY83" fmla="*/ 397 h 10000"/>
                <a:gd name="connsiteX84" fmla="*/ 1067 w 10370"/>
                <a:gd name="connsiteY84" fmla="*/ 523 h 10000"/>
                <a:gd name="connsiteX85" fmla="*/ 1001 w 10370"/>
                <a:gd name="connsiteY85" fmla="*/ 650 h 10000"/>
                <a:gd name="connsiteX86" fmla="*/ 927 w 10370"/>
                <a:gd name="connsiteY86" fmla="*/ 775 h 10000"/>
                <a:gd name="connsiteX87" fmla="*/ 860 w 10370"/>
                <a:gd name="connsiteY87" fmla="*/ 910 h 10000"/>
                <a:gd name="connsiteX88" fmla="*/ 793 w 10370"/>
                <a:gd name="connsiteY88" fmla="*/ 1043 h 10000"/>
                <a:gd name="connsiteX89" fmla="*/ 734 w 10370"/>
                <a:gd name="connsiteY89" fmla="*/ 1166 h 10000"/>
                <a:gd name="connsiteX90" fmla="*/ 675 w 10370"/>
                <a:gd name="connsiteY90" fmla="*/ 1304 h 10000"/>
                <a:gd name="connsiteX91" fmla="*/ 615 w 10370"/>
                <a:gd name="connsiteY91" fmla="*/ 1432 h 10000"/>
                <a:gd name="connsiteX92" fmla="*/ 556 w 10370"/>
                <a:gd name="connsiteY92" fmla="*/ 1572 h 10000"/>
                <a:gd name="connsiteX93" fmla="*/ 504 w 10370"/>
                <a:gd name="connsiteY93" fmla="*/ 1699 h 10000"/>
                <a:gd name="connsiteX94" fmla="*/ 452 w 10370"/>
                <a:gd name="connsiteY94" fmla="*/ 1833 h 10000"/>
                <a:gd name="connsiteX95" fmla="*/ 408 w 10370"/>
                <a:gd name="connsiteY95" fmla="*/ 1968 h 10000"/>
                <a:gd name="connsiteX96" fmla="*/ 363 w 10370"/>
                <a:gd name="connsiteY96" fmla="*/ 2104 h 10000"/>
                <a:gd name="connsiteX97" fmla="*/ 319 w 10370"/>
                <a:gd name="connsiteY97" fmla="*/ 2248 h 10000"/>
                <a:gd name="connsiteX98" fmla="*/ 282 w 10370"/>
                <a:gd name="connsiteY98" fmla="*/ 2384 h 10000"/>
                <a:gd name="connsiteX99" fmla="*/ 237 w 10370"/>
                <a:gd name="connsiteY99" fmla="*/ 2526 h 10000"/>
                <a:gd name="connsiteX100" fmla="*/ 208 w 10370"/>
                <a:gd name="connsiteY100" fmla="*/ 2666 h 10000"/>
                <a:gd name="connsiteX101" fmla="*/ 170 w 10370"/>
                <a:gd name="connsiteY101" fmla="*/ 2809 h 10000"/>
                <a:gd name="connsiteX102" fmla="*/ 148 w 10370"/>
                <a:gd name="connsiteY102" fmla="*/ 2953 h 10000"/>
                <a:gd name="connsiteX103" fmla="*/ 119 w 10370"/>
                <a:gd name="connsiteY103" fmla="*/ 3095 h 10000"/>
                <a:gd name="connsiteX104" fmla="*/ 96 w 10370"/>
                <a:gd name="connsiteY104" fmla="*/ 3235 h 10000"/>
                <a:gd name="connsiteX105" fmla="*/ 74 w 10370"/>
                <a:gd name="connsiteY105" fmla="*/ 3382 h 10000"/>
                <a:gd name="connsiteX106" fmla="*/ 52 w 10370"/>
                <a:gd name="connsiteY106" fmla="*/ 3534 h 10000"/>
                <a:gd name="connsiteX107" fmla="*/ 37 w 10370"/>
                <a:gd name="connsiteY107" fmla="*/ 3678 h 10000"/>
                <a:gd name="connsiteX108" fmla="*/ 22 w 10370"/>
                <a:gd name="connsiteY108" fmla="*/ 3822 h 10000"/>
                <a:gd name="connsiteX109" fmla="*/ 15 w 10370"/>
                <a:gd name="connsiteY109" fmla="*/ 3966 h 10000"/>
                <a:gd name="connsiteX110" fmla="*/ 7 w 10370"/>
                <a:gd name="connsiteY110" fmla="*/ 4116 h 10000"/>
                <a:gd name="connsiteX111" fmla="*/ 0 w 10370"/>
                <a:gd name="connsiteY111" fmla="*/ 4261 h 10000"/>
                <a:gd name="connsiteX112" fmla="*/ 0 w 10370"/>
                <a:gd name="connsiteY112" fmla="*/ 4413 h 10000"/>
                <a:gd name="connsiteX113" fmla="*/ 7 w 10370"/>
                <a:gd name="connsiteY113" fmla="*/ 4606 h 10000"/>
                <a:gd name="connsiteX114" fmla="*/ 7 w 10370"/>
                <a:gd name="connsiteY114" fmla="*/ 4798 h 10000"/>
                <a:gd name="connsiteX115" fmla="*/ 22 w 10370"/>
                <a:gd name="connsiteY115" fmla="*/ 4977 h 10000"/>
                <a:gd name="connsiteX116" fmla="*/ 37 w 10370"/>
                <a:gd name="connsiteY116" fmla="*/ 5166 h 10000"/>
                <a:gd name="connsiteX117" fmla="*/ 59 w 10370"/>
                <a:gd name="connsiteY117" fmla="*/ 5353 h 10000"/>
                <a:gd name="connsiteX118" fmla="*/ 89 w 10370"/>
                <a:gd name="connsiteY118" fmla="*/ 5540 h 10000"/>
                <a:gd name="connsiteX119" fmla="*/ 119 w 10370"/>
                <a:gd name="connsiteY119" fmla="*/ 5725 h 10000"/>
                <a:gd name="connsiteX120" fmla="*/ 148 w 10370"/>
                <a:gd name="connsiteY120" fmla="*/ 5909 h 10000"/>
                <a:gd name="connsiteX121" fmla="*/ 193 w 10370"/>
                <a:gd name="connsiteY121" fmla="*/ 6093 h 10000"/>
                <a:gd name="connsiteX122" fmla="*/ 237 w 10370"/>
                <a:gd name="connsiteY122" fmla="*/ 6273 h 10000"/>
                <a:gd name="connsiteX123" fmla="*/ 282 w 10370"/>
                <a:gd name="connsiteY123" fmla="*/ 6456 h 10000"/>
                <a:gd name="connsiteX124" fmla="*/ 334 w 10370"/>
                <a:gd name="connsiteY124" fmla="*/ 6633 h 10000"/>
                <a:gd name="connsiteX125" fmla="*/ 393 w 10370"/>
                <a:gd name="connsiteY125" fmla="*/ 6805 h 10000"/>
                <a:gd name="connsiteX126" fmla="*/ 452 w 10370"/>
                <a:gd name="connsiteY126" fmla="*/ 6984 h 10000"/>
                <a:gd name="connsiteX127" fmla="*/ 519 w 10370"/>
                <a:gd name="connsiteY127" fmla="*/ 7156 h 10000"/>
                <a:gd name="connsiteX128" fmla="*/ 586 w 10370"/>
                <a:gd name="connsiteY128" fmla="*/ 7336 h 10000"/>
                <a:gd name="connsiteX129" fmla="*/ 660 w 10370"/>
                <a:gd name="connsiteY129" fmla="*/ 7502 h 10000"/>
                <a:gd name="connsiteX130" fmla="*/ 741 w 10370"/>
                <a:gd name="connsiteY130" fmla="*/ 7665 h 10000"/>
                <a:gd name="connsiteX131" fmla="*/ 823 w 10370"/>
                <a:gd name="connsiteY131" fmla="*/ 7844 h 10000"/>
                <a:gd name="connsiteX132" fmla="*/ 904 w 10370"/>
                <a:gd name="connsiteY132" fmla="*/ 8007 h 10000"/>
                <a:gd name="connsiteX133" fmla="*/ 993 w 10370"/>
                <a:gd name="connsiteY133" fmla="*/ 8168 h 10000"/>
                <a:gd name="connsiteX134" fmla="*/ 1090 w 10370"/>
                <a:gd name="connsiteY134" fmla="*/ 8323 h 10000"/>
                <a:gd name="connsiteX135" fmla="*/ 1186 w 10370"/>
                <a:gd name="connsiteY135" fmla="*/ 8490 h 10000"/>
                <a:gd name="connsiteX136" fmla="*/ 1290 w 10370"/>
                <a:gd name="connsiteY136" fmla="*/ 8651 h 10000"/>
                <a:gd name="connsiteX137" fmla="*/ 1386 w 10370"/>
                <a:gd name="connsiteY137" fmla="*/ 8808 h 10000"/>
                <a:gd name="connsiteX138" fmla="*/ 1497 w 10370"/>
                <a:gd name="connsiteY138" fmla="*/ 8966 h 10000"/>
                <a:gd name="connsiteX139" fmla="*/ 1609 w 10370"/>
                <a:gd name="connsiteY139" fmla="*/ 9114 h 10000"/>
                <a:gd name="connsiteX140" fmla="*/ 1727 w 10370"/>
                <a:gd name="connsiteY140" fmla="*/ 9273 h 10000"/>
                <a:gd name="connsiteX141" fmla="*/ 1846 w 10370"/>
                <a:gd name="connsiteY141" fmla="*/ 9420 h 10000"/>
                <a:gd name="connsiteX142" fmla="*/ 1964 w 10370"/>
                <a:gd name="connsiteY142" fmla="*/ 9566 h 10000"/>
                <a:gd name="connsiteX143" fmla="*/ 2090 w 10370"/>
                <a:gd name="connsiteY143" fmla="*/ 9706 h 10000"/>
                <a:gd name="connsiteX144" fmla="*/ 2224 w 10370"/>
                <a:gd name="connsiteY144" fmla="*/ 9855 h 10000"/>
                <a:gd name="connsiteX145" fmla="*/ 2350 w 10370"/>
                <a:gd name="connsiteY145" fmla="*/ 10000 h 10000"/>
                <a:gd name="connsiteX146" fmla="*/ 4348 w 10370"/>
                <a:gd name="connsiteY146" fmla="*/ 7469 h 10000"/>
                <a:gd name="connsiteX0" fmla="*/ 4348 w 10409"/>
                <a:gd name="connsiteY0" fmla="*/ 7469 h 10000"/>
                <a:gd name="connsiteX1" fmla="*/ 10000 w 10409"/>
                <a:gd name="connsiteY1" fmla="*/ 8049 h 10000"/>
                <a:gd name="connsiteX2" fmla="*/ 9953 w 10409"/>
                <a:gd name="connsiteY2" fmla="*/ 8025 h 10000"/>
                <a:gd name="connsiteX3" fmla="*/ 9815 w 10409"/>
                <a:gd name="connsiteY3" fmla="*/ 8007 h 10000"/>
                <a:gd name="connsiteX4" fmla="*/ 9726 w 10409"/>
                <a:gd name="connsiteY4" fmla="*/ 7985 h 10000"/>
                <a:gd name="connsiteX5" fmla="*/ 9637 w 10409"/>
                <a:gd name="connsiteY5" fmla="*/ 7950 h 10000"/>
                <a:gd name="connsiteX6" fmla="*/ 9548 w 10409"/>
                <a:gd name="connsiteY6" fmla="*/ 7925 h 10000"/>
                <a:gd name="connsiteX7" fmla="*/ 9466 w 10409"/>
                <a:gd name="connsiteY7" fmla="*/ 7897 h 10000"/>
                <a:gd name="connsiteX8" fmla="*/ 9377 w 10409"/>
                <a:gd name="connsiteY8" fmla="*/ 7869 h 10000"/>
                <a:gd name="connsiteX9" fmla="*/ 9288 w 10409"/>
                <a:gd name="connsiteY9" fmla="*/ 7837 h 10000"/>
                <a:gd name="connsiteX10" fmla="*/ 9118 w 10409"/>
                <a:gd name="connsiteY10" fmla="*/ 7772 h 10000"/>
                <a:gd name="connsiteX11" fmla="*/ 8955 w 10409"/>
                <a:gd name="connsiteY11" fmla="*/ 7698 h 10000"/>
                <a:gd name="connsiteX12" fmla="*/ 8792 w 10409"/>
                <a:gd name="connsiteY12" fmla="*/ 7624 h 10000"/>
                <a:gd name="connsiteX13" fmla="*/ 8636 w 10409"/>
                <a:gd name="connsiteY13" fmla="*/ 7536 h 10000"/>
                <a:gd name="connsiteX14" fmla="*/ 8480 w 10409"/>
                <a:gd name="connsiteY14" fmla="*/ 7448 h 10000"/>
                <a:gd name="connsiteX15" fmla="*/ 8340 w 10409"/>
                <a:gd name="connsiteY15" fmla="*/ 7365 h 10000"/>
                <a:gd name="connsiteX16" fmla="*/ 8199 w 10409"/>
                <a:gd name="connsiteY16" fmla="*/ 7266 h 10000"/>
                <a:gd name="connsiteX17" fmla="*/ 8058 w 10409"/>
                <a:gd name="connsiteY17" fmla="*/ 7161 h 10000"/>
                <a:gd name="connsiteX18" fmla="*/ 7924 w 10409"/>
                <a:gd name="connsiteY18" fmla="*/ 7056 h 10000"/>
                <a:gd name="connsiteX19" fmla="*/ 7798 w 10409"/>
                <a:gd name="connsiteY19" fmla="*/ 6942 h 10000"/>
                <a:gd name="connsiteX20" fmla="*/ 7672 w 10409"/>
                <a:gd name="connsiteY20" fmla="*/ 6833 h 10000"/>
                <a:gd name="connsiteX21" fmla="*/ 7554 w 10409"/>
                <a:gd name="connsiteY21" fmla="*/ 6719 h 10000"/>
                <a:gd name="connsiteX22" fmla="*/ 7450 w 10409"/>
                <a:gd name="connsiteY22" fmla="*/ 6593 h 10000"/>
                <a:gd name="connsiteX23" fmla="*/ 7346 w 10409"/>
                <a:gd name="connsiteY23" fmla="*/ 6467 h 10000"/>
                <a:gd name="connsiteX24" fmla="*/ 7250 w 10409"/>
                <a:gd name="connsiteY24" fmla="*/ 6338 h 10000"/>
                <a:gd name="connsiteX25" fmla="*/ 7161 w 10409"/>
                <a:gd name="connsiteY25" fmla="*/ 6209 h 10000"/>
                <a:gd name="connsiteX26" fmla="*/ 7072 w 10409"/>
                <a:gd name="connsiteY26" fmla="*/ 6073 h 10000"/>
                <a:gd name="connsiteX27" fmla="*/ 6990 w 10409"/>
                <a:gd name="connsiteY27" fmla="*/ 5928 h 10000"/>
                <a:gd name="connsiteX28" fmla="*/ 6953 w 10409"/>
                <a:gd name="connsiteY28" fmla="*/ 5865 h 10000"/>
                <a:gd name="connsiteX29" fmla="*/ 6916 w 10409"/>
                <a:gd name="connsiteY29" fmla="*/ 5789 h 10000"/>
                <a:gd name="connsiteX30" fmla="*/ 6887 w 10409"/>
                <a:gd name="connsiteY30" fmla="*/ 5721 h 10000"/>
                <a:gd name="connsiteX31" fmla="*/ 6850 w 10409"/>
                <a:gd name="connsiteY31" fmla="*/ 5646 h 10000"/>
                <a:gd name="connsiteX32" fmla="*/ 6820 w 10409"/>
                <a:gd name="connsiteY32" fmla="*/ 5575 h 10000"/>
                <a:gd name="connsiteX33" fmla="*/ 6790 w 10409"/>
                <a:gd name="connsiteY33" fmla="*/ 5501 h 10000"/>
                <a:gd name="connsiteX34" fmla="*/ 6768 w 10409"/>
                <a:gd name="connsiteY34" fmla="*/ 5424 h 10000"/>
                <a:gd name="connsiteX35" fmla="*/ 6738 w 10409"/>
                <a:gd name="connsiteY35" fmla="*/ 5353 h 10000"/>
                <a:gd name="connsiteX36" fmla="*/ 6723 w 10409"/>
                <a:gd name="connsiteY36" fmla="*/ 5274 h 10000"/>
                <a:gd name="connsiteX37" fmla="*/ 6694 w 10409"/>
                <a:gd name="connsiteY37" fmla="*/ 5200 h 10000"/>
                <a:gd name="connsiteX38" fmla="*/ 6679 w 10409"/>
                <a:gd name="connsiteY38" fmla="*/ 5122 h 10000"/>
                <a:gd name="connsiteX39" fmla="*/ 6664 w 10409"/>
                <a:gd name="connsiteY39" fmla="*/ 5048 h 10000"/>
                <a:gd name="connsiteX40" fmla="*/ 6649 w 10409"/>
                <a:gd name="connsiteY40" fmla="*/ 4966 h 10000"/>
                <a:gd name="connsiteX41" fmla="*/ 6635 w 10409"/>
                <a:gd name="connsiteY41" fmla="*/ 4893 h 10000"/>
                <a:gd name="connsiteX42" fmla="*/ 6620 w 10409"/>
                <a:gd name="connsiteY42" fmla="*/ 4815 h 10000"/>
                <a:gd name="connsiteX43" fmla="*/ 6612 w 10409"/>
                <a:gd name="connsiteY43" fmla="*/ 4739 h 10000"/>
                <a:gd name="connsiteX44" fmla="*/ 6605 w 10409"/>
                <a:gd name="connsiteY44" fmla="*/ 4656 h 10000"/>
                <a:gd name="connsiteX45" fmla="*/ 6597 w 10409"/>
                <a:gd name="connsiteY45" fmla="*/ 4573 h 10000"/>
                <a:gd name="connsiteX46" fmla="*/ 6597 w 10409"/>
                <a:gd name="connsiteY46" fmla="*/ 4497 h 10000"/>
                <a:gd name="connsiteX47" fmla="*/ 6590 w 10409"/>
                <a:gd name="connsiteY47" fmla="*/ 4413 h 10000"/>
                <a:gd name="connsiteX48" fmla="*/ 6597 w 10409"/>
                <a:gd name="connsiteY48" fmla="*/ 4334 h 10000"/>
                <a:gd name="connsiteX49" fmla="*/ 6605 w 10409"/>
                <a:gd name="connsiteY49" fmla="*/ 4248 h 10000"/>
                <a:gd name="connsiteX50" fmla="*/ 6605 w 10409"/>
                <a:gd name="connsiteY50" fmla="*/ 4160 h 10000"/>
                <a:gd name="connsiteX51" fmla="*/ 6612 w 10409"/>
                <a:gd name="connsiteY51" fmla="*/ 4075 h 10000"/>
                <a:gd name="connsiteX52" fmla="*/ 6620 w 10409"/>
                <a:gd name="connsiteY52" fmla="*/ 3990 h 10000"/>
                <a:gd name="connsiteX53" fmla="*/ 6635 w 10409"/>
                <a:gd name="connsiteY53" fmla="*/ 3915 h 10000"/>
                <a:gd name="connsiteX54" fmla="*/ 6649 w 10409"/>
                <a:gd name="connsiteY54" fmla="*/ 3830 h 10000"/>
                <a:gd name="connsiteX55" fmla="*/ 6664 w 10409"/>
                <a:gd name="connsiteY55" fmla="*/ 3750 h 10000"/>
                <a:gd name="connsiteX56" fmla="*/ 6686 w 10409"/>
                <a:gd name="connsiteY56" fmla="*/ 3665 h 10000"/>
                <a:gd name="connsiteX57" fmla="*/ 6709 w 10409"/>
                <a:gd name="connsiteY57" fmla="*/ 3589 h 10000"/>
                <a:gd name="connsiteX58" fmla="*/ 6731 w 10409"/>
                <a:gd name="connsiteY58" fmla="*/ 3508 h 10000"/>
                <a:gd name="connsiteX59" fmla="*/ 6753 w 10409"/>
                <a:gd name="connsiteY59" fmla="*/ 3424 h 10000"/>
                <a:gd name="connsiteX60" fmla="*/ 6783 w 10409"/>
                <a:gd name="connsiteY60" fmla="*/ 3355 h 10000"/>
                <a:gd name="connsiteX61" fmla="*/ 6812 w 10409"/>
                <a:gd name="connsiteY61" fmla="*/ 3275 h 10000"/>
                <a:gd name="connsiteX62" fmla="*/ 6842 w 10409"/>
                <a:gd name="connsiteY62" fmla="*/ 3194 h 10000"/>
                <a:gd name="connsiteX63" fmla="*/ 6879 w 10409"/>
                <a:gd name="connsiteY63" fmla="*/ 3118 h 10000"/>
                <a:gd name="connsiteX64" fmla="*/ 6909 w 10409"/>
                <a:gd name="connsiteY64" fmla="*/ 3046 h 10000"/>
                <a:gd name="connsiteX65" fmla="*/ 6946 w 10409"/>
                <a:gd name="connsiteY65" fmla="*/ 2964 h 10000"/>
                <a:gd name="connsiteX66" fmla="*/ 6990 w 10409"/>
                <a:gd name="connsiteY66" fmla="*/ 2898 h 10000"/>
                <a:gd name="connsiteX67" fmla="*/ 7027 w 10409"/>
                <a:gd name="connsiteY67" fmla="*/ 2823 h 10000"/>
                <a:gd name="connsiteX68" fmla="*/ 7072 w 10409"/>
                <a:gd name="connsiteY68" fmla="*/ 2754 h 10000"/>
                <a:gd name="connsiteX69" fmla="*/ 7109 w 10409"/>
                <a:gd name="connsiteY69" fmla="*/ 2676 h 10000"/>
                <a:gd name="connsiteX70" fmla="*/ 7161 w 10409"/>
                <a:gd name="connsiteY70" fmla="*/ 2613 h 10000"/>
                <a:gd name="connsiteX71" fmla="*/ 7213 w 10409"/>
                <a:gd name="connsiteY71" fmla="*/ 2538 h 10000"/>
                <a:gd name="connsiteX72" fmla="*/ 7257 w 10409"/>
                <a:gd name="connsiteY72" fmla="*/ 2471 h 10000"/>
                <a:gd name="connsiteX73" fmla="*/ 7309 w 10409"/>
                <a:gd name="connsiteY73" fmla="*/ 2404 h 10000"/>
                <a:gd name="connsiteX74" fmla="*/ 7361 w 10409"/>
                <a:gd name="connsiteY74" fmla="*/ 2331 h 10000"/>
                <a:gd name="connsiteX75" fmla="*/ 7413 w 10409"/>
                <a:gd name="connsiteY75" fmla="*/ 2269 h 10000"/>
                <a:gd name="connsiteX76" fmla="*/ 7472 w 10409"/>
                <a:gd name="connsiteY76" fmla="*/ 2203 h 10000"/>
                <a:gd name="connsiteX77" fmla="*/ 7524 w 10409"/>
                <a:gd name="connsiteY77" fmla="*/ 2145 h 10000"/>
                <a:gd name="connsiteX78" fmla="*/ 7583 w 10409"/>
                <a:gd name="connsiteY78" fmla="*/ 2077 h 10000"/>
                <a:gd name="connsiteX79" fmla="*/ 7610 w 10409"/>
                <a:gd name="connsiteY79" fmla="*/ 2042 h 10000"/>
                <a:gd name="connsiteX80" fmla="*/ 5390 w 10409"/>
                <a:gd name="connsiteY80" fmla="*/ 6 h 10000"/>
                <a:gd name="connsiteX81" fmla="*/ 1401 w 10409"/>
                <a:gd name="connsiteY81" fmla="*/ 0 h 10000"/>
                <a:gd name="connsiteX82" fmla="*/ 1305 w 10409"/>
                <a:gd name="connsiteY82" fmla="*/ 154 h 10000"/>
                <a:gd name="connsiteX83" fmla="*/ 1223 w 10409"/>
                <a:gd name="connsiteY83" fmla="*/ 269 h 10000"/>
                <a:gd name="connsiteX84" fmla="*/ 1149 w 10409"/>
                <a:gd name="connsiteY84" fmla="*/ 397 h 10000"/>
                <a:gd name="connsiteX85" fmla="*/ 1067 w 10409"/>
                <a:gd name="connsiteY85" fmla="*/ 523 h 10000"/>
                <a:gd name="connsiteX86" fmla="*/ 1001 w 10409"/>
                <a:gd name="connsiteY86" fmla="*/ 650 h 10000"/>
                <a:gd name="connsiteX87" fmla="*/ 927 w 10409"/>
                <a:gd name="connsiteY87" fmla="*/ 775 h 10000"/>
                <a:gd name="connsiteX88" fmla="*/ 860 w 10409"/>
                <a:gd name="connsiteY88" fmla="*/ 910 h 10000"/>
                <a:gd name="connsiteX89" fmla="*/ 793 w 10409"/>
                <a:gd name="connsiteY89" fmla="*/ 1043 h 10000"/>
                <a:gd name="connsiteX90" fmla="*/ 734 w 10409"/>
                <a:gd name="connsiteY90" fmla="*/ 1166 h 10000"/>
                <a:gd name="connsiteX91" fmla="*/ 675 w 10409"/>
                <a:gd name="connsiteY91" fmla="*/ 1304 h 10000"/>
                <a:gd name="connsiteX92" fmla="*/ 615 w 10409"/>
                <a:gd name="connsiteY92" fmla="*/ 1432 h 10000"/>
                <a:gd name="connsiteX93" fmla="*/ 556 w 10409"/>
                <a:gd name="connsiteY93" fmla="*/ 1572 h 10000"/>
                <a:gd name="connsiteX94" fmla="*/ 504 w 10409"/>
                <a:gd name="connsiteY94" fmla="*/ 1699 h 10000"/>
                <a:gd name="connsiteX95" fmla="*/ 452 w 10409"/>
                <a:gd name="connsiteY95" fmla="*/ 1833 h 10000"/>
                <a:gd name="connsiteX96" fmla="*/ 408 w 10409"/>
                <a:gd name="connsiteY96" fmla="*/ 1968 h 10000"/>
                <a:gd name="connsiteX97" fmla="*/ 363 w 10409"/>
                <a:gd name="connsiteY97" fmla="*/ 2104 h 10000"/>
                <a:gd name="connsiteX98" fmla="*/ 319 w 10409"/>
                <a:gd name="connsiteY98" fmla="*/ 2248 h 10000"/>
                <a:gd name="connsiteX99" fmla="*/ 282 w 10409"/>
                <a:gd name="connsiteY99" fmla="*/ 2384 h 10000"/>
                <a:gd name="connsiteX100" fmla="*/ 237 w 10409"/>
                <a:gd name="connsiteY100" fmla="*/ 2526 h 10000"/>
                <a:gd name="connsiteX101" fmla="*/ 208 w 10409"/>
                <a:gd name="connsiteY101" fmla="*/ 2666 h 10000"/>
                <a:gd name="connsiteX102" fmla="*/ 170 w 10409"/>
                <a:gd name="connsiteY102" fmla="*/ 2809 h 10000"/>
                <a:gd name="connsiteX103" fmla="*/ 148 w 10409"/>
                <a:gd name="connsiteY103" fmla="*/ 2953 h 10000"/>
                <a:gd name="connsiteX104" fmla="*/ 119 w 10409"/>
                <a:gd name="connsiteY104" fmla="*/ 3095 h 10000"/>
                <a:gd name="connsiteX105" fmla="*/ 96 w 10409"/>
                <a:gd name="connsiteY105" fmla="*/ 3235 h 10000"/>
                <a:gd name="connsiteX106" fmla="*/ 74 w 10409"/>
                <a:gd name="connsiteY106" fmla="*/ 3382 h 10000"/>
                <a:gd name="connsiteX107" fmla="*/ 52 w 10409"/>
                <a:gd name="connsiteY107" fmla="*/ 3534 h 10000"/>
                <a:gd name="connsiteX108" fmla="*/ 37 w 10409"/>
                <a:gd name="connsiteY108" fmla="*/ 3678 h 10000"/>
                <a:gd name="connsiteX109" fmla="*/ 22 w 10409"/>
                <a:gd name="connsiteY109" fmla="*/ 3822 h 10000"/>
                <a:gd name="connsiteX110" fmla="*/ 15 w 10409"/>
                <a:gd name="connsiteY110" fmla="*/ 3966 h 10000"/>
                <a:gd name="connsiteX111" fmla="*/ 7 w 10409"/>
                <a:gd name="connsiteY111" fmla="*/ 4116 h 10000"/>
                <a:gd name="connsiteX112" fmla="*/ 0 w 10409"/>
                <a:gd name="connsiteY112" fmla="*/ 4261 h 10000"/>
                <a:gd name="connsiteX113" fmla="*/ 0 w 10409"/>
                <a:gd name="connsiteY113" fmla="*/ 4413 h 10000"/>
                <a:gd name="connsiteX114" fmla="*/ 7 w 10409"/>
                <a:gd name="connsiteY114" fmla="*/ 4606 h 10000"/>
                <a:gd name="connsiteX115" fmla="*/ 7 w 10409"/>
                <a:gd name="connsiteY115" fmla="*/ 4798 h 10000"/>
                <a:gd name="connsiteX116" fmla="*/ 22 w 10409"/>
                <a:gd name="connsiteY116" fmla="*/ 4977 h 10000"/>
                <a:gd name="connsiteX117" fmla="*/ 37 w 10409"/>
                <a:gd name="connsiteY117" fmla="*/ 5166 h 10000"/>
                <a:gd name="connsiteX118" fmla="*/ 59 w 10409"/>
                <a:gd name="connsiteY118" fmla="*/ 5353 h 10000"/>
                <a:gd name="connsiteX119" fmla="*/ 89 w 10409"/>
                <a:gd name="connsiteY119" fmla="*/ 5540 h 10000"/>
                <a:gd name="connsiteX120" fmla="*/ 119 w 10409"/>
                <a:gd name="connsiteY120" fmla="*/ 5725 h 10000"/>
                <a:gd name="connsiteX121" fmla="*/ 148 w 10409"/>
                <a:gd name="connsiteY121" fmla="*/ 5909 h 10000"/>
                <a:gd name="connsiteX122" fmla="*/ 193 w 10409"/>
                <a:gd name="connsiteY122" fmla="*/ 6093 h 10000"/>
                <a:gd name="connsiteX123" fmla="*/ 237 w 10409"/>
                <a:gd name="connsiteY123" fmla="*/ 6273 h 10000"/>
                <a:gd name="connsiteX124" fmla="*/ 282 w 10409"/>
                <a:gd name="connsiteY124" fmla="*/ 6456 h 10000"/>
                <a:gd name="connsiteX125" fmla="*/ 334 w 10409"/>
                <a:gd name="connsiteY125" fmla="*/ 6633 h 10000"/>
                <a:gd name="connsiteX126" fmla="*/ 393 w 10409"/>
                <a:gd name="connsiteY126" fmla="*/ 6805 h 10000"/>
                <a:gd name="connsiteX127" fmla="*/ 452 w 10409"/>
                <a:gd name="connsiteY127" fmla="*/ 6984 h 10000"/>
                <a:gd name="connsiteX128" fmla="*/ 519 w 10409"/>
                <a:gd name="connsiteY128" fmla="*/ 7156 h 10000"/>
                <a:gd name="connsiteX129" fmla="*/ 586 w 10409"/>
                <a:gd name="connsiteY129" fmla="*/ 7336 h 10000"/>
                <a:gd name="connsiteX130" fmla="*/ 660 w 10409"/>
                <a:gd name="connsiteY130" fmla="*/ 7502 h 10000"/>
                <a:gd name="connsiteX131" fmla="*/ 741 w 10409"/>
                <a:gd name="connsiteY131" fmla="*/ 7665 h 10000"/>
                <a:gd name="connsiteX132" fmla="*/ 823 w 10409"/>
                <a:gd name="connsiteY132" fmla="*/ 7844 h 10000"/>
                <a:gd name="connsiteX133" fmla="*/ 904 w 10409"/>
                <a:gd name="connsiteY133" fmla="*/ 8007 h 10000"/>
                <a:gd name="connsiteX134" fmla="*/ 993 w 10409"/>
                <a:gd name="connsiteY134" fmla="*/ 8168 h 10000"/>
                <a:gd name="connsiteX135" fmla="*/ 1090 w 10409"/>
                <a:gd name="connsiteY135" fmla="*/ 8323 h 10000"/>
                <a:gd name="connsiteX136" fmla="*/ 1186 w 10409"/>
                <a:gd name="connsiteY136" fmla="*/ 8490 h 10000"/>
                <a:gd name="connsiteX137" fmla="*/ 1290 w 10409"/>
                <a:gd name="connsiteY137" fmla="*/ 8651 h 10000"/>
                <a:gd name="connsiteX138" fmla="*/ 1386 w 10409"/>
                <a:gd name="connsiteY138" fmla="*/ 8808 h 10000"/>
                <a:gd name="connsiteX139" fmla="*/ 1497 w 10409"/>
                <a:gd name="connsiteY139" fmla="*/ 8966 h 10000"/>
                <a:gd name="connsiteX140" fmla="*/ 1609 w 10409"/>
                <a:gd name="connsiteY140" fmla="*/ 9114 h 10000"/>
                <a:gd name="connsiteX141" fmla="*/ 1727 w 10409"/>
                <a:gd name="connsiteY141" fmla="*/ 9273 h 10000"/>
                <a:gd name="connsiteX142" fmla="*/ 1846 w 10409"/>
                <a:gd name="connsiteY142" fmla="*/ 9420 h 10000"/>
                <a:gd name="connsiteX143" fmla="*/ 1964 w 10409"/>
                <a:gd name="connsiteY143" fmla="*/ 9566 h 10000"/>
                <a:gd name="connsiteX144" fmla="*/ 2090 w 10409"/>
                <a:gd name="connsiteY144" fmla="*/ 9706 h 10000"/>
                <a:gd name="connsiteX145" fmla="*/ 2224 w 10409"/>
                <a:gd name="connsiteY145" fmla="*/ 9855 h 10000"/>
                <a:gd name="connsiteX146" fmla="*/ 2350 w 10409"/>
                <a:gd name="connsiteY146" fmla="*/ 10000 h 10000"/>
                <a:gd name="connsiteX147" fmla="*/ 4348 w 10409"/>
                <a:gd name="connsiteY147" fmla="*/ 7469 h 10000"/>
                <a:gd name="connsiteX0" fmla="*/ 4348 w 10370"/>
                <a:gd name="connsiteY0" fmla="*/ 7469 h 10000"/>
                <a:gd name="connsiteX1" fmla="*/ 10000 w 10370"/>
                <a:gd name="connsiteY1" fmla="*/ 8049 h 10000"/>
                <a:gd name="connsiteX2" fmla="*/ 9815 w 10370"/>
                <a:gd name="connsiteY2" fmla="*/ 8007 h 10000"/>
                <a:gd name="connsiteX3" fmla="*/ 9726 w 10370"/>
                <a:gd name="connsiteY3" fmla="*/ 7985 h 10000"/>
                <a:gd name="connsiteX4" fmla="*/ 9637 w 10370"/>
                <a:gd name="connsiteY4" fmla="*/ 7950 h 10000"/>
                <a:gd name="connsiteX5" fmla="*/ 9548 w 10370"/>
                <a:gd name="connsiteY5" fmla="*/ 7925 h 10000"/>
                <a:gd name="connsiteX6" fmla="*/ 9466 w 10370"/>
                <a:gd name="connsiteY6" fmla="*/ 7897 h 10000"/>
                <a:gd name="connsiteX7" fmla="*/ 9377 w 10370"/>
                <a:gd name="connsiteY7" fmla="*/ 7869 h 10000"/>
                <a:gd name="connsiteX8" fmla="*/ 9288 w 10370"/>
                <a:gd name="connsiteY8" fmla="*/ 7837 h 10000"/>
                <a:gd name="connsiteX9" fmla="*/ 9118 w 10370"/>
                <a:gd name="connsiteY9" fmla="*/ 7772 h 10000"/>
                <a:gd name="connsiteX10" fmla="*/ 8955 w 10370"/>
                <a:gd name="connsiteY10" fmla="*/ 7698 h 10000"/>
                <a:gd name="connsiteX11" fmla="*/ 8792 w 10370"/>
                <a:gd name="connsiteY11" fmla="*/ 7624 h 10000"/>
                <a:gd name="connsiteX12" fmla="*/ 8636 w 10370"/>
                <a:gd name="connsiteY12" fmla="*/ 7536 h 10000"/>
                <a:gd name="connsiteX13" fmla="*/ 8480 w 10370"/>
                <a:gd name="connsiteY13" fmla="*/ 7448 h 10000"/>
                <a:gd name="connsiteX14" fmla="*/ 8340 w 10370"/>
                <a:gd name="connsiteY14" fmla="*/ 7365 h 10000"/>
                <a:gd name="connsiteX15" fmla="*/ 8199 w 10370"/>
                <a:gd name="connsiteY15" fmla="*/ 7266 h 10000"/>
                <a:gd name="connsiteX16" fmla="*/ 8058 w 10370"/>
                <a:gd name="connsiteY16" fmla="*/ 7161 h 10000"/>
                <a:gd name="connsiteX17" fmla="*/ 7924 w 10370"/>
                <a:gd name="connsiteY17" fmla="*/ 7056 h 10000"/>
                <a:gd name="connsiteX18" fmla="*/ 7798 w 10370"/>
                <a:gd name="connsiteY18" fmla="*/ 6942 h 10000"/>
                <a:gd name="connsiteX19" fmla="*/ 7672 w 10370"/>
                <a:gd name="connsiteY19" fmla="*/ 6833 h 10000"/>
                <a:gd name="connsiteX20" fmla="*/ 7554 w 10370"/>
                <a:gd name="connsiteY20" fmla="*/ 6719 h 10000"/>
                <a:gd name="connsiteX21" fmla="*/ 7450 w 10370"/>
                <a:gd name="connsiteY21" fmla="*/ 6593 h 10000"/>
                <a:gd name="connsiteX22" fmla="*/ 7346 w 10370"/>
                <a:gd name="connsiteY22" fmla="*/ 6467 h 10000"/>
                <a:gd name="connsiteX23" fmla="*/ 7250 w 10370"/>
                <a:gd name="connsiteY23" fmla="*/ 6338 h 10000"/>
                <a:gd name="connsiteX24" fmla="*/ 7161 w 10370"/>
                <a:gd name="connsiteY24" fmla="*/ 6209 h 10000"/>
                <a:gd name="connsiteX25" fmla="*/ 7072 w 10370"/>
                <a:gd name="connsiteY25" fmla="*/ 6073 h 10000"/>
                <a:gd name="connsiteX26" fmla="*/ 6990 w 10370"/>
                <a:gd name="connsiteY26" fmla="*/ 5928 h 10000"/>
                <a:gd name="connsiteX27" fmla="*/ 6953 w 10370"/>
                <a:gd name="connsiteY27" fmla="*/ 5865 h 10000"/>
                <a:gd name="connsiteX28" fmla="*/ 6916 w 10370"/>
                <a:gd name="connsiteY28" fmla="*/ 5789 h 10000"/>
                <a:gd name="connsiteX29" fmla="*/ 6887 w 10370"/>
                <a:gd name="connsiteY29" fmla="*/ 5721 h 10000"/>
                <a:gd name="connsiteX30" fmla="*/ 6850 w 10370"/>
                <a:gd name="connsiteY30" fmla="*/ 5646 h 10000"/>
                <a:gd name="connsiteX31" fmla="*/ 6820 w 10370"/>
                <a:gd name="connsiteY31" fmla="*/ 5575 h 10000"/>
                <a:gd name="connsiteX32" fmla="*/ 6790 w 10370"/>
                <a:gd name="connsiteY32" fmla="*/ 5501 h 10000"/>
                <a:gd name="connsiteX33" fmla="*/ 6768 w 10370"/>
                <a:gd name="connsiteY33" fmla="*/ 5424 h 10000"/>
                <a:gd name="connsiteX34" fmla="*/ 6738 w 10370"/>
                <a:gd name="connsiteY34" fmla="*/ 5353 h 10000"/>
                <a:gd name="connsiteX35" fmla="*/ 6723 w 10370"/>
                <a:gd name="connsiteY35" fmla="*/ 5274 h 10000"/>
                <a:gd name="connsiteX36" fmla="*/ 6694 w 10370"/>
                <a:gd name="connsiteY36" fmla="*/ 5200 h 10000"/>
                <a:gd name="connsiteX37" fmla="*/ 6679 w 10370"/>
                <a:gd name="connsiteY37" fmla="*/ 5122 h 10000"/>
                <a:gd name="connsiteX38" fmla="*/ 6664 w 10370"/>
                <a:gd name="connsiteY38" fmla="*/ 5048 h 10000"/>
                <a:gd name="connsiteX39" fmla="*/ 6649 w 10370"/>
                <a:gd name="connsiteY39" fmla="*/ 4966 h 10000"/>
                <a:gd name="connsiteX40" fmla="*/ 6635 w 10370"/>
                <a:gd name="connsiteY40" fmla="*/ 4893 h 10000"/>
                <a:gd name="connsiteX41" fmla="*/ 6620 w 10370"/>
                <a:gd name="connsiteY41" fmla="*/ 4815 h 10000"/>
                <a:gd name="connsiteX42" fmla="*/ 6612 w 10370"/>
                <a:gd name="connsiteY42" fmla="*/ 4739 h 10000"/>
                <a:gd name="connsiteX43" fmla="*/ 6605 w 10370"/>
                <a:gd name="connsiteY43" fmla="*/ 4656 h 10000"/>
                <a:gd name="connsiteX44" fmla="*/ 6597 w 10370"/>
                <a:gd name="connsiteY44" fmla="*/ 4573 h 10000"/>
                <a:gd name="connsiteX45" fmla="*/ 6597 w 10370"/>
                <a:gd name="connsiteY45" fmla="*/ 4497 h 10000"/>
                <a:gd name="connsiteX46" fmla="*/ 6590 w 10370"/>
                <a:gd name="connsiteY46" fmla="*/ 4413 h 10000"/>
                <a:gd name="connsiteX47" fmla="*/ 6597 w 10370"/>
                <a:gd name="connsiteY47" fmla="*/ 4334 h 10000"/>
                <a:gd name="connsiteX48" fmla="*/ 6605 w 10370"/>
                <a:gd name="connsiteY48" fmla="*/ 4248 h 10000"/>
                <a:gd name="connsiteX49" fmla="*/ 6605 w 10370"/>
                <a:gd name="connsiteY49" fmla="*/ 4160 h 10000"/>
                <a:gd name="connsiteX50" fmla="*/ 6612 w 10370"/>
                <a:gd name="connsiteY50" fmla="*/ 4075 h 10000"/>
                <a:gd name="connsiteX51" fmla="*/ 6620 w 10370"/>
                <a:gd name="connsiteY51" fmla="*/ 3990 h 10000"/>
                <a:gd name="connsiteX52" fmla="*/ 6635 w 10370"/>
                <a:gd name="connsiteY52" fmla="*/ 3915 h 10000"/>
                <a:gd name="connsiteX53" fmla="*/ 6649 w 10370"/>
                <a:gd name="connsiteY53" fmla="*/ 3830 h 10000"/>
                <a:gd name="connsiteX54" fmla="*/ 6664 w 10370"/>
                <a:gd name="connsiteY54" fmla="*/ 3750 h 10000"/>
                <a:gd name="connsiteX55" fmla="*/ 6686 w 10370"/>
                <a:gd name="connsiteY55" fmla="*/ 3665 h 10000"/>
                <a:gd name="connsiteX56" fmla="*/ 6709 w 10370"/>
                <a:gd name="connsiteY56" fmla="*/ 3589 h 10000"/>
                <a:gd name="connsiteX57" fmla="*/ 6731 w 10370"/>
                <a:gd name="connsiteY57" fmla="*/ 3508 h 10000"/>
                <a:gd name="connsiteX58" fmla="*/ 6753 w 10370"/>
                <a:gd name="connsiteY58" fmla="*/ 3424 h 10000"/>
                <a:gd name="connsiteX59" fmla="*/ 6783 w 10370"/>
                <a:gd name="connsiteY59" fmla="*/ 3355 h 10000"/>
                <a:gd name="connsiteX60" fmla="*/ 6812 w 10370"/>
                <a:gd name="connsiteY60" fmla="*/ 3275 h 10000"/>
                <a:gd name="connsiteX61" fmla="*/ 6842 w 10370"/>
                <a:gd name="connsiteY61" fmla="*/ 3194 h 10000"/>
                <a:gd name="connsiteX62" fmla="*/ 6879 w 10370"/>
                <a:gd name="connsiteY62" fmla="*/ 3118 h 10000"/>
                <a:gd name="connsiteX63" fmla="*/ 6909 w 10370"/>
                <a:gd name="connsiteY63" fmla="*/ 3046 h 10000"/>
                <a:gd name="connsiteX64" fmla="*/ 6946 w 10370"/>
                <a:gd name="connsiteY64" fmla="*/ 2964 h 10000"/>
                <a:gd name="connsiteX65" fmla="*/ 6990 w 10370"/>
                <a:gd name="connsiteY65" fmla="*/ 2898 h 10000"/>
                <a:gd name="connsiteX66" fmla="*/ 7027 w 10370"/>
                <a:gd name="connsiteY66" fmla="*/ 2823 h 10000"/>
                <a:gd name="connsiteX67" fmla="*/ 7072 w 10370"/>
                <a:gd name="connsiteY67" fmla="*/ 2754 h 10000"/>
                <a:gd name="connsiteX68" fmla="*/ 7109 w 10370"/>
                <a:gd name="connsiteY68" fmla="*/ 2676 h 10000"/>
                <a:gd name="connsiteX69" fmla="*/ 7161 w 10370"/>
                <a:gd name="connsiteY69" fmla="*/ 2613 h 10000"/>
                <a:gd name="connsiteX70" fmla="*/ 7213 w 10370"/>
                <a:gd name="connsiteY70" fmla="*/ 2538 h 10000"/>
                <a:gd name="connsiteX71" fmla="*/ 7257 w 10370"/>
                <a:gd name="connsiteY71" fmla="*/ 2471 h 10000"/>
                <a:gd name="connsiteX72" fmla="*/ 7309 w 10370"/>
                <a:gd name="connsiteY72" fmla="*/ 2404 h 10000"/>
                <a:gd name="connsiteX73" fmla="*/ 7361 w 10370"/>
                <a:gd name="connsiteY73" fmla="*/ 2331 h 10000"/>
                <a:gd name="connsiteX74" fmla="*/ 7413 w 10370"/>
                <a:gd name="connsiteY74" fmla="*/ 2269 h 10000"/>
                <a:gd name="connsiteX75" fmla="*/ 7472 w 10370"/>
                <a:gd name="connsiteY75" fmla="*/ 2203 h 10000"/>
                <a:gd name="connsiteX76" fmla="*/ 7524 w 10370"/>
                <a:gd name="connsiteY76" fmla="*/ 2145 h 10000"/>
                <a:gd name="connsiteX77" fmla="*/ 7583 w 10370"/>
                <a:gd name="connsiteY77" fmla="*/ 2077 h 10000"/>
                <a:gd name="connsiteX78" fmla="*/ 7610 w 10370"/>
                <a:gd name="connsiteY78" fmla="*/ 2042 h 10000"/>
                <a:gd name="connsiteX79" fmla="*/ 5390 w 10370"/>
                <a:gd name="connsiteY79" fmla="*/ 6 h 10000"/>
                <a:gd name="connsiteX80" fmla="*/ 1401 w 10370"/>
                <a:gd name="connsiteY80" fmla="*/ 0 h 10000"/>
                <a:gd name="connsiteX81" fmla="*/ 1305 w 10370"/>
                <a:gd name="connsiteY81" fmla="*/ 154 h 10000"/>
                <a:gd name="connsiteX82" fmla="*/ 1223 w 10370"/>
                <a:gd name="connsiteY82" fmla="*/ 269 h 10000"/>
                <a:gd name="connsiteX83" fmla="*/ 1149 w 10370"/>
                <a:gd name="connsiteY83" fmla="*/ 397 h 10000"/>
                <a:gd name="connsiteX84" fmla="*/ 1067 w 10370"/>
                <a:gd name="connsiteY84" fmla="*/ 523 h 10000"/>
                <a:gd name="connsiteX85" fmla="*/ 1001 w 10370"/>
                <a:gd name="connsiteY85" fmla="*/ 650 h 10000"/>
                <a:gd name="connsiteX86" fmla="*/ 927 w 10370"/>
                <a:gd name="connsiteY86" fmla="*/ 775 h 10000"/>
                <a:gd name="connsiteX87" fmla="*/ 860 w 10370"/>
                <a:gd name="connsiteY87" fmla="*/ 910 h 10000"/>
                <a:gd name="connsiteX88" fmla="*/ 793 w 10370"/>
                <a:gd name="connsiteY88" fmla="*/ 1043 h 10000"/>
                <a:gd name="connsiteX89" fmla="*/ 734 w 10370"/>
                <a:gd name="connsiteY89" fmla="*/ 1166 h 10000"/>
                <a:gd name="connsiteX90" fmla="*/ 675 w 10370"/>
                <a:gd name="connsiteY90" fmla="*/ 1304 h 10000"/>
                <a:gd name="connsiteX91" fmla="*/ 615 w 10370"/>
                <a:gd name="connsiteY91" fmla="*/ 1432 h 10000"/>
                <a:gd name="connsiteX92" fmla="*/ 556 w 10370"/>
                <a:gd name="connsiteY92" fmla="*/ 1572 h 10000"/>
                <a:gd name="connsiteX93" fmla="*/ 504 w 10370"/>
                <a:gd name="connsiteY93" fmla="*/ 1699 h 10000"/>
                <a:gd name="connsiteX94" fmla="*/ 452 w 10370"/>
                <a:gd name="connsiteY94" fmla="*/ 1833 h 10000"/>
                <a:gd name="connsiteX95" fmla="*/ 408 w 10370"/>
                <a:gd name="connsiteY95" fmla="*/ 1968 h 10000"/>
                <a:gd name="connsiteX96" fmla="*/ 363 w 10370"/>
                <a:gd name="connsiteY96" fmla="*/ 2104 h 10000"/>
                <a:gd name="connsiteX97" fmla="*/ 319 w 10370"/>
                <a:gd name="connsiteY97" fmla="*/ 2248 h 10000"/>
                <a:gd name="connsiteX98" fmla="*/ 282 w 10370"/>
                <a:gd name="connsiteY98" fmla="*/ 2384 h 10000"/>
                <a:gd name="connsiteX99" fmla="*/ 237 w 10370"/>
                <a:gd name="connsiteY99" fmla="*/ 2526 h 10000"/>
                <a:gd name="connsiteX100" fmla="*/ 208 w 10370"/>
                <a:gd name="connsiteY100" fmla="*/ 2666 h 10000"/>
                <a:gd name="connsiteX101" fmla="*/ 170 w 10370"/>
                <a:gd name="connsiteY101" fmla="*/ 2809 h 10000"/>
                <a:gd name="connsiteX102" fmla="*/ 148 w 10370"/>
                <a:gd name="connsiteY102" fmla="*/ 2953 h 10000"/>
                <a:gd name="connsiteX103" fmla="*/ 119 w 10370"/>
                <a:gd name="connsiteY103" fmla="*/ 3095 h 10000"/>
                <a:gd name="connsiteX104" fmla="*/ 96 w 10370"/>
                <a:gd name="connsiteY104" fmla="*/ 3235 h 10000"/>
                <a:gd name="connsiteX105" fmla="*/ 74 w 10370"/>
                <a:gd name="connsiteY105" fmla="*/ 3382 h 10000"/>
                <a:gd name="connsiteX106" fmla="*/ 52 w 10370"/>
                <a:gd name="connsiteY106" fmla="*/ 3534 h 10000"/>
                <a:gd name="connsiteX107" fmla="*/ 37 w 10370"/>
                <a:gd name="connsiteY107" fmla="*/ 3678 h 10000"/>
                <a:gd name="connsiteX108" fmla="*/ 22 w 10370"/>
                <a:gd name="connsiteY108" fmla="*/ 3822 h 10000"/>
                <a:gd name="connsiteX109" fmla="*/ 15 w 10370"/>
                <a:gd name="connsiteY109" fmla="*/ 3966 h 10000"/>
                <a:gd name="connsiteX110" fmla="*/ 7 w 10370"/>
                <a:gd name="connsiteY110" fmla="*/ 4116 h 10000"/>
                <a:gd name="connsiteX111" fmla="*/ 0 w 10370"/>
                <a:gd name="connsiteY111" fmla="*/ 4261 h 10000"/>
                <a:gd name="connsiteX112" fmla="*/ 0 w 10370"/>
                <a:gd name="connsiteY112" fmla="*/ 4413 h 10000"/>
                <a:gd name="connsiteX113" fmla="*/ 7 w 10370"/>
                <a:gd name="connsiteY113" fmla="*/ 4606 h 10000"/>
                <a:gd name="connsiteX114" fmla="*/ 7 w 10370"/>
                <a:gd name="connsiteY114" fmla="*/ 4798 h 10000"/>
                <a:gd name="connsiteX115" fmla="*/ 22 w 10370"/>
                <a:gd name="connsiteY115" fmla="*/ 4977 h 10000"/>
                <a:gd name="connsiteX116" fmla="*/ 37 w 10370"/>
                <a:gd name="connsiteY116" fmla="*/ 5166 h 10000"/>
                <a:gd name="connsiteX117" fmla="*/ 59 w 10370"/>
                <a:gd name="connsiteY117" fmla="*/ 5353 h 10000"/>
                <a:gd name="connsiteX118" fmla="*/ 89 w 10370"/>
                <a:gd name="connsiteY118" fmla="*/ 5540 h 10000"/>
                <a:gd name="connsiteX119" fmla="*/ 119 w 10370"/>
                <a:gd name="connsiteY119" fmla="*/ 5725 h 10000"/>
                <a:gd name="connsiteX120" fmla="*/ 148 w 10370"/>
                <a:gd name="connsiteY120" fmla="*/ 5909 h 10000"/>
                <a:gd name="connsiteX121" fmla="*/ 193 w 10370"/>
                <a:gd name="connsiteY121" fmla="*/ 6093 h 10000"/>
                <a:gd name="connsiteX122" fmla="*/ 237 w 10370"/>
                <a:gd name="connsiteY122" fmla="*/ 6273 h 10000"/>
                <a:gd name="connsiteX123" fmla="*/ 282 w 10370"/>
                <a:gd name="connsiteY123" fmla="*/ 6456 h 10000"/>
                <a:gd name="connsiteX124" fmla="*/ 334 w 10370"/>
                <a:gd name="connsiteY124" fmla="*/ 6633 h 10000"/>
                <a:gd name="connsiteX125" fmla="*/ 393 w 10370"/>
                <a:gd name="connsiteY125" fmla="*/ 6805 h 10000"/>
                <a:gd name="connsiteX126" fmla="*/ 452 w 10370"/>
                <a:gd name="connsiteY126" fmla="*/ 6984 h 10000"/>
                <a:gd name="connsiteX127" fmla="*/ 519 w 10370"/>
                <a:gd name="connsiteY127" fmla="*/ 7156 h 10000"/>
                <a:gd name="connsiteX128" fmla="*/ 586 w 10370"/>
                <a:gd name="connsiteY128" fmla="*/ 7336 h 10000"/>
                <a:gd name="connsiteX129" fmla="*/ 660 w 10370"/>
                <a:gd name="connsiteY129" fmla="*/ 7502 h 10000"/>
                <a:gd name="connsiteX130" fmla="*/ 741 w 10370"/>
                <a:gd name="connsiteY130" fmla="*/ 7665 h 10000"/>
                <a:gd name="connsiteX131" fmla="*/ 823 w 10370"/>
                <a:gd name="connsiteY131" fmla="*/ 7844 h 10000"/>
                <a:gd name="connsiteX132" fmla="*/ 904 w 10370"/>
                <a:gd name="connsiteY132" fmla="*/ 8007 h 10000"/>
                <a:gd name="connsiteX133" fmla="*/ 993 w 10370"/>
                <a:gd name="connsiteY133" fmla="*/ 8168 h 10000"/>
                <a:gd name="connsiteX134" fmla="*/ 1090 w 10370"/>
                <a:gd name="connsiteY134" fmla="*/ 8323 h 10000"/>
                <a:gd name="connsiteX135" fmla="*/ 1186 w 10370"/>
                <a:gd name="connsiteY135" fmla="*/ 8490 h 10000"/>
                <a:gd name="connsiteX136" fmla="*/ 1290 w 10370"/>
                <a:gd name="connsiteY136" fmla="*/ 8651 h 10000"/>
                <a:gd name="connsiteX137" fmla="*/ 1386 w 10370"/>
                <a:gd name="connsiteY137" fmla="*/ 8808 h 10000"/>
                <a:gd name="connsiteX138" fmla="*/ 1497 w 10370"/>
                <a:gd name="connsiteY138" fmla="*/ 8966 h 10000"/>
                <a:gd name="connsiteX139" fmla="*/ 1609 w 10370"/>
                <a:gd name="connsiteY139" fmla="*/ 9114 h 10000"/>
                <a:gd name="connsiteX140" fmla="*/ 1727 w 10370"/>
                <a:gd name="connsiteY140" fmla="*/ 9273 h 10000"/>
                <a:gd name="connsiteX141" fmla="*/ 1846 w 10370"/>
                <a:gd name="connsiteY141" fmla="*/ 9420 h 10000"/>
                <a:gd name="connsiteX142" fmla="*/ 1964 w 10370"/>
                <a:gd name="connsiteY142" fmla="*/ 9566 h 10000"/>
                <a:gd name="connsiteX143" fmla="*/ 2090 w 10370"/>
                <a:gd name="connsiteY143" fmla="*/ 9706 h 10000"/>
                <a:gd name="connsiteX144" fmla="*/ 2224 w 10370"/>
                <a:gd name="connsiteY144" fmla="*/ 9855 h 10000"/>
                <a:gd name="connsiteX145" fmla="*/ 2350 w 10370"/>
                <a:gd name="connsiteY145" fmla="*/ 10000 h 10000"/>
                <a:gd name="connsiteX146" fmla="*/ 4348 w 10370"/>
                <a:gd name="connsiteY146" fmla="*/ 7469 h 10000"/>
                <a:gd name="connsiteX0" fmla="*/ 4348 w 9815"/>
                <a:gd name="connsiteY0" fmla="*/ 7469 h 10000"/>
                <a:gd name="connsiteX1" fmla="*/ 9815 w 9815"/>
                <a:gd name="connsiteY1" fmla="*/ 8007 h 10000"/>
                <a:gd name="connsiteX2" fmla="*/ 9726 w 9815"/>
                <a:gd name="connsiteY2" fmla="*/ 7985 h 10000"/>
                <a:gd name="connsiteX3" fmla="*/ 9637 w 9815"/>
                <a:gd name="connsiteY3" fmla="*/ 7950 h 10000"/>
                <a:gd name="connsiteX4" fmla="*/ 9548 w 9815"/>
                <a:gd name="connsiteY4" fmla="*/ 7925 h 10000"/>
                <a:gd name="connsiteX5" fmla="*/ 9466 w 9815"/>
                <a:gd name="connsiteY5" fmla="*/ 7897 h 10000"/>
                <a:gd name="connsiteX6" fmla="*/ 9377 w 9815"/>
                <a:gd name="connsiteY6" fmla="*/ 7869 h 10000"/>
                <a:gd name="connsiteX7" fmla="*/ 9288 w 9815"/>
                <a:gd name="connsiteY7" fmla="*/ 7837 h 10000"/>
                <a:gd name="connsiteX8" fmla="*/ 9118 w 9815"/>
                <a:gd name="connsiteY8" fmla="*/ 7772 h 10000"/>
                <a:gd name="connsiteX9" fmla="*/ 8955 w 9815"/>
                <a:gd name="connsiteY9" fmla="*/ 7698 h 10000"/>
                <a:gd name="connsiteX10" fmla="*/ 8792 w 9815"/>
                <a:gd name="connsiteY10" fmla="*/ 7624 h 10000"/>
                <a:gd name="connsiteX11" fmla="*/ 8636 w 9815"/>
                <a:gd name="connsiteY11" fmla="*/ 7536 h 10000"/>
                <a:gd name="connsiteX12" fmla="*/ 8480 w 9815"/>
                <a:gd name="connsiteY12" fmla="*/ 7448 h 10000"/>
                <a:gd name="connsiteX13" fmla="*/ 8340 w 9815"/>
                <a:gd name="connsiteY13" fmla="*/ 7365 h 10000"/>
                <a:gd name="connsiteX14" fmla="*/ 8199 w 9815"/>
                <a:gd name="connsiteY14" fmla="*/ 7266 h 10000"/>
                <a:gd name="connsiteX15" fmla="*/ 8058 w 9815"/>
                <a:gd name="connsiteY15" fmla="*/ 7161 h 10000"/>
                <a:gd name="connsiteX16" fmla="*/ 7924 w 9815"/>
                <a:gd name="connsiteY16" fmla="*/ 7056 h 10000"/>
                <a:gd name="connsiteX17" fmla="*/ 7798 w 9815"/>
                <a:gd name="connsiteY17" fmla="*/ 6942 h 10000"/>
                <a:gd name="connsiteX18" fmla="*/ 7672 w 9815"/>
                <a:gd name="connsiteY18" fmla="*/ 6833 h 10000"/>
                <a:gd name="connsiteX19" fmla="*/ 7554 w 9815"/>
                <a:gd name="connsiteY19" fmla="*/ 6719 h 10000"/>
                <a:gd name="connsiteX20" fmla="*/ 7450 w 9815"/>
                <a:gd name="connsiteY20" fmla="*/ 6593 h 10000"/>
                <a:gd name="connsiteX21" fmla="*/ 7346 w 9815"/>
                <a:gd name="connsiteY21" fmla="*/ 6467 h 10000"/>
                <a:gd name="connsiteX22" fmla="*/ 7250 w 9815"/>
                <a:gd name="connsiteY22" fmla="*/ 6338 h 10000"/>
                <a:gd name="connsiteX23" fmla="*/ 7161 w 9815"/>
                <a:gd name="connsiteY23" fmla="*/ 6209 h 10000"/>
                <a:gd name="connsiteX24" fmla="*/ 7072 w 9815"/>
                <a:gd name="connsiteY24" fmla="*/ 6073 h 10000"/>
                <a:gd name="connsiteX25" fmla="*/ 6990 w 9815"/>
                <a:gd name="connsiteY25" fmla="*/ 5928 h 10000"/>
                <a:gd name="connsiteX26" fmla="*/ 6953 w 9815"/>
                <a:gd name="connsiteY26" fmla="*/ 5865 h 10000"/>
                <a:gd name="connsiteX27" fmla="*/ 6916 w 9815"/>
                <a:gd name="connsiteY27" fmla="*/ 5789 h 10000"/>
                <a:gd name="connsiteX28" fmla="*/ 6887 w 9815"/>
                <a:gd name="connsiteY28" fmla="*/ 5721 h 10000"/>
                <a:gd name="connsiteX29" fmla="*/ 6850 w 9815"/>
                <a:gd name="connsiteY29" fmla="*/ 5646 h 10000"/>
                <a:gd name="connsiteX30" fmla="*/ 6820 w 9815"/>
                <a:gd name="connsiteY30" fmla="*/ 5575 h 10000"/>
                <a:gd name="connsiteX31" fmla="*/ 6790 w 9815"/>
                <a:gd name="connsiteY31" fmla="*/ 5501 h 10000"/>
                <a:gd name="connsiteX32" fmla="*/ 6768 w 9815"/>
                <a:gd name="connsiteY32" fmla="*/ 5424 h 10000"/>
                <a:gd name="connsiteX33" fmla="*/ 6738 w 9815"/>
                <a:gd name="connsiteY33" fmla="*/ 5353 h 10000"/>
                <a:gd name="connsiteX34" fmla="*/ 6723 w 9815"/>
                <a:gd name="connsiteY34" fmla="*/ 5274 h 10000"/>
                <a:gd name="connsiteX35" fmla="*/ 6694 w 9815"/>
                <a:gd name="connsiteY35" fmla="*/ 5200 h 10000"/>
                <a:gd name="connsiteX36" fmla="*/ 6679 w 9815"/>
                <a:gd name="connsiteY36" fmla="*/ 5122 h 10000"/>
                <a:gd name="connsiteX37" fmla="*/ 6664 w 9815"/>
                <a:gd name="connsiteY37" fmla="*/ 5048 h 10000"/>
                <a:gd name="connsiteX38" fmla="*/ 6649 w 9815"/>
                <a:gd name="connsiteY38" fmla="*/ 4966 h 10000"/>
                <a:gd name="connsiteX39" fmla="*/ 6635 w 9815"/>
                <a:gd name="connsiteY39" fmla="*/ 4893 h 10000"/>
                <a:gd name="connsiteX40" fmla="*/ 6620 w 9815"/>
                <a:gd name="connsiteY40" fmla="*/ 4815 h 10000"/>
                <a:gd name="connsiteX41" fmla="*/ 6612 w 9815"/>
                <a:gd name="connsiteY41" fmla="*/ 4739 h 10000"/>
                <a:gd name="connsiteX42" fmla="*/ 6605 w 9815"/>
                <a:gd name="connsiteY42" fmla="*/ 4656 h 10000"/>
                <a:gd name="connsiteX43" fmla="*/ 6597 w 9815"/>
                <a:gd name="connsiteY43" fmla="*/ 4573 h 10000"/>
                <a:gd name="connsiteX44" fmla="*/ 6597 w 9815"/>
                <a:gd name="connsiteY44" fmla="*/ 4497 h 10000"/>
                <a:gd name="connsiteX45" fmla="*/ 6590 w 9815"/>
                <a:gd name="connsiteY45" fmla="*/ 4413 h 10000"/>
                <a:gd name="connsiteX46" fmla="*/ 6597 w 9815"/>
                <a:gd name="connsiteY46" fmla="*/ 4334 h 10000"/>
                <a:gd name="connsiteX47" fmla="*/ 6605 w 9815"/>
                <a:gd name="connsiteY47" fmla="*/ 4248 h 10000"/>
                <a:gd name="connsiteX48" fmla="*/ 6605 w 9815"/>
                <a:gd name="connsiteY48" fmla="*/ 4160 h 10000"/>
                <a:gd name="connsiteX49" fmla="*/ 6612 w 9815"/>
                <a:gd name="connsiteY49" fmla="*/ 4075 h 10000"/>
                <a:gd name="connsiteX50" fmla="*/ 6620 w 9815"/>
                <a:gd name="connsiteY50" fmla="*/ 3990 h 10000"/>
                <a:gd name="connsiteX51" fmla="*/ 6635 w 9815"/>
                <a:gd name="connsiteY51" fmla="*/ 3915 h 10000"/>
                <a:gd name="connsiteX52" fmla="*/ 6649 w 9815"/>
                <a:gd name="connsiteY52" fmla="*/ 3830 h 10000"/>
                <a:gd name="connsiteX53" fmla="*/ 6664 w 9815"/>
                <a:gd name="connsiteY53" fmla="*/ 3750 h 10000"/>
                <a:gd name="connsiteX54" fmla="*/ 6686 w 9815"/>
                <a:gd name="connsiteY54" fmla="*/ 3665 h 10000"/>
                <a:gd name="connsiteX55" fmla="*/ 6709 w 9815"/>
                <a:gd name="connsiteY55" fmla="*/ 3589 h 10000"/>
                <a:gd name="connsiteX56" fmla="*/ 6731 w 9815"/>
                <a:gd name="connsiteY56" fmla="*/ 3508 h 10000"/>
                <a:gd name="connsiteX57" fmla="*/ 6753 w 9815"/>
                <a:gd name="connsiteY57" fmla="*/ 3424 h 10000"/>
                <a:gd name="connsiteX58" fmla="*/ 6783 w 9815"/>
                <a:gd name="connsiteY58" fmla="*/ 3355 h 10000"/>
                <a:gd name="connsiteX59" fmla="*/ 6812 w 9815"/>
                <a:gd name="connsiteY59" fmla="*/ 3275 h 10000"/>
                <a:gd name="connsiteX60" fmla="*/ 6842 w 9815"/>
                <a:gd name="connsiteY60" fmla="*/ 3194 h 10000"/>
                <a:gd name="connsiteX61" fmla="*/ 6879 w 9815"/>
                <a:gd name="connsiteY61" fmla="*/ 3118 h 10000"/>
                <a:gd name="connsiteX62" fmla="*/ 6909 w 9815"/>
                <a:gd name="connsiteY62" fmla="*/ 3046 h 10000"/>
                <a:gd name="connsiteX63" fmla="*/ 6946 w 9815"/>
                <a:gd name="connsiteY63" fmla="*/ 2964 h 10000"/>
                <a:gd name="connsiteX64" fmla="*/ 6990 w 9815"/>
                <a:gd name="connsiteY64" fmla="*/ 2898 h 10000"/>
                <a:gd name="connsiteX65" fmla="*/ 7027 w 9815"/>
                <a:gd name="connsiteY65" fmla="*/ 2823 h 10000"/>
                <a:gd name="connsiteX66" fmla="*/ 7072 w 9815"/>
                <a:gd name="connsiteY66" fmla="*/ 2754 h 10000"/>
                <a:gd name="connsiteX67" fmla="*/ 7109 w 9815"/>
                <a:gd name="connsiteY67" fmla="*/ 2676 h 10000"/>
                <a:gd name="connsiteX68" fmla="*/ 7161 w 9815"/>
                <a:gd name="connsiteY68" fmla="*/ 2613 h 10000"/>
                <a:gd name="connsiteX69" fmla="*/ 7213 w 9815"/>
                <a:gd name="connsiteY69" fmla="*/ 2538 h 10000"/>
                <a:gd name="connsiteX70" fmla="*/ 7257 w 9815"/>
                <a:gd name="connsiteY70" fmla="*/ 2471 h 10000"/>
                <a:gd name="connsiteX71" fmla="*/ 7309 w 9815"/>
                <a:gd name="connsiteY71" fmla="*/ 2404 h 10000"/>
                <a:gd name="connsiteX72" fmla="*/ 7361 w 9815"/>
                <a:gd name="connsiteY72" fmla="*/ 2331 h 10000"/>
                <a:gd name="connsiteX73" fmla="*/ 7413 w 9815"/>
                <a:gd name="connsiteY73" fmla="*/ 2269 h 10000"/>
                <a:gd name="connsiteX74" fmla="*/ 7472 w 9815"/>
                <a:gd name="connsiteY74" fmla="*/ 2203 h 10000"/>
                <a:gd name="connsiteX75" fmla="*/ 7524 w 9815"/>
                <a:gd name="connsiteY75" fmla="*/ 2145 h 10000"/>
                <a:gd name="connsiteX76" fmla="*/ 7583 w 9815"/>
                <a:gd name="connsiteY76" fmla="*/ 2077 h 10000"/>
                <a:gd name="connsiteX77" fmla="*/ 7610 w 9815"/>
                <a:gd name="connsiteY77" fmla="*/ 2042 h 10000"/>
                <a:gd name="connsiteX78" fmla="*/ 5390 w 9815"/>
                <a:gd name="connsiteY78" fmla="*/ 6 h 10000"/>
                <a:gd name="connsiteX79" fmla="*/ 1401 w 9815"/>
                <a:gd name="connsiteY79" fmla="*/ 0 h 10000"/>
                <a:gd name="connsiteX80" fmla="*/ 1305 w 9815"/>
                <a:gd name="connsiteY80" fmla="*/ 154 h 10000"/>
                <a:gd name="connsiteX81" fmla="*/ 1223 w 9815"/>
                <a:gd name="connsiteY81" fmla="*/ 269 h 10000"/>
                <a:gd name="connsiteX82" fmla="*/ 1149 w 9815"/>
                <a:gd name="connsiteY82" fmla="*/ 397 h 10000"/>
                <a:gd name="connsiteX83" fmla="*/ 1067 w 9815"/>
                <a:gd name="connsiteY83" fmla="*/ 523 h 10000"/>
                <a:gd name="connsiteX84" fmla="*/ 1001 w 9815"/>
                <a:gd name="connsiteY84" fmla="*/ 650 h 10000"/>
                <a:gd name="connsiteX85" fmla="*/ 927 w 9815"/>
                <a:gd name="connsiteY85" fmla="*/ 775 h 10000"/>
                <a:gd name="connsiteX86" fmla="*/ 860 w 9815"/>
                <a:gd name="connsiteY86" fmla="*/ 910 h 10000"/>
                <a:gd name="connsiteX87" fmla="*/ 793 w 9815"/>
                <a:gd name="connsiteY87" fmla="*/ 1043 h 10000"/>
                <a:gd name="connsiteX88" fmla="*/ 734 w 9815"/>
                <a:gd name="connsiteY88" fmla="*/ 1166 h 10000"/>
                <a:gd name="connsiteX89" fmla="*/ 675 w 9815"/>
                <a:gd name="connsiteY89" fmla="*/ 1304 h 10000"/>
                <a:gd name="connsiteX90" fmla="*/ 615 w 9815"/>
                <a:gd name="connsiteY90" fmla="*/ 1432 h 10000"/>
                <a:gd name="connsiteX91" fmla="*/ 556 w 9815"/>
                <a:gd name="connsiteY91" fmla="*/ 1572 h 10000"/>
                <a:gd name="connsiteX92" fmla="*/ 504 w 9815"/>
                <a:gd name="connsiteY92" fmla="*/ 1699 h 10000"/>
                <a:gd name="connsiteX93" fmla="*/ 452 w 9815"/>
                <a:gd name="connsiteY93" fmla="*/ 1833 h 10000"/>
                <a:gd name="connsiteX94" fmla="*/ 408 w 9815"/>
                <a:gd name="connsiteY94" fmla="*/ 1968 h 10000"/>
                <a:gd name="connsiteX95" fmla="*/ 363 w 9815"/>
                <a:gd name="connsiteY95" fmla="*/ 2104 h 10000"/>
                <a:gd name="connsiteX96" fmla="*/ 319 w 9815"/>
                <a:gd name="connsiteY96" fmla="*/ 2248 h 10000"/>
                <a:gd name="connsiteX97" fmla="*/ 282 w 9815"/>
                <a:gd name="connsiteY97" fmla="*/ 2384 h 10000"/>
                <a:gd name="connsiteX98" fmla="*/ 237 w 9815"/>
                <a:gd name="connsiteY98" fmla="*/ 2526 h 10000"/>
                <a:gd name="connsiteX99" fmla="*/ 208 w 9815"/>
                <a:gd name="connsiteY99" fmla="*/ 2666 h 10000"/>
                <a:gd name="connsiteX100" fmla="*/ 170 w 9815"/>
                <a:gd name="connsiteY100" fmla="*/ 2809 h 10000"/>
                <a:gd name="connsiteX101" fmla="*/ 148 w 9815"/>
                <a:gd name="connsiteY101" fmla="*/ 2953 h 10000"/>
                <a:gd name="connsiteX102" fmla="*/ 119 w 9815"/>
                <a:gd name="connsiteY102" fmla="*/ 3095 h 10000"/>
                <a:gd name="connsiteX103" fmla="*/ 96 w 9815"/>
                <a:gd name="connsiteY103" fmla="*/ 3235 h 10000"/>
                <a:gd name="connsiteX104" fmla="*/ 74 w 9815"/>
                <a:gd name="connsiteY104" fmla="*/ 3382 h 10000"/>
                <a:gd name="connsiteX105" fmla="*/ 52 w 9815"/>
                <a:gd name="connsiteY105" fmla="*/ 3534 h 10000"/>
                <a:gd name="connsiteX106" fmla="*/ 37 w 9815"/>
                <a:gd name="connsiteY106" fmla="*/ 3678 h 10000"/>
                <a:gd name="connsiteX107" fmla="*/ 22 w 9815"/>
                <a:gd name="connsiteY107" fmla="*/ 3822 h 10000"/>
                <a:gd name="connsiteX108" fmla="*/ 15 w 9815"/>
                <a:gd name="connsiteY108" fmla="*/ 3966 h 10000"/>
                <a:gd name="connsiteX109" fmla="*/ 7 w 9815"/>
                <a:gd name="connsiteY109" fmla="*/ 4116 h 10000"/>
                <a:gd name="connsiteX110" fmla="*/ 0 w 9815"/>
                <a:gd name="connsiteY110" fmla="*/ 4261 h 10000"/>
                <a:gd name="connsiteX111" fmla="*/ 0 w 9815"/>
                <a:gd name="connsiteY111" fmla="*/ 4413 h 10000"/>
                <a:gd name="connsiteX112" fmla="*/ 7 w 9815"/>
                <a:gd name="connsiteY112" fmla="*/ 4606 h 10000"/>
                <a:gd name="connsiteX113" fmla="*/ 7 w 9815"/>
                <a:gd name="connsiteY113" fmla="*/ 4798 h 10000"/>
                <a:gd name="connsiteX114" fmla="*/ 22 w 9815"/>
                <a:gd name="connsiteY114" fmla="*/ 4977 h 10000"/>
                <a:gd name="connsiteX115" fmla="*/ 37 w 9815"/>
                <a:gd name="connsiteY115" fmla="*/ 5166 h 10000"/>
                <a:gd name="connsiteX116" fmla="*/ 59 w 9815"/>
                <a:gd name="connsiteY116" fmla="*/ 5353 h 10000"/>
                <a:gd name="connsiteX117" fmla="*/ 89 w 9815"/>
                <a:gd name="connsiteY117" fmla="*/ 5540 h 10000"/>
                <a:gd name="connsiteX118" fmla="*/ 119 w 9815"/>
                <a:gd name="connsiteY118" fmla="*/ 5725 h 10000"/>
                <a:gd name="connsiteX119" fmla="*/ 148 w 9815"/>
                <a:gd name="connsiteY119" fmla="*/ 5909 h 10000"/>
                <a:gd name="connsiteX120" fmla="*/ 193 w 9815"/>
                <a:gd name="connsiteY120" fmla="*/ 6093 h 10000"/>
                <a:gd name="connsiteX121" fmla="*/ 237 w 9815"/>
                <a:gd name="connsiteY121" fmla="*/ 6273 h 10000"/>
                <a:gd name="connsiteX122" fmla="*/ 282 w 9815"/>
                <a:gd name="connsiteY122" fmla="*/ 6456 h 10000"/>
                <a:gd name="connsiteX123" fmla="*/ 334 w 9815"/>
                <a:gd name="connsiteY123" fmla="*/ 6633 h 10000"/>
                <a:gd name="connsiteX124" fmla="*/ 393 w 9815"/>
                <a:gd name="connsiteY124" fmla="*/ 6805 h 10000"/>
                <a:gd name="connsiteX125" fmla="*/ 452 w 9815"/>
                <a:gd name="connsiteY125" fmla="*/ 6984 h 10000"/>
                <a:gd name="connsiteX126" fmla="*/ 519 w 9815"/>
                <a:gd name="connsiteY126" fmla="*/ 7156 h 10000"/>
                <a:gd name="connsiteX127" fmla="*/ 586 w 9815"/>
                <a:gd name="connsiteY127" fmla="*/ 7336 h 10000"/>
                <a:gd name="connsiteX128" fmla="*/ 660 w 9815"/>
                <a:gd name="connsiteY128" fmla="*/ 7502 h 10000"/>
                <a:gd name="connsiteX129" fmla="*/ 741 w 9815"/>
                <a:gd name="connsiteY129" fmla="*/ 7665 h 10000"/>
                <a:gd name="connsiteX130" fmla="*/ 823 w 9815"/>
                <a:gd name="connsiteY130" fmla="*/ 7844 h 10000"/>
                <a:gd name="connsiteX131" fmla="*/ 904 w 9815"/>
                <a:gd name="connsiteY131" fmla="*/ 8007 h 10000"/>
                <a:gd name="connsiteX132" fmla="*/ 993 w 9815"/>
                <a:gd name="connsiteY132" fmla="*/ 8168 h 10000"/>
                <a:gd name="connsiteX133" fmla="*/ 1090 w 9815"/>
                <a:gd name="connsiteY133" fmla="*/ 8323 h 10000"/>
                <a:gd name="connsiteX134" fmla="*/ 1186 w 9815"/>
                <a:gd name="connsiteY134" fmla="*/ 8490 h 10000"/>
                <a:gd name="connsiteX135" fmla="*/ 1290 w 9815"/>
                <a:gd name="connsiteY135" fmla="*/ 8651 h 10000"/>
                <a:gd name="connsiteX136" fmla="*/ 1386 w 9815"/>
                <a:gd name="connsiteY136" fmla="*/ 8808 h 10000"/>
                <a:gd name="connsiteX137" fmla="*/ 1497 w 9815"/>
                <a:gd name="connsiteY137" fmla="*/ 8966 h 10000"/>
                <a:gd name="connsiteX138" fmla="*/ 1609 w 9815"/>
                <a:gd name="connsiteY138" fmla="*/ 9114 h 10000"/>
                <a:gd name="connsiteX139" fmla="*/ 1727 w 9815"/>
                <a:gd name="connsiteY139" fmla="*/ 9273 h 10000"/>
                <a:gd name="connsiteX140" fmla="*/ 1846 w 9815"/>
                <a:gd name="connsiteY140" fmla="*/ 9420 h 10000"/>
                <a:gd name="connsiteX141" fmla="*/ 1964 w 9815"/>
                <a:gd name="connsiteY141" fmla="*/ 9566 h 10000"/>
                <a:gd name="connsiteX142" fmla="*/ 2090 w 9815"/>
                <a:gd name="connsiteY142" fmla="*/ 9706 h 10000"/>
                <a:gd name="connsiteX143" fmla="*/ 2224 w 9815"/>
                <a:gd name="connsiteY143" fmla="*/ 9855 h 10000"/>
                <a:gd name="connsiteX144" fmla="*/ 2350 w 9815"/>
                <a:gd name="connsiteY144" fmla="*/ 10000 h 10000"/>
                <a:gd name="connsiteX145" fmla="*/ 4348 w 9815"/>
                <a:gd name="connsiteY145" fmla="*/ 7469 h 10000"/>
                <a:gd name="connsiteX0" fmla="*/ 4430 w 9909"/>
                <a:gd name="connsiteY0" fmla="*/ 7469 h 10000"/>
                <a:gd name="connsiteX1" fmla="*/ 9909 w 9909"/>
                <a:gd name="connsiteY1" fmla="*/ 7985 h 10000"/>
                <a:gd name="connsiteX2" fmla="*/ 9819 w 9909"/>
                <a:gd name="connsiteY2" fmla="*/ 7950 h 10000"/>
                <a:gd name="connsiteX3" fmla="*/ 9728 w 9909"/>
                <a:gd name="connsiteY3" fmla="*/ 7925 h 10000"/>
                <a:gd name="connsiteX4" fmla="*/ 9644 w 9909"/>
                <a:gd name="connsiteY4" fmla="*/ 7897 h 10000"/>
                <a:gd name="connsiteX5" fmla="*/ 9554 w 9909"/>
                <a:gd name="connsiteY5" fmla="*/ 7869 h 10000"/>
                <a:gd name="connsiteX6" fmla="*/ 9463 w 9909"/>
                <a:gd name="connsiteY6" fmla="*/ 7837 h 10000"/>
                <a:gd name="connsiteX7" fmla="*/ 9290 w 9909"/>
                <a:gd name="connsiteY7" fmla="*/ 7772 h 10000"/>
                <a:gd name="connsiteX8" fmla="*/ 9124 w 9909"/>
                <a:gd name="connsiteY8" fmla="*/ 7698 h 10000"/>
                <a:gd name="connsiteX9" fmla="*/ 8958 w 9909"/>
                <a:gd name="connsiteY9" fmla="*/ 7624 h 10000"/>
                <a:gd name="connsiteX10" fmla="*/ 8799 w 9909"/>
                <a:gd name="connsiteY10" fmla="*/ 7536 h 10000"/>
                <a:gd name="connsiteX11" fmla="*/ 8640 w 9909"/>
                <a:gd name="connsiteY11" fmla="*/ 7448 h 10000"/>
                <a:gd name="connsiteX12" fmla="*/ 8497 w 9909"/>
                <a:gd name="connsiteY12" fmla="*/ 7365 h 10000"/>
                <a:gd name="connsiteX13" fmla="*/ 8354 w 9909"/>
                <a:gd name="connsiteY13" fmla="*/ 7266 h 10000"/>
                <a:gd name="connsiteX14" fmla="*/ 8210 w 9909"/>
                <a:gd name="connsiteY14" fmla="*/ 7161 h 10000"/>
                <a:gd name="connsiteX15" fmla="*/ 8073 w 9909"/>
                <a:gd name="connsiteY15" fmla="*/ 7056 h 10000"/>
                <a:gd name="connsiteX16" fmla="*/ 7945 w 9909"/>
                <a:gd name="connsiteY16" fmla="*/ 6942 h 10000"/>
                <a:gd name="connsiteX17" fmla="*/ 7817 w 9909"/>
                <a:gd name="connsiteY17" fmla="*/ 6833 h 10000"/>
                <a:gd name="connsiteX18" fmla="*/ 7696 w 9909"/>
                <a:gd name="connsiteY18" fmla="*/ 6719 h 10000"/>
                <a:gd name="connsiteX19" fmla="*/ 7590 w 9909"/>
                <a:gd name="connsiteY19" fmla="*/ 6593 h 10000"/>
                <a:gd name="connsiteX20" fmla="*/ 7484 w 9909"/>
                <a:gd name="connsiteY20" fmla="*/ 6467 h 10000"/>
                <a:gd name="connsiteX21" fmla="*/ 7387 w 9909"/>
                <a:gd name="connsiteY21" fmla="*/ 6338 h 10000"/>
                <a:gd name="connsiteX22" fmla="*/ 7296 w 9909"/>
                <a:gd name="connsiteY22" fmla="*/ 6209 h 10000"/>
                <a:gd name="connsiteX23" fmla="*/ 7205 w 9909"/>
                <a:gd name="connsiteY23" fmla="*/ 6073 h 10000"/>
                <a:gd name="connsiteX24" fmla="*/ 7122 w 9909"/>
                <a:gd name="connsiteY24" fmla="*/ 5928 h 10000"/>
                <a:gd name="connsiteX25" fmla="*/ 7084 w 9909"/>
                <a:gd name="connsiteY25" fmla="*/ 5865 h 10000"/>
                <a:gd name="connsiteX26" fmla="*/ 7046 w 9909"/>
                <a:gd name="connsiteY26" fmla="*/ 5789 h 10000"/>
                <a:gd name="connsiteX27" fmla="*/ 7017 w 9909"/>
                <a:gd name="connsiteY27" fmla="*/ 5721 h 10000"/>
                <a:gd name="connsiteX28" fmla="*/ 6979 w 9909"/>
                <a:gd name="connsiteY28" fmla="*/ 5646 h 10000"/>
                <a:gd name="connsiteX29" fmla="*/ 6949 w 9909"/>
                <a:gd name="connsiteY29" fmla="*/ 5575 h 10000"/>
                <a:gd name="connsiteX30" fmla="*/ 6918 w 9909"/>
                <a:gd name="connsiteY30" fmla="*/ 5501 h 10000"/>
                <a:gd name="connsiteX31" fmla="*/ 6896 w 9909"/>
                <a:gd name="connsiteY31" fmla="*/ 5424 h 10000"/>
                <a:gd name="connsiteX32" fmla="*/ 6865 w 9909"/>
                <a:gd name="connsiteY32" fmla="*/ 5353 h 10000"/>
                <a:gd name="connsiteX33" fmla="*/ 6850 w 9909"/>
                <a:gd name="connsiteY33" fmla="*/ 5274 h 10000"/>
                <a:gd name="connsiteX34" fmla="*/ 6820 w 9909"/>
                <a:gd name="connsiteY34" fmla="*/ 5200 h 10000"/>
                <a:gd name="connsiteX35" fmla="*/ 6805 w 9909"/>
                <a:gd name="connsiteY35" fmla="*/ 5122 h 10000"/>
                <a:gd name="connsiteX36" fmla="*/ 6790 w 9909"/>
                <a:gd name="connsiteY36" fmla="*/ 5048 h 10000"/>
                <a:gd name="connsiteX37" fmla="*/ 6774 w 9909"/>
                <a:gd name="connsiteY37" fmla="*/ 4966 h 10000"/>
                <a:gd name="connsiteX38" fmla="*/ 6760 w 9909"/>
                <a:gd name="connsiteY38" fmla="*/ 4893 h 10000"/>
                <a:gd name="connsiteX39" fmla="*/ 6745 w 9909"/>
                <a:gd name="connsiteY39" fmla="*/ 4815 h 10000"/>
                <a:gd name="connsiteX40" fmla="*/ 6737 w 9909"/>
                <a:gd name="connsiteY40" fmla="*/ 4739 h 10000"/>
                <a:gd name="connsiteX41" fmla="*/ 6729 w 9909"/>
                <a:gd name="connsiteY41" fmla="*/ 4656 h 10000"/>
                <a:gd name="connsiteX42" fmla="*/ 6721 w 9909"/>
                <a:gd name="connsiteY42" fmla="*/ 4573 h 10000"/>
                <a:gd name="connsiteX43" fmla="*/ 6721 w 9909"/>
                <a:gd name="connsiteY43" fmla="*/ 4497 h 10000"/>
                <a:gd name="connsiteX44" fmla="*/ 6714 w 9909"/>
                <a:gd name="connsiteY44" fmla="*/ 4413 h 10000"/>
                <a:gd name="connsiteX45" fmla="*/ 6721 w 9909"/>
                <a:gd name="connsiteY45" fmla="*/ 4334 h 10000"/>
                <a:gd name="connsiteX46" fmla="*/ 6729 w 9909"/>
                <a:gd name="connsiteY46" fmla="*/ 4248 h 10000"/>
                <a:gd name="connsiteX47" fmla="*/ 6729 w 9909"/>
                <a:gd name="connsiteY47" fmla="*/ 4160 h 10000"/>
                <a:gd name="connsiteX48" fmla="*/ 6737 w 9909"/>
                <a:gd name="connsiteY48" fmla="*/ 4075 h 10000"/>
                <a:gd name="connsiteX49" fmla="*/ 6745 w 9909"/>
                <a:gd name="connsiteY49" fmla="*/ 3990 h 10000"/>
                <a:gd name="connsiteX50" fmla="*/ 6760 w 9909"/>
                <a:gd name="connsiteY50" fmla="*/ 3915 h 10000"/>
                <a:gd name="connsiteX51" fmla="*/ 6774 w 9909"/>
                <a:gd name="connsiteY51" fmla="*/ 3830 h 10000"/>
                <a:gd name="connsiteX52" fmla="*/ 6790 w 9909"/>
                <a:gd name="connsiteY52" fmla="*/ 3750 h 10000"/>
                <a:gd name="connsiteX53" fmla="*/ 6812 w 9909"/>
                <a:gd name="connsiteY53" fmla="*/ 3665 h 10000"/>
                <a:gd name="connsiteX54" fmla="*/ 6835 w 9909"/>
                <a:gd name="connsiteY54" fmla="*/ 3589 h 10000"/>
                <a:gd name="connsiteX55" fmla="*/ 6858 w 9909"/>
                <a:gd name="connsiteY55" fmla="*/ 3508 h 10000"/>
                <a:gd name="connsiteX56" fmla="*/ 6880 w 9909"/>
                <a:gd name="connsiteY56" fmla="*/ 3424 h 10000"/>
                <a:gd name="connsiteX57" fmla="*/ 6911 w 9909"/>
                <a:gd name="connsiteY57" fmla="*/ 3355 h 10000"/>
                <a:gd name="connsiteX58" fmla="*/ 6940 w 9909"/>
                <a:gd name="connsiteY58" fmla="*/ 3275 h 10000"/>
                <a:gd name="connsiteX59" fmla="*/ 6971 w 9909"/>
                <a:gd name="connsiteY59" fmla="*/ 3194 h 10000"/>
                <a:gd name="connsiteX60" fmla="*/ 7009 w 9909"/>
                <a:gd name="connsiteY60" fmla="*/ 3118 h 10000"/>
                <a:gd name="connsiteX61" fmla="*/ 7039 w 9909"/>
                <a:gd name="connsiteY61" fmla="*/ 3046 h 10000"/>
                <a:gd name="connsiteX62" fmla="*/ 7077 w 9909"/>
                <a:gd name="connsiteY62" fmla="*/ 2964 h 10000"/>
                <a:gd name="connsiteX63" fmla="*/ 7122 w 9909"/>
                <a:gd name="connsiteY63" fmla="*/ 2898 h 10000"/>
                <a:gd name="connsiteX64" fmla="*/ 7159 w 9909"/>
                <a:gd name="connsiteY64" fmla="*/ 2823 h 10000"/>
                <a:gd name="connsiteX65" fmla="*/ 7205 w 9909"/>
                <a:gd name="connsiteY65" fmla="*/ 2754 h 10000"/>
                <a:gd name="connsiteX66" fmla="*/ 7243 w 9909"/>
                <a:gd name="connsiteY66" fmla="*/ 2676 h 10000"/>
                <a:gd name="connsiteX67" fmla="*/ 7296 w 9909"/>
                <a:gd name="connsiteY67" fmla="*/ 2613 h 10000"/>
                <a:gd name="connsiteX68" fmla="*/ 7349 w 9909"/>
                <a:gd name="connsiteY68" fmla="*/ 2538 h 10000"/>
                <a:gd name="connsiteX69" fmla="*/ 7394 w 9909"/>
                <a:gd name="connsiteY69" fmla="*/ 2471 h 10000"/>
                <a:gd name="connsiteX70" fmla="*/ 7447 w 9909"/>
                <a:gd name="connsiteY70" fmla="*/ 2404 h 10000"/>
                <a:gd name="connsiteX71" fmla="*/ 7500 w 9909"/>
                <a:gd name="connsiteY71" fmla="*/ 2331 h 10000"/>
                <a:gd name="connsiteX72" fmla="*/ 7553 w 9909"/>
                <a:gd name="connsiteY72" fmla="*/ 2269 h 10000"/>
                <a:gd name="connsiteX73" fmla="*/ 7613 w 9909"/>
                <a:gd name="connsiteY73" fmla="*/ 2203 h 10000"/>
                <a:gd name="connsiteX74" fmla="*/ 7666 w 9909"/>
                <a:gd name="connsiteY74" fmla="*/ 2145 h 10000"/>
                <a:gd name="connsiteX75" fmla="*/ 7726 w 9909"/>
                <a:gd name="connsiteY75" fmla="*/ 2077 h 10000"/>
                <a:gd name="connsiteX76" fmla="*/ 7753 w 9909"/>
                <a:gd name="connsiteY76" fmla="*/ 2042 h 10000"/>
                <a:gd name="connsiteX77" fmla="*/ 5492 w 9909"/>
                <a:gd name="connsiteY77" fmla="*/ 6 h 10000"/>
                <a:gd name="connsiteX78" fmla="*/ 1427 w 9909"/>
                <a:gd name="connsiteY78" fmla="*/ 0 h 10000"/>
                <a:gd name="connsiteX79" fmla="*/ 1330 w 9909"/>
                <a:gd name="connsiteY79" fmla="*/ 154 h 10000"/>
                <a:gd name="connsiteX80" fmla="*/ 1246 w 9909"/>
                <a:gd name="connsiteY80" fmla="*/ 269 h 10000"/>
                <a:gd name="connsiteX81" fmla="*/ 1171 w 9909"/>
                <a:gd name="connsiteY81" fmla="*/ 397 h 10000"/>
                <a:gd name="connsiteX82" fmla="*/ 1087 w 9909"/>
                <a:gd name="connsiteY82" fmla="*/ 523 h 10000"/>
                <a:gd name="connsiteX83" fmla="*/ 1020 w 9909"/>
                <a:gd name="connsiteY83" fmla="*/ 650 h 10000"/>
                <a:gd name="connsiteX84" fmla="*/ 944 w 9909"/>
                <a:gd name="connsiteY84" fmla="*/ 775 h 10000"/>
                <a:gd name="connsiteX85" fmla="*/ 876 w 9909"/>
                <a:gd name="connsiteY85" fmla="*/ 910 h 10000"/>
                <a:gd name="connsiteX86" fmla="*/ 808 w 9909"/>
                <a:gd name="connsiteY86" fmla="*/ 1043 h 10000"/>
                <a:gd name="connsiteX87" fmla="*/ 748 w 9909"/>
                <a:gd name="connsiteY87" fmla="*/ 1166 h 10000"/>
                <a:gd name="connsiteX88" fmla="*/ 688 w 9909"/>
                <a:gd name="connsiteY88" fmla="*/ 1304 h 10000"/>
                <a:gd name="connsiteX89" fmla="*/ 627 w 9909"/>
                <a:gd name="connsiteY89" fmla="*/ 1432 h 10000"/>
                <a:gd name="connsiteX90" fmla="*/ 566 w 9909"/>
                <a:gd name="connsiteY90" fmla="*/ 1572 h 10000"/>
                <a:gd name="connsiteX91" fmla="*/ 513 w 9909"/>
                <a:gd name="connsiteY91" fmla="*/ 1699 h 10000"/>
                <a:gd name="connsiteX92" fmla="*/ 461 w 9909"/>
                <a:gd name="connsiteY92" fmla="*/ 1833 h 10000"/>
                <a:gd name="connsiteX93" fmla="*/ 416 w 9909"/>
                <a:gd name="connsiteY93" fmla="*/ 1968 h 10000"/>
                <a:gd name="connsiteX94" fmla="*/ 370 w 9909"/>
                <a:gd name="connsiteY94" fmla="*/ 2104 h 10000"/>
                <a:gd name="connsiteX95" fmla="*/ 325 w 9909"/>
                <a:gd name="connsiteY95" fmla="*/ 2248 h 10000"/>
                <a:gd name="connsiteX96" fmla="*/ 287 w 9909"/>
                <a:gd name="connsiteY96" fmla="*/ 2384 h 10000"/>
                <a:gd name="connsiteX97" fmla="*/ 241 w 9909"/>
                <a:gd name="connsiteY97" fmla="*/ 2526 h 10000"/>
                <a:gd name="connsiteX98" fmla="*/ 212 w 9909"/>
                <a:gd name="connsiteY98" fmla="*/ 2666 h 10000"/>
                <a:gd name="connsiteX99" fmla="*/ 173 w 9909"/>
                <a:gd name="connsiteY99" fmla="*/ 2809 h 10000"/>
                <a:gd name="connsiteX100" fmla="*/ 151 w 9909"/>
                <a:gd name="connsiteY100" fmla="*/ 2953 h 10000"/>
                <a:gd name="connsiteX101" fmla="*/ 121 w 9909"/>
                <a:gd name="connsiteY101" fmla="*/ 3095 h 10000"/>
                <a:gd name="connsiteX102" fmla="*/ 98 w 9909"/>
                <a:gd name="connsiteY102" fmla="*/ 3235 h 10000"/>
                <a:gd name="connsiteX103" fmla="*/ 75 w 9909"/>
                <a:gd name="connsiteY103" fmla="*/ 3382 h 10000"/>
                <a:gd name="connsiteX104" fmla="*/ 53 w 9909"/>
                <a:gd name="connsiteY104" fmla="*/ 3534 h 10000"/>
                <a:gd name="connsiteX105" fmla="*/ 38 w 9909"/>
                <a:gd name="connsiteY105" fmla="*/ 3678 h 10000"/>
                <a:gd name="connsiteX106" fmla="*/ 22 w 9909"/>
                <a:gd name="connsiteY106" fmla="*/ 3822 h 10000"/>
                <a:gd name="connsiteX107" fmla="*/ 15 w 9909"/>
                <a:gd name="connsiteY107" fmla="*/ 3966 h 10000"/>
                <a:gd name="connsiteX108" fmla="*/ 7 w 9909"/>
                <a:gd name="connsiteY108" fmla="*/ 4116 h 10000"/>
                <a:gd name="connsiteX109" fmla="*/ 0 w 9909"/>
                <a:gd name="connsiteY109" fmla="*/ 4261 h 10000"/>
                <a:gd name="connsiteX110" fmla="*/ 0 w 9909"/>
                <a:gd name="connsiteY110" fmla="*/ 4413 h 10000"/>
                <a:gd name="connsiteX111" fmla="*/ 7 w 9909"/>
                <a:gd name="connsiteY111" fmla="*/ 4606 h 10000"/>
                <a:gd name="connsiteX112" fmla="*/ 7 w 9909"/>
                <a:gd name="connsiteY112" fmla="*/ 4798 h 10000"/>
                <a:gd name="connsiteX113" fmla="*/ 22 w 9909"/>
                <a:gd name="connsiteY113" fmla="*/ 4977 h 10000"/>
                <a:gd name="connsiteX114" fmla="*/ 38 w 9909"/>
                <a:gd name="connsiteY114" fmla="*/ 5166 h 10000"/>
                <a:gd name="connsiteX115" fmla="*/ 60 w 9909"/>
                <a:gd name="connsiteY115" fmla="*/ 5353 h 10000"/>
                <a:gd name="connsiteX116" fmla="*/ 91 w 9909"/>
                <a:gd name="connsiteY116" fmla="*/ 5540 h 10000"/>
                <a:gd name="connsiteX117" fmla="*/ 121 w 9909"/>
                <a:gd name="connsiteY117" fmla="*/ 5725 h 10000"/>
                <a:gd name="connsiteX118" fmla="*/ 151 w 9909"/>
                <a:gd name="connsiteY118" fmla="*/ 5909 h 10000"/>
                <a:gd name="connsiteX119" fmla="*/ 197 w 9909"/>
                <a:gd name="connsiteY119" fmla="*/ 6093 h 10000"/>
                <a:gd name="connsiteX120" fmla="*/ 241 w 9909"/>
                <a:gd name="connsiteY120" fmla="*/ 6273 h 10000"/>
                <a:gd name="connsiteX121" fmla="*/ 287 w 9909"/>
                <a:gd name="connsiteY121" fmla="*/ 6456 h 10000"/>
                <a:gd name="connsiteX122" fmla="*/ 340 w 9909"/>
                <a:gd name="connsiteY122" fmla="*/ 6633 h 10000"/>
                <a:gd name="connsiteX123" fmla="*/ 400 w 9909"/>
                <a:gd name="connsiteY123" fmla="*/ 6805 h 10000"/>
                <a:gd name="connsiteX124" fmla="*/ 461 w 9909"/>
                <a:gd name="connsiteY124" fmla="*/ 6984 h 10000"/>
                <a:gd name="connsiteX125" fmla="*/ 529 w 9909"/>
                <a:gd name="connsiteY125" fmla="*/ 7156 h 10000"/>
                <a:gd name="connsiteX126" fmla="*/ 597 w 9909"/>
                <a:gd name="connsiteY126" fmla="*/ 7336 h 10000"/>
                <a:gd name="connsiteX127" fmla="*/ 672 w 9909"/>
                <a:gd name="connsiteY127" fmla="*/ 7502 h 10000"/>
                <a:gd name="connsiteX128" fmla="*/ 755 w 9909"/>
                <a:gd name="connsiteY128" fmla="*/ 7665 h 10000"/>
                <a:gd name="connsiteX129" fmla="*/ 839 w 9909"/>
                <a:gd name="connsiteY129" fmla="*/ 7844 h 10000"/>
                <a:gd name="connsiteX130" fmla="*/ 921 w 9909"/>
                <a:gd name="connsiteY130" fmla="*/ 8007 h 10000"/>
                <a:gd name="connsiteX131" fmla="*/ 1012 w 9909"/>
                <a:gd name="connsiteY131" fmla="*/ 8168 h 10000"/>
                <a:gd name="connsiteX132" fmla="*/ 1111 w 9909"/>
                <a:gd name="connsiteY132" fmla="*/ 8323 h 10000"/>
                <a:gd name="connsiteX133" fmla="*/ 1208 w 9909"/>
                <a:gd name="connsiteY133" fmla="*/ 8490 h 10000"/>
                <a:gd name="connsiteX134" fmla="*/ 1314 w 9909"/>
                <a:gd name="connsiteY134" fmla="*/ 8651 h 10000"/>
                <a:gd name="connsiteX135" fmla="*/ 1412 w 9909"/>
                <a:gd name="connsiteY135" fmla="*/ 8808 h 10000"/>
                <a:gd name="connsiteX136" fmla="*/ 1525 w 9909"/>
                <a:gd name="connsiteY136" fmla="*/ 8966 h 10000"/>
                <a:gd name="connsiteX137" fmla="*/ 1639 w 9909"/>
                <a:gd name="connsiteY137" fmla="*/ 9114 h 10000"/>
                <a:gd name="connsiteX138" fmla="*/ 1760 w 9909"/>
                <a:gd name="connsiteY138" fmla="*/ 9273 h 10000"/>
                <a:gd name="connsiteX139" fmla="*/ 1881 w 9909"/>
                <a:gd name="connsiteY139" fmla="*/ 9420 h 10000"/>
                <a:gd name="connsiteX140" fmla="*/ 2001 w 9909"/>
                <a:gd name="connsiteY140" fmla="*/ 9566 h 10000"/>
                <a:gd name="connsiteX141" fmla="*/ 2129 w 9909"/>
                <a:gd name="connsiteY141" fmla="*/ 9706 h 10000"/>
                <a:gd name="connsiteX142" fmla="*/ 2266 w 9909"/>
                <a:gd name="connsiteY142" fmla="*/ 9855 h 10000"/>
                <a:gd name="connsiteX143" fmla="*/ 2394 w 9909"/>
                <a:gd name="connsiteY143" fmla="*/ 10000 h 10000"/>
                <a:gd name="connsiteX144" fmla="*/ 4430 w 9909"/>
                <a:gd name="connsiteY144" fmla="*/ 7469 h 10000"/>
                <a:gd name="connsiteX0" fmla="*/ 4471 w 9909"/>
                <a:gd name="connsiteY0" fmla="*/ 7469 h 10000"/>
                <a:gd name="connsiteX1" fmla="*/ 9909 w 9909"/>
                <a:gd name="connsiteY1" fmla="*/ 7950 h 10000"/>
                <a:gd name="connsiteX2" fmla="*/ 9817 w 9909"/>
                <a:gd name="connsiteY2" fmla="*/ 7925 h 10000"/>
                <a:gd name="connsiteX3" fmla="*/ 9733 w 9909"/>
                <a:gd name="connsiteY3" fmla="*/ 7897 h 10000"/>
                <a:gd name="connsiteX4" fmla="*/ 9642 w 9909"/>
                <a:gd name="connsiteY4" fmla="*/ 7869 h 10000"/>
                <a:gd name="connsiteX5" fmla="*/ 9550 w 9909"/>
                <a:gd name="connsiteY5" fmla="*/ 7837 h 10000"/>
                <a:gd name="connsiteX6" fmla="*/ 9375 w 9909"/>
                <a:gd name="connsiteY6" fmla="*/ 7772 h 10000"/>
                <a:gd name="connsiteX7" fmla="*/ 9208 w 9909"/>
                <a:gd name="connsiteY7" fmla="*/ 7698 h 10000"/>
                <a:gd name="connsiteX8" fmla="*/ 9040 w 9909"/>
                <a:gd name="connsiteY8" fmla="*/ 7624 h 10000"/>
                <a:gd name="connsiteX9" fmla="*/ 8880 w 9909"/>
                <a:gd name="connsiteY9" fmla="*/ 7536 h 10000"/>
                <a:gd name="connsiteX10" fmla="*/ 8719 w 9909"/>
                <a:gd name="connsiteY10" fmla="*/ 7448 h 10000"/>
                <a:gd name="connsiteX11" fmla="*/ 8575 w 9909"/>
                <a:gd name="connsiteY11" fmla="*/ 7365 h 10000"/>
                <a:gd name="connsiteX12" fmla="*/ 8431 w 9909"/>
                <a:gd name="connsiteY12" fmla="*/ 7266 h 10000"/>
                <a:gd name="connsiteX13" fmla="*/ 8285 w 9909"/>
                <a:gd name="connsiteY13" fmla="*/ 7161 h 10000"/>
                <a:gd name="connsiteX14" fmla="*/ 8147 w 9909"/>
                <a:gd name="connsiteY14" fmla="*/ 7056 h 10000"/>
                <a:gd name="connsiteX15" fmla="*/ 8018 w 9909"/>
                <a:gd name="connsiteY15" fmla="*/ 6942 h 10000"/>
                <a:gd name="connsiteX16" fmla="*/ 7889 w 9909"/>
                <a:gd name="connsiteY16" fmla="*/ 6833 h 10000"/>
                <a:gd name="connsiteX17" fmla="*/ 7767 w 9909"/>
                <a:gd name="connsiteY17" fmla="*/ 6719 h 10000"/>
                <a:gd name="connsiteX18" fmla="*/ 7660 w 9909"/>
                <a:gd name="connsiteY18" fmla="*/ 6593 h 10000"/>
                <a:gd name="connsiteX19" fmla="*/ 7553 w 9909"/>
                <a:gd name="connsiteY19" fmla="*/ 6467 h 10000"/>
                <a:gd name="connsiteX20" fmla="*/ 7455 w 9909"/>
                <a:gd name="connsiteY20" fmla="*/ 6338 h 10000"/>
                <a:gd name="connsiteX21" fmla="*/ 7363 w 9909"/>
                <a:gd name="connsiteY21" fmla="*/ 6209 h 10000"/>
                <a:gd name="connsiteX22" fmla="*/ 7271 w 9909"/>
                <a:gd name="connsiteY22" fmla="*/ 6073 h 10000"/>
                <a:gd name="connsiteX23" fmla="*/ 7187 w 9909"/>
                <a:gd name="connsiteY23" fmla="*/ 5928 h 10000"/>
                <a:gd name="connsiteX24" fmla="*/ 7149 w 9909"/>
                <a:gd name="connsiteY24" fmla="*/ 5865 h 10000"/>
                <a:gd name="connsiteX25" fmla="*/ 7111 w 9909"/>
                <a:gd name="connsiteY25" fmla="*/ 5789 h 10000"/>
                <a:gd name="connsiteX26" fmla="*/ 7081 w 9909"/>
                <a:gd name="connsiteY26" fmla="*/ 5721 h 10000"/>
                <a:gd name="connsiteX27" fmla="*/ 7043 w 9909"/>
                <a:gd name="connsiteY27" fmla="*/ 5646 h 10000"/>
                <a:gd name="connsiteX28" fmla="*/ 7013 w 9909"/>
                <a:gd name="connsiteY28" fmla="*/ 5575 h 10000"/>
                <a:gd name="connsiteX29" fmla="*/ 6982 w 9909"/>
                <a:gd name="connsiteY29" fmla="*/ 5501 h 10000"/>
                <a:gd name="connsiteX30" fmla="*/ 6959 w 9909"/>
                <a:gd name="connsiteY30" fmla="*/ 5424 h 10000"/>
                <a:gd name="connsiteX31" fmla="*/ 6928 w 9909"/>
                <a:gd name="connsiteY31" fmla="*/ 5353 h 10000"/>
                <a:gd name="connsiteX32" fmla="*/ 6913 w 9909"/>
                <a:gd name="connsiteY32" fmla="*/ 5274 h 10000"/>
                <a:gd name="connsiteX33" fmla="*/ 6883 w 9909"/>
                <a:gd name="connsiteY33" fmla="*/ 5200 h 10000"/>
                <a:gd name="connsiteX34" fmla="*/ 6867 w 9909"/>
                <a:gd name="connsiteY34" fmla="*/ 5122 h 10000"/>
                <a:gd name="connsiteX35" fmla="*/ 6852 w 9909"/>
                <a:gd name="connsiteY35" fmla="*/ 5048 h 10000"/>
                <a:gd name="connsiteX36" fmla="*/ 6836 w 9909"/>
                <a:gd name="connsiteY36" fmla="*/ 4966 h 10000"/>
                <a:gd name="connsiteX37" fmla="*/ 6822 w 9909"/>
                <a:gd name="connsiteY37" fmla="*/ 4893 h 10000"/>
                <a:gd name="connsiteX38" fmla="*/ 6807 w 9909"/>
                <a:gd name="connsiteY38" fmla="*/ 4815 h 10000"/>
                <a:gd name="connsiteX39" fmla="*/ 6799 w 9909"/>
                <a:gd name="connsiteY39" fmla="*/ 4739 h 10000"/>
                <a:gd name="connsiteX40" fmla="*/ 6791 w 9909"/>
                <a:gd name="connsiteY40" fmla="*/ 4656 h 10000"/>
                <a:gd name="connsiteX41" fmla="*/ 6783 w 9909"/>
                <a:gd name="connsiteY41" fmla="*/ 4573 h 10000"/>
                <a:gd name="connsiteX42" fmla="*/ 6783 w 9909"/>
                <a:gd name="connsiteY42" fmla="*/ 4497 h 10000"/>
                <a:gd name="connsiteX43" fmla="*/ 6776 w 9909"/>
                <a:gd name="connsiteY43" fmla="*/ 4413 h 10000"/>
                <a:gd name="connsiteX44" fmla="*/ 6783 w 9909"/>
                <a:gd name="connsiteY44" fmla="*/ 4334 h 10000"/>
                <a:gd name="connsiteX45" fmla="*/ 6791 w 9909"/>
                <a:gd name="connsiteY45" fmla="*/ 4248 h 10000"/>
                <a:gd name="connsiteX46" fmla="*/ 6791 w 9909"/>
                <a:gd name="connsiteY46" fmla="*/ 4160 h 10000"/>
                <a:gd name="connsiteX47" fmla="*/ 6799 w 9909"/>
                <a:gd name="connsiteY47" fmla="*/ 4075 h 10000"/>
                <a:gd name="connsiteX48" fmla="*/ 6807 w 9909"/>
                <a:gd name="connsiteY48" fmla="*/ 3990 h 10000"/>
                <a:gd name="connsiteX49" fmla="*/ 6822 w 9909"/>
                <a:gd name="connsiteY49" fmla="*/ 3915 h 10000"/>
                <a:gd name="connsiteX50" fmla="*/ 6836 w 9909"/>
                <a:gd name="connsiteY50" fmla="*/ 3830 h 10000"/>
                <a:gd name="connsiteX51" fmla="*/ 6852 w 9909"/>
                <a:gd name="connsiteY51" fmla="*/ 3750 h 10000"/>
                <a:gd name="connsiteX52" fmla="*/ 6875 w 9909"/>
                <a:gd name="connsiteY52" fmla="*/ 3665 h 10000"/>
                <a:gd name="connsiteX53" fmla="*/ 6898 w 9909"/>
                <a:gd name="connsiteY53" fmla="*/ 3589 h 10000"/>
                <a:gd name="connsiteX54" fmla="*/ 6921 w 9909"/>
                <a:gd name="connsiteY54" fmla="*/ 3508 h 10000"/>
                <a:gd name="connsiteX55" fmla="*/ 6943 w 9909"/>
                <a:gd name="connsiteY55" fmla="*/ 3424 h 10000"/>
                <a:gd name="connsiteX56" fmla="*/ 6974 w 9909"/>
                <a:gd name="connsiteY56" fmla="*/ 3355 h 10000"/>
                <a:gd name="connsiteX57" fmla="*/ 7004 w 9909"/>
                <a:gd name="connsiteY57" fmla="*/ 3275 h 10000"/>
                <a:gd name="connsiteX58" fmla="*/ 7035 w 9909"/>
                <a:gd name="connsiteY58" fmla="*/ 3194 h 10000"/>
                <a:gd name="connsiteX59" fmla="*/ 7073 w 9909"/>
                <a:gd name="connsiteY59" fmla="*/ 3118 h 10000"/>
                <a:gd name="connsiteX60" fmla="*/ 7104 w 9909"/>
                <a:gd name="connsiteY60" fmla="*/ 3046 h 10000"/>
                <a:gd name="connsiteX61" fmla="*/ 7142 w 9909"/>
                <a:gd name="connsiteY61" fmla="*/ 2964 h 10000"/>
                <a:gd name="connsiteX62" fmla="*/ 7187 w 9909"/>
                <a:gd name="connsiteY62" fmla="*/ 2898 h 10000"/>
                <a:gd name="connsiteX63" fmla="*/ 7225 w 9909"/>
                <a:gd name="connsiteY63" fmla="*/ 2823 h 10000"/>
                <a:gd name="connsiteX64" fmla="*/ 7271 w 9909"/>
                <a:gd name="connsiteY64" fmla="*/ 2754 h 10000"/>
                <a:gd name="connsiteX65" fmla="*/ 7310 w 9909"/>
                <a:gd name="connsiteY65" fmla="*/ 2676 h 10000"/>
                <a:gd name="connsiteX66" fmla="*/ 7363 w 9909"/>
                <a:gd name="connsiteY66" fmla="*/ 2613 h 10000"/>
                <a:gd name="connsiteX67" fmla="*/ 7416 w 9909"/>
                <a:gd name="connsiteY67" fmla="*/ 2538 h 10000"/>
                <a:gd name="connsiteX68" fmla="*/ 7462 w 9909"/>
                <a:gd name="connsiteY68" fmla="*/ 2471 h 10000"/>
                <a:gd name="connsiteX69" fmla="*/ 7515 w 9909"/>
                <a:gd name="connsiteY69" fmla="*/ 2404 h 10000"/>
                <a:gd name="connsiteX70" fmla="*/ 7569 w 9909"/>
                <a:gd name="connsiteY70" fmla="*/ 2331 h 10000"/>
                <a:gd name="connsiteX71" fmla="*/ 7622 w 9909"/>
                <a:gd name="connsiteY71" fmla="*/ 2269 h 10000"/>
                <a:gd name="connsiteX72" fmla="*/ 7683 w 9909"/>
                <a:gd name="connsiteY72" fmla="*/ 2203 h 10000"/>
                <a:gd name="connsiteX73" fmla="*/ 7736 w 9909"/>
                <a:gd name="connsiteY73" fmla="*/ 2145 h 10000"/>
                <a:gd name="connsiteX74" fmla="*/ 7797 w 9909"/>
                <a:gd name="connsiteY74" fmla="*/ 2077 h 10000"/>
                <a:gd name="connsiteX75" fmla="*/ 7824 w 9909"/>
                <a:gd name="connsiteY75" fmla="*/ 2042 h 10000"/>
                <a:gd name="connsiteX76" fmla="*/ 5542 w 9909"/>
                <a:gd name="connsiteY76" fmla="*/ 6 h 10000"/>
                <a:gd name="connsiteX77" fmla="*/ 1440 w 9909"/>
                <a:gd name="connsiteY77" fmla="*/ 0 h 10000"/>
                <a:gd name="connsiteX78" fmla="*/ 1342 w 9909"/>
                <a:gd name="connsiteY78" fmla="*/ 154 h 10000"/>
                <a:gd name="connsiteX79" fmla="*/ 1257 w 9909"/>
                <a:gd name="connsiteY79" fmla="*/ 269 h 10000"/>
                <a:gd name="connsiteX80" fmla="*/ 1182 w 9909"/>
                <a:gd name="connsiteY80" fmla="*/ 397 h 10000"/>
                <a:gd name="connsiteX81" fmla="*/ 1097 w 9909"/>
                <a:gd name="connsiteY81" fmla="*/ 523 h 10000"/>
                <a:gd name="connsiteX82" fmla="*/ 1029 w 9909"/>
                <a:gd name="connsiteY82" fmla="*/ 650 h 10000"/>
                <a:gd name="connsiteX83" fmla="*/ 953 w 9909"/>
                <a:gd name="connsiteY83" fmla="*/ 775 h 10000"/>
                <a:gd name="connsiteX84" fmla="*/ 884 w 9909"/>
                <a:gd name="connsiteY84" fmla="*/ 910 h 10000"/>
                <a:gd name="connsiteX85" fmla="*/ 815 w 9909"/>
                <a:gd name="connsiteY85" fmla="*/ 1043 h 10000"/>
                <a:gd name="connsiteX86" fmla="*/ 755 w 9909"/>
                <a:gd name="connsiteY86" fmla="*/ 1166 h 10000"/>
                <a:gd name="connsiteX87" fmla="*/ 694 w 9909"/>
                <a:gd name="connsiteY87" fmla="*/ 1304 h 10000"/>
                <a:gd name="connsiteX88" fmla="*/ 633 w 9909"/>
                <a:gd name="connsiteY88" fmla="*/ 1432 h 10000"/>
                <a:gd name="connsiteX89" fmla="*/ 571 w 9909"/>
                <a:gd name="connsiteY89" fmla="*/ 1572 h 10000"/>
                <a:gd name="connsiteX90" fmla="*/ 518 w 9909"/>
                <a:gd name="connsiteY90" fmla="*/ 1699 h 10000"/>
                <a:gd name="connsiteX91" fmla="*/ 465 w 9909"/>
                <a:gd name="connsiteY91" fmla="*/ 1833 h 10000"/>
                <a:gd name="connsiteX92" fmla="*/ 420 w 9909"/>
                <a:gd name="connsiteY92" fmla="*/ 1968 h 10000"/>
                <a:gd name="connsiteX93" fmla="*/ 373 w 9909"/>
                <a:gd name="connsiteY93" fmla="*/ 2104 h 10000"/>
                <a:gd name="connsiteX94" fmla="*/ 328 w 9909"/>
                <a:gd name="connsiteY94" fmla="*/ 2248 h 10000"/>
                <a:gd name="connsiteX95" fmla="*/ 290 w 9909"/>
                <a:gd name="connsiteY95" fmla="*/ 2384 h 10000"/>
                <a:gd name="connsiteX96" fmla="*/ 243 w 9909"/>
                <a:gd name="connsiteY96" fmla="*/ 2526 h 10000"/>
                <a:gd name="connsiteX97" fmla="*/ 214 w 9909"/>
                <a:gd name="connsiteY97" fmla="*/ 2666 h 10000"/>
                <a:gd name="connsiteX98" fmla="*/ 175 w 9909"/>
                <a:gd name="connsiteY98" fmla="*/ 2809 h 10000"/>
                <a:gd name="connsiteX99" fmla="*/ 152 w 9909"/>
                <a:gd name="connsiteY99" fmla="*/ 2953 h 10000"/>
                <a:gd name="connsiteX100" fmla="*/ 122 w 9909"/>
                <a:gd name="connsiteY100" fmla="*/ 3095 h 10000"/>
                <a:gd name="connsiteX101" fmla="*/ 99 w 9909"/>
                <a:gd name="connsiteY101" fmla="*/ 3235 h 10000"/>
                <a:gd name="connsiteX102" fmla="*/ 76 w 9909"/>
                <a:gd name="connsiteY102" fmla="*/ 3382 h 10000"/>
                <a:gd name="connsiteX103" fmla="*/ 53 w 9909"/>
                <a:gd name="connsiteY103" fmla="*/ 3534 h 10000"/>
                <a:gd name="connsiteX104" fmla="*/ 38 w 9909"/>
                <a:gd name="connsiteY104" fmla="*/ 3678 h 10000"/>
                <a:gd name="connsiteX105" fmla="*/ 22 w 9909"/>
                <a:gd name="connsiteY105" fmla="*/ 3822 h 10000"/>
                <a:gd name="connsiteX106" fmla="*/ 15 w 9909"/>
                <a:gd name="connsiteY106" fmla="*/ 3966 h 10000"/>
                <a:gd name="connsiteX107" fmla="*/ 7 w 9909"/>
                <a:gd name="connsiteY107" fmla="*/ 4116 h 10000"/>
                <a:gd name="connsiteX108" fmla="*/ 0 w 9909"/>
                <a:gd name="connsiteY108" fmla="*/ 4261 h 10000"/>
                <a:gd name="connsiteX109" fmla="*/ 0 w 9909"/>
                <a:gd name="connsiteY109" fmla="*/ 4413 h 10000"/>
                <a:gd name="connsiteX110" fmla="*/ 7 w 9909"/>
                <a:gd name="connsiteY110" fmla="*/ 4606 h 10000"/>
                <a:gd name="connsiteX111" fmla="*/ 7 w 9909"/>
                <a:gd name="connsiteY111" fmla="*/ 4798 h 10000"/>
                <a:gd name="connsiteX112" fmla="*/ 22 w 9909"/>
                <a:gd name="connsiteY112" fmla="*/ 4977 h 10000"/>
                <a:gd name="connsiteX113" fmla="*/ 38 w 9909"/>
                <a:gd name="connsiteY113" fmla="*/ 5166 h 10000"/>
                <a:gd name="connsiteX114" fmla="*/ 61 w 9909"/>
                <a:gd name="connsiteY114" fmla="*/ 5353 h 10000"/>
                <a:gd name="connsiteX115" fmla="*/ 92 w 9909"/>
                <a:gd name="connsiteY115" fmla="*/ 5540 h 10000"/>
                <a:gd name="connsiteX116" fmla="*/ 122 w 9909"/>
                <a:gd name="connsiteY116" fmla="*/ 5725 h 10000"/>
                <a:gd name="connsiteX117" fmla="*/ 152 w 9909"/>
                <a:gd name="connsiteY117" fmla="*/ 5909 h 10000"/>
                <a:gd name="connsiteX118" fmla="*/ 199 w 9909"/>
                <a:gd name="connsiteY118" fmla="*/ 6093 h 10000"/>
                <a:gd name="connsiteX119" fmla="*/ 243 w 9909"/>
                <a:gd name="connsiteY119" fmla="*/ 6273 h 10000"/>
                <a:gd name="connsiteX120" fmla="*/ 290 w 9909"/>
                <a:gd name="connsiteY120" fmla="*/ 6456 h 10000"/>
                <a:gd name="connsiteX121" fmla="*/ 343 w 9909"/>
                <a:gd name="connsiteY121" fmla="*/ 6633 h 10000"/>
                <a:gd name="connsiteX122" fmla="*/ 404 w 9909"/>
                <a:gd name="connsiteY122" fmla="*/ 6805 h 10000"/>
                <a:gd name="connsiteX123" fmla="*/ 465 w 9909"/>
                <a:gd name="connsiteY123" fmla="*/ 6984 h 10000"/>
                <a:gd name="connsiteX124" fmla="*/ 534 w 9909"/>
                <a:gd name="connsiteY124" fmla="*/ 7156 h 10000"/>
                <a:gd name="connsiteX125" fmla="*/ 602 w 9909"/>
                <a:gd name="connsiteY125" fmla="*/ 7336 h 10000"/>
                <a:gd name="connsiteX126" fmla="*/ 678 w 9909"/>
                <a:gd name="connsiteY126" fmla="*/ 7502 h 10000"/>
                <a:gd name="connsiteX127" fmla="*/ 762 w 9909"/>
                <a:gd name="connsiteY127" fmla="*/ 7665 h 10000"/>
                <a:gd name="connsiteX128" fmla="*/ 847 w 9909"/>
                <a:gd name="connsiteY128" fmla="*/ 7844 h 10000"/>
                <a:gd name="connsiteX129" fmla="*/ 929 w 9909"/>
                <a:gd name="connsiteY129" fmla="*/ 8007 h 10000"/>
                <a:gd name="connsiteX130" fmla="*/ 1021 w 9909"/>
                <a:gd name="connsiteY130" fmla="*/ 8168 h 10000"/>
                <a:gd name="connsiteX131" fmla="*/ 1121 w 9909"/>
                <a:gd name="connsiteY131" fmla="*/ 8323 h 10000"/>
                <a:gd name="connsiteX132" fmla="*/ 1219 w 9909"/>
                <a:gd name="connsiteY132" fmla="*/ 8490 h 10000"/>
                <a:gd name="connsiteX133" fmla="*/ 1326 w 9909"/>
                <a:gd name="connsiteY133" fmla="*/ 8651 h 10000"/>
                <a:gd name="connsiteX134" fmla="*/ 1425 w 9909"/>
                <a:gd name="connsiteY134" fmla="*/ 8808 h 10000"/>
                <a:gd name="connsiteX135" fmla="*/ 1539 w 9909"/>
                <a:gd name="connsiteY135" fmla="*/ 8966 h 10000"/>
                <a:gd name="connsiteX136" fmla="*/ 1654 w 9909"/>
                <a:gd name="connsiteY136" fmla="*/ 9114 h 10000"/>
                <a:gd name="connsiteX137" fmla="*/ 1776 w 9909"/>
                <a:gd name="connsiteY137" fmla="*/ 9273 h 10000"/>
                <a:gd name="connsiteX138" fmla="*/ 1898 w 9909"/>
                <a:gd name="connsiteY138" fmla="*/ 9420 h 10000"/>
                <a:gd name="connsiteX139" fmla="*/ 2019 w 9909"/>
                <a:gd name="connsiteY139" fmla="*/ 9566 h 10000"/>
                <a:gd name="connsiteX140" fmla="*/ 2149 w 9909"/>
                <a:gd name="connsiteY140" fmla="*/ 9706 h 10000"/>
                <a:gd name="connsiteX141" fmla="*/ 2287 w 9909"/>
                <a:gd name="connsiteY141" fmla="*/ 9855 h 10000"/>
                <a:gd name="connsiteX142" fmla="*/ 2416 w 9909"/>
                <a:gd name="connsiteY142" fmla="*/ 10000 h 10000"/>
                <a:gd name="connsiteX143" fmla="*/ 4471 w 9909"/>
                <a:gd name="connsiteY143" fmla="*/ 7469 h 10000"/>
                <a:gd name="connsiteX0" fmla="*/ 4512 w 9907"/>
                <a:gd name="connsiteY0" fmla="*/ 7469 h 10000"/>
                <a:gd name="connsiteX1" fmla="*/ 9907 w 9907"/>
                <a:gd name="connsiteY1" fmla="*/ 7925 h 10000"/>
                <a:gd name="connsiteX2" fmla="*/ 9822 w 9907"/>
                <a:gd name="connsiteY2" fmla="*/ 7897 h 10000"/>
                <a:gd name="connsiteX3" fmla="*/ 9731 w 9907"/>
                <a:gd name="connsiteY3" fmla="*/ 7869 h 10000"/>
                <a:gd name="connsiteX4" fmla="*/ 9638 w 9907"/>
                <a:gd name="connsiteY4" fmla="*/ 7837 h 10000"/>
                <a:gd name="connsiteX5" fmla="*/ 9461 w 9907"/>
                <a:gd name="connsiteY5" fmla="*/ 7772 h 10000"/>
                <a:gd name="connsiteX6" fmla="*/ 9293 w 9907"/>
                <a:gd name="connsiteY6" fmla="*/ 7698 h 10000"/>
                <a:gd name="connsiteX7" fmla="*/ 9123 w 9907"/>
                <a:gd name="connsiteY7" fmla="*/ 7624 h 10000"/>
                <a:gd name="connsiteX8" fmla="*/ 8962 w 9907"/>
                <a:gd name="connsiteY8" fmla="*/ 7536 h 10000"/>
                <a:gd name="connsiteX9" fmla="*/ 8799 w 9907"/>
                <a:gd name="connsiteY9" fmla="*/ 7448 h 10000"/>
                <a:gd name="connsiteX10" fmla="*/ 8654 w 9907"/>
                <a:gd name="connsiteY10" fmla="*/ 7365 h 10000"/>
                <a:gd name="connsiteX11" fmla="*/ 8508 w 9907"/>
                <a:gd name="connsiteY11" fmla="*/ 7266 h 10000"/>
                <a:gd name="connsiteX12" fmla="*/ 8361 w 9907"/>
                <a:gd name="connsiteY12" fmla="*/ 7161 h 10000"/>
                <a:gd name="connsiteX13" fmla="*/ 8222 w 9907"/>
                <a:gd name="connsiteY13" fmla="*/ 7056 h 10000"/>
                <a:gd name="connsiteX14" fmla="*/ 8092 w 9907"/>
                <a:gd name="connsiteY14" fmla="*/ 6942 h 10000"/>
                <a:gd name="connsiteX15" fmla="*/ 7961 w 9907"/>
                <a:gd name="connsiteY15" fmla="*/ 6833 h 10000"/>
                <a:gd name="connsiteX16" fmla="*/ 7838 w 9907"/>
                <a:gd name="connsiteY16" fmla="*/ 6719 h 10000"/>
                <a:gd name="connsiteX17" fmla="*/ 7730 w 9907"/>
                <a:gd name="connsiteY17" fmla="*/ 6593 h 10000"/>
                <a:gd name="connsiteX18" fmla="*/ 7622 w 9907"/>
                <a:gd name="connsiteY18" fmla="*/ 6467 h 10000"/>
                <a:gd name="connsiteX19" fmla="*/ 7523 w 9907"/>
                <a:gd name="connsiteY19" fmla="*/ 6338 h 10000"/>
                <a:gd name="connsiteX20" fmla="*/ 7431 w 9907"/>
                <a:gd name="connsiteY20" fmla="*/ 6209 h 10000"/>
                <a:gd name="connsiteX21" fmla="*/ 7338 w 9907"/>
                <a:gd name="connsiteY21" fmla="*/ 6073 h 10000"/>
                <a:gd name="connsiteX22" fmla="*/ 7253 w 9907"/>
                <a:gd name="connsiteY22" fmla="*/ 5928 h 10000"/>
                <a:gd name="connsiteX23" fmla="*/ 7215 w 9907"/>
                <a:gd name="connsiteY23" fmla="*/ 5865 h 10000"/>
                <a:gd name="connsiteX24" fmla="*/ 7176 w 9907"/>
                <a:gd name="connsiteY24" fmla="*/ 5789 h 10000"/>
                <a:gd name="connsiteX25" fmla="*/ 7146 w 9907"/>
                <a:gd name="connsiteY25" fmla="*/ 5721 h 10000"/>
                <a:gd name="connsiteX26" fmla="*/ 7108 w 9907"/>
                <a:gd name="connsiteY26" fmla="*/ 5646 h 10000"/>
                <a:gd name="connsiteX27" fmla="*/ 7077 w 9907"/>
                <a:gd name="connsiteY27" fmla="*/ 5575 h 10000"/>
                <a:gd name="connsiteX28" fmla="*/ 7046 w 9907"/>
                <a:gd name="connsiteY28" fmla="*/ 5501 h 10000"/>
                <a:gd name="connsiteX29" fmla="*/ 7023 w 9907"/>
                <a:gd name="connsiteY29" fmla="*/ 5424 h 10000"/>
                <a:gd name="connsiteX30" fmla="*/ 6992 w 9907"/>
                <a:gd name="connsiteY30" fmla="*/ 5353 h 10000"/>
                <a:gd name="connsiteX31" fmla="*/ 6976 w 9907"/>
                <a:gd name="connsiteY31" fmla="*/ 5274 h 10000"/>
                <a:gd name="connsiteX32" fmla="*/ 6946 w 9907"/>
                <a:gd name="connsiteY32" fmla="*/ 5200 h 10000"/>
                <a:gd name="connsiteX33" fmla="*/ 6930 w 9907"/>
                <a:gd name="connsiteY33" fmla="*/ 5122 h 10000"/>
                <a:gd name="connsiteX34" fmla="*/ 6915 w 9907"/>
                <a:gd name="connsiteY34" fmla="*/ 5048 h 10000"/>
                <a:gd name="connsiteX35" fmla="*/ 6899 w 9907"/>
                <a:gd name="connsiteY35" fmla="*/ 4966 h 10000"/>
                <a:gd name="connsiteX36" fmla="*/ 6885 w 9907"/>
                <a:gd name="connsiteY36" fmla="*/ 4893 h 10000"/>
                <a:gd name="connsiteX37" fmla="*/ 6870 w 9907"/>
                <a:gd name="connsiteY37" fmla="*/ 4815 h 10000"/>
                <a:gd name="connsiteX38" fmla="*/ 6861 w 9907"/>
                <a:gd name="connsiteY38" fmla="*/ 4739 h 10000"/>
                <a:gd name="connsiteX39" fmla="*/ 6853 w 9907"/>
                <a:gd name="connsiteY39" fmla="*/ 4656 h 10000"/>
                <a:gd name="connsiteX40" fmla="*/ 6845 w 9907"/>
                <a:gd name="connsiteY40" fmla="*/ 4573 h 10000"/>
                <a:gd name="connsiteX41" fmla="*/ 6845 w 9907"/>
                <a:gd name="connsiteY41" fmla="*/ 4497 h 10000"/>
                <a:gd name="connsiteX42" fmla="*/ 6838 w 9907"/>
                <a:gd name="connsiteY42" fmla="*/ 4413 h 10000"/>
                <a:gd name="connsiteX43" fmla="*/ 6845 w 9907"/>
                <a:gd name="connsiteY43" fmla="*/ 4334 h 10000"/>
                <a:gd name="connsiteX44" fmla="*/ 6853 w 9907"/>
                <a:gd name="connsiteY44" fmla="*/ 4248 h 10000"/>
                <a:gd name="connsiteX45" fmla="*/ 6853 w 9907"/>
                <a:gd name="connsiteY45" fmla="*/ 4160 h 10000"/>
                <a:gd name="connsiteX46" fmla="*/ 6861 w 9907"/>
                <a:gd name="connsiteY46" fmla="*/ 4075 h 10000"/>
                <a:gd name="connsiteX47" fmla="*/ 6870 w 9907"/>
                <a:gd name="connsiteY47" fmla="*/ 3990 h 10000"/>
                <a:gd name="connsiteX48" fmla="*/ 6885 w 9907"/>
                <a:gd name="connsiteY48" fmla="*/ 3915 h 10000"/>
                <a:gd name="connsiteX49" fmla="*/ 6899 w 9907"/>
                <a:gd name="connsiteY49" fmla="*/ 3830 h 10000"/>
                <a:gd name="connsiteX50" fmla="*/ 6915 w 9907"/>
                <a:gd name="connsiteY50" fmla="*/ 3750 h 10000"/>
                <a:gd name="connsiteX51" fmla="*/ 6938 w 9907"/>
                <a:gd name="connsiteY51" fmla="*/ 3665 h 10000"/>
                <a:gd name="connsiteX52" fmla="*/ 6961 w 9907"/>
                <a:gd name="connsiteY52" fmla="*/ 3589 h 10000"/>
                <a:gd name="connsiteX53" fmla="*/ 6985 w 9907"/>
                <a:gd name="connsiteY53" fmla="*/ 3508 h 10000"/>
                <a:gd name="connsiteX54" fmla="*/ 7007 w 9907"/>
                <a:gd name="connsiteY54" fmla="*/ 3424 h 10000"/>
                <a:gd name="connsiteX55" fmla="*/ 7038 w 9907"/>
                <a:gd name="connsiteY55" fmla="*/ 3355 h 10000"/>
                <a:gd name="connsiteX56" fmla="*/ 7068 w 9907"/>
                <a:gd name="connsiteY56" fmla="*/ 3275 h 10000"/>
                <a:gd name="connsiteX57" fmla="*/ 7100 w 9907"/>
                <a:gd name="connsiteY57" fmla="*/ 3194 h 10000"/>
                <a:gd name="connsiteX58" fmla="*/ 7138 w 9907"/>
                <a:gd name="connsiteY58" fmla="*/ 3118 h 10000"/>
                <a:gd name="connsiteX59" fmla="*/ 7169 w 9907"/>
                <a:gd name="connsiteY59" fmla="*/ 3046 h 10000"/>
                <a:gd name="connsiteX60" fmla="*/ 7208 w 9907"/>
                <a:gd name="connsiteY60" fmla="*/ 2964 h 10000"/>
                <a:gd name="connsiteX61" fmla="*/ 7253 w 9907"/>
                <a:gd name="connsiteY61" fmla="*/ 2898 h 10000"/>
                <a:gd name="connsiteX62" fmla="*/ 7291 w 9907"/>
                <a:gd name="connsiteY62" fmla="*/ 2823 h 10000"/>
                <a:gd name="connsiteX63" fmla="*/ 7338 w 9907"/>
                <a:gd name="connsiteY63" fmla="*/ 2754 h 10000"/>
                <a:gd name="connsiteX64" fmla="*/ 7377 w 9907"/>
                <a:gd name="connsiteY64" fmla="*/ 2676 h 10000"/>
                <a:gd name="connsiteX65" fmla="*/ 7431 w 9907"/>
                <a:gd name="connsiteY65" fmla="*/ 2613 h 10000"/>
                <a:gd name="connsiteX66" fmla="*/ 7484 w 9907"/>
                <a:gd name="connsiteY66" fmla="*/ 2538 h 10000"/>
                <a:gd name="connsiteX67" fmla="*/ 7531 w 9907"/>
                <a:gd name="connsiteY67" fmla="*/ 2471 h 10000"/>
                <a:gd name="connsiteX68" fmla="*/ 7584 w 9907"/>
                <a:gd name="connsiteY68" fmla="*/ 2404 h 10000"/>
                <a:gd name="connsiteX69" fmla="*/ 7639 w 9907"/>
                <a:gd name="connsiteY69" fmla="*/ 2331 h 10000"/>
                <a:gd name="connsiteX70" fmla="*/ 7692 w 9907"/>
                <a:gd name="connsiteY70" fmla="*/ 2269 h 10000"/>
                <a:gd name="connsiteX71" fmla="*/ 7754 w 9907"/>
                <a:gd name="connsiteY71" fmla="*/ 2203 h 10000"/>
                <a:gd name="connsiteX72" fmla="*/ 7807 w 9907"/>
                <a:gd name="connsiteY72" fmla="*/ 2145 h 10000"/>
                <a:gd name="connsiteX73" fmla="*/ 7869 w 9907"/>
                <a:gd name="connsiteY73" fmla="*/ 2077 h 10000"/>
                <a:gd name="connsiteX74" fmla="*/ 7896 w 9907"/>
                <a:gd name="connsiteY74" fmla="*/ 2042 h 10000"/>
                <a:gd name="connsiteX75" fmla="*/ 5593 w 9907"/>
                <a:gd name="connsiteY75" fmla="*/ 6 h 10000"/>
                <a:gd name="connsiteX76" fmla="*/ 1453 w 9907"/>
                <a:gd name="connsiteY76" fmla="*/ 0 h 10000"/>
                <a:gd name="connsiteX77" fmla="*/ 1354 w 9907"/>
                <a:gd name="connsiteY77" fmla="*/ 154 h 10000"/>
                <a:gd name="connsiteX78" fmla="*/ 1269 w 9907"/>
                <a:gd name="connsiteY78" fmla="*/ 269 h 10000"/>
                <a:gd name="connsiteX79" fmla="*/ 1193 w 9907"/>
                <a:gd name="connsiteY79" fmla="*/ 397 h 10000"/>
                <a:gd name="connsiteX80" fmla="*/ 1107 w 9907"/>
                <a:gd name="connsiteY80" fmla="*/ 523 h 10000"/>
                <a:gd name="connsiteX81" fmla="*/ 1038 w 9907"/>
                <a:gd name="connsiteY81" fmla="*/ 650 h 10000"/>
                <a:gd name="connsiteX82" fmla="*/ 962 w 9907"/>
                <a:gd name="connsiteY82" fmla="*/ 775 h 10000"/>
                <a:gd name="connsiteX83" fmla="*/ 892 w 9907"/>
                <a:gd name="connsiteY83" fmla="*/ 910 h 10000"/>
                <a:gd name="connsiteX84" fmla="*/ 822 w 9907"/>
                <a:gd name="connsiteY84" fmla="*/ 1043 h 10000"/>
                <a:gd name="connsiteX85" fmla="*/ 762 w 9907"/>
                <a:gd name="connsiteY85" fmla="*/ 1166 h 10000"/>
                <a:gd name="connsiteX86" fmla="*/ 700 w 9907"/>
                <a:gd name="connsiteY86" fmla="*/ 1304 h 10000"/>
                <a:gd name="connsiteX87" fmla="*/ 639 w 9907"/>
                <a:gd name="connsiteY87" fmla="*/ 1432 h 10000"/>
                <a:gd name="connsiteX88" fmla="*/ 576 w 9907"/>
                <a:gd name="connsiteY88" fmla="*/ 1572 h 10000"/>
                <a:gd name="connsiteX89" fmla="*/ 523 w 9907"/>
                <a:gd name="connsiteY89" fmla="*/ 1699 h 10000"/>
                <a:gd name="connsiteX90" fmla="*/ 469 w 9907"/>
                <a:gd name="connsiteY90" fmla="*/ 1833 h 10000"/>
                <a:gd name="connsiteX91" fmla="*/ 424 w 9907"/>
                <a:gd name="connsiteY91" fmla="*/ 1968 h 10000"/>
                <a:gd name="connsiteX92" fmla="*/ 376 w 9907"/>
                <a:gd name="connsiteY92" fmla="*/ 2104 h 10000"/>
                <a:gd name="connsiteX93" fmla="*/ 331 w 9907"/>
                <a:gd name="connsiteY93" fmla="*/ 2248 h 10000"/>
                <a:gd name="connsiteX94" fmla="*/ 293 w 9907"/>
                <a:gd name="connsiteY94" fmla="*/ 2384 h 10000"/>
                <a:gd name="connsiteX95" fmla="*/ 245 w 9907"/>
                <a:gd name="connsiteY95" fmla="*/ 2526 h 10000"/>
                <a:gd name="connsiteX96" fmla="*/ 216 w 9907"/>
                <a:gd name="connsiteY96" fmla="*/ 2666 h 10000"/>
                <a:gd name="connsiteX97" fmla="*/ 177 w 9907"/>
                <a:gd name="connsiteY97" fmla="*/ 2809 h 10000"/>
                <a:gd name="connsiteX98" fmla="*/ 153 w 9907"/>
                <a:gd name="connsiteY98" fmla="*/ 2953 h 10000"/>
                <a:gd name="connsiteX99" fmla="*/ 123 w 9907"/>
                <a:gd name="connsiteY99" fmla="*/ 3095 h 10000"/>
                <a:gd name="connsiteX100" fmla="*/ 100 w 9907"/>
                <a:gd name="connsiteY100" fmla="*/ 3235 h 10000"/>
                <a:gd name="connsiteX101" fmla="*/ 77 w 9907"/>
                <a:gd name="connsiteY101" fmla="*/ 3382 h 10000"/>
                <a:gd name="connsiteX102" fmla="*/ 53 w 9907"/>
                <a:gd name="connsiteY102" fmla="*/ 3534 h 10000"/>
                <a:gd name="connsiteX103" fmla="*/ 38 w 9907"/>
                <a:gd name="connsiteY103" fmla="*/ 3678 h 10000"/>
                <a:gd name="connsiteX104" fmla="*/ 22 w 9907"/>
                <a:gd name="connsiteY104" fmla="*/ 3822 h 10000"/>
                <a:gd name="connsiteX105" fmla="*/ 15 w 9907"/>
                <a:gd name="connsiteY105" fmla="*/ 3966 h 10000"/>
                <a:gd name="connsiteX106" fmla="*/ 7 w 9907"/>
                <a:gd name="connsiteY106" fmla="*/ 4116 h 10000"/>
                <a:gd name="connsiteX107" fmla="*/ 0 w 9907"/>
                <a:gd name="connsiteY107" fmla="*/ 4261 h 10000"/>
                <a:gd name="connsiteX108" fmla="*/ 0 w 9907"/>
                <a:gd name="connsiteY108" fmla="*/ 4413 h 10000"/>
                <a:gd name="connsiteX109" fmla="*/ 7 w 9907"/>
                <a:gd name="connsiteY109" fmla="*/ 4606 h 10000"/>
                <a:gd name="connsiteX110" fmla="*/ 7 w 9907"/>
                <a:gd name="connsiteY110" fmla="*/ 4798 h 10000"/>
                <a:gd name="connsiteX111" fmla="*/ 22 w 9907"/>
                <a:gd name="connsiteY111" fmla="*/ 4977 h 10000"/>
                <a:gd name="connsiteX112" fmla="*/ 38 w 9907"/>
                <a:gd name="connsiteY112" fmla="*/ 5166 h 10000"/>
                <a:gd name="connsiteX113" fmla="*/ 62 w 9907"/>
                <a:gd name="connsiteY113" fmla="*/ 5353 h 10000"/>
                <a:gd name="connsiteX114" fmla="*/ 93 w 9907"/>
                <a:gd name="connsiteY114" fmla="*/ 5540 h 10000"/>
                <a:gd name="connsiteX115" fmla="*/ 123 w 9907"/>
                <a:gd name="connsiteY115" fmla="*/ 5725 h 10000"/>
                <a:gd name="connsiteX116" fmla="*/ 153 w 9907"/>
                <a:gd name="connsiteY116" fmla="*/ 5909 h 10000"/>
                <a:gd name="connsiteX117" fmla="*/ 201 w 9907"/>
                <a:gd name="connsiteY117" fmla="*/ 6093 h 10000"/>
                <a:gd name="connsiteX118" fmla="*/ 245 w 9907"/>
                <a:gd name="connsiteY118" fmla="*/ 6273 h 10000"/>
                <a:gd name="connsiteX119" fmla="*/ 293 w 9907"/>
                <a:gd name="connsiteY119" fmla="*/ 6456 h 10000"/>
                <a:gd name="connsiteX120" fmla="*/ 346 w 9907"/>
                <a:gd name="connsiteY120" fmla="*/ 6633 h 10000"/>
                <a:gd name="connsiteX121" fmla="*/ 408 w 9907"/>
                <a:gd name="connsiteY121" fmla="*/ 6805 h 10000"/>
                <a:gd name="connsiteX122" fmla="*/ 469 w 9907"/>
                <a:gd name="connsiteY122" fmla="*/ 6984 h 10000"/>
                <a:gd name="connsiteX123" fmla="*/ 539 w 9907"/>
                <a:gd name="connsiteY123" fmla="*/ 7156 h 10000"/>
                <a:gd name="connsiteX124" fmla="*/ 608 w 9907"/>
                <a:gd name="connsiteY124" fmla="*/ 7336 h 10000"/>
                <a:gd name="connsiteX125" fmla="*/ 684 w 9907"/>
                <a:gd name="connsiteY125" fmla="*/ 7502 h 10000"/>
                <a:gd name="connsiteX126" fmla="*/ 769 w 9907"/>
                <a:gd name="connsiteY126" fmla="*/ 7665 h 10000"/>
                <a:gd name="connsiteX127" fmla="*/ 855 w 9907"/>
                <a:gd name="connsiteY127" fmla="*/ 7844 h 10000"/>
                <a:gd name="connsiteX128" fmla="*/ 938 w 9907"/>
                <a:gd name="connsiteY128" fmla="*/ 8007 h 10000"/>
                <a:gd name="connsiteX129" fmla="*/ 1030 w 9907"/>
                <a:gd name="connsiteY129" fmla="*/ 8168 h 10000"/>
                <a:gd name="connsiteX130" fmla="*/ 1131 w 9907"/>
                <a:gd name="connsiteY130" fmla="*/ 8323 h 10000"/>
                <a:gd name="connsiteX131" fmla="*/ 1230 w 9907"/>
                <a:gd name="connsiteY131" fmla="*/ 8490 h 10000"/>
                <a:gd name="connsiteX132" fmla="*/ 1338 w 9907"/>
                <a:gd name="connsiteY132" fmla="*/ 8651 h 10000"/>
                <a:gd name="connsiteX133" fmla="*/ 1438 w 9907"/>
                <a:gd name="connsiteY133" fmla="*/ 8808 h 10000"/>
                <a:gd name="connsiteX134" fmla="*/ 1553 w 9907"/>
                <a:gd name="connsiteY134" fmla="*/ 8966 h 10000"/>
                <a:gd name="connsiteX135" fmla="*/ 1669 w 9907"/>
                <a:gd name="connsiteY135" fmla="*/ 9114 h 10000"/>
                <a:gd name="connsiteX136" fmla="*/ 1792 w 9907"/>
                <a:gd name="connsiteY136" fmla="*/ 9273 h 10000"/>
                <a:gd name="connsiteX137" fmla="*/ 1915 w 9907"/>
                <a:gd name="connsiteY137" fmla="*/ 9420 h 10000"/>
                <a:gd name="connsiteX138" fmla="*/ 2038 w 9907"/>
                <a:gd name="connsiteY138" fmla="*/ 9566 h 10000"/>
                <a:gd name="connsiteX139" fmla="*/ 2169 w 9907"/>
                <a:gd name="connsiteY139" fmla="*/ 9706 h 10000"/>
                <a:gd name="connsiteX140" fmla="*/ 2308 w 9907"/>
                <a:gd name="connsiteY140" fmla="*/ 9855 h 10000"/>
                <a:gd name="connsiteX141" fmla="*/ 2438 w 9907"/>
                <a:gd name="connsiteY141" fmla="*/ 10000 h 10000"/>
                <a:gd name="connsiteX142" fmla="*/ 4512 w 9907"/>
                <a:gd name="connsiteY142" fmla="*/ 7469 h 10000"/>
                <a:gd name="connsiteX0" fmla="*/ 4554 w 9914"/>
                <a:gd name="connsiteY0" fmla="*/ 7469 h 10000"/>
                <a:gd name="connsiteX1" fmla="*/ 9914 w 9914"/>
                <a:gd name="connsiteY1" fmla="*/ 7897 h 10000"/>
                <a:gd name="connsiteX2" fmla="*/ 9822 w 9914"/>
                <a:gd name="connsiteY2" fmla="*/ 7869 h 10000"/>
                <a:gd name="connsiteX3" fmla="*/ 9728 w 9914"/>
                <a:gd name="connsiteY3" fmla="*/ 7837 h 10000"/>
                <a:gd name="connsiteX4" fmla="*/ 9550 w 9914"/>
                <a:gd name="connsiteY4" fmla="*/ 7772 h 10000"/>
                <a:gd name="connsiteX5" fmla="*/ 9380 w 9914"/>
                <a:gd name="connsiteY5" fmla="*/ 7698 h 10000"/>
                <a:gd name="connsiteX6" fmla="*/ 9209 w 9914"/>
                <a:gd name="connsiteY6" fmla="*/ 7624 h 10000"/>
                <a:gd name="connsiteX7" fmla="*/ 9046 w 9914"/>
                <a:gd name="connsiteY7" fmla="*/ 7536 h 10000"/>
                <a:gd name="connsiteX8" fmla="*/ 8882 w 9914"/>
                <a:gd name="connsiteY8" fmla="*/ 7448 h 10000"/>
                <a:gd name="connsiteX9" fmla="*/ 8735 w 9914"/>
                <a:gd name="connsiteY9" fmla="*/ 7365 h 10000"/>
                <a:gd name="connsiteX10" fmla="*/ 8588 w 9914"/>
                <a:gd name="connsiteY10" fmla="*/ 7266 h 10000"/>
                <a:gd name="connsiteX11" fmla="*/ 8439 w 9914"/>
                <a:gd name="connsiteY11" fmla="*/ 7161 h 10000"/>
                <a:gd name="connsiteX12" fmla="*/ 8299 w 9914"/>
                <a:gd name="connsiteY12" fmla="*/ 7056 h 10000"/>
                <a:gd name="connsiteX13" fmla="*/ 8168 w 9914"/>
                <a:gd name="connsiteY13" fmla="*/ 6942 h 10000"/>
                <a:gd name="connsiteX14" fmla="*/ 8036 w 9914"/>
                <a:gd name="connsiteY14" fmla="*/ 6833 h 10000"/>
                <a:gd name="connsiteX15" fmla="*/ 7912 w 9914"/>
                <a:gd name="connsiteY15" fmla="*/ 6719 h 10000"/>
                <a:gd name="connsiteX16" fmla="*/ 7803 w 9914"/>
                <a:gd name="connsiteY16" fmla="*/ 6593 h 10000"/>
                <a:gd name="connsiteX17" fmla="*/ 7694 w 9914"/>
                <a:gd name="connsiteY17" fmla="*/ 6467 h 10000"/>
                <a:gd name="connsiteX18" fmla="*/ 7594 w 9914"/>
                <a:gd name="connsiteY18" fmla="*/ 6338 h 10000"/>
                <a:gd name="connsiteX19" fmla="*/ 7501 w 9914"/>
                <a:gd name="connsiteY19" fmla="*/ 6209 h 10000"/>
                <a:gd name="connsiteX20" fmla="*/ 7407 w 9914"/>
                <a:gd name="connsiteY20" fmla="*/ 6073 h 10000"/>
                <a:gd name="connsiteX21" fmla="*/ 7321 w 9914"/>
                <a:gd name="connsiteY21" fmla="*/ 5928 h 10000"/>
                <a:gd name="connsiteX22" fmla="*/ 7283 w 9914"/>
                <a:gd name="connsiteY22" fmla="*/ 5865 h 10000"/>
                <a:gd name="connsiteX23" fmla="*/ 7243 w 9914"/>
                <a:gd name="connsiteY23" fmla="*/ 5789 h 10000"/>
                <a:gd name="connsiteX24" fmla="*/ 7213 w 9914"/>
                <a:gd name="connsiteY24" fmla="*/ 5721 h 10000"/>
                <a:gd name="connsiteX25" fmla="*/ 7175 w 9914"/>
                <a:gd name="connsiteY25" fmla="*/ 5646 h 10000"/>
                <a:gd name="connsiteX26" fmla="*/ 7143 w 9914"/>
                <a:gd name="connsiteY26" fmla="*/ 5575 h 10000"/>
                <a:gd name="connsiteX27" fmla="*/ 7112 w 9914"/>
                <a:gd name="connsiteY27" fmla="*/ 5501 h 10000"/>
                <a:gd name="connsiteX28" fmla="*/ 7089 w 9914"/>
                <a:gd name="connsiteY28" fmla="*/ 5424 h 10000"/>
                <a:gd name="connsiteX29" fmla="*/ 7058 w 9914"/>
                <a:gd name="connsiteY29" fmla="*/ 5353 h 10000"/>
                <a:gd name="connsiteX30" fmla="*/ 7041 w 9914"/>
                <a:gd name="connsiteY30" fmla="*/ 5274 h 10000"/>
                <a:gd name="connsiteX31" fmla="*/ 7011 w 9914"/>
                <a:gd name="connsiteY31" fmla="*/ 5200 h 10000"/>
                <a:gd name="connsiteX32" fmla="*/ 6995 w 9914"/>
                <a:gd name="connsiteY32" fmla="*/ 5122 h 10000"/>
                <a:gd name="connsiteX33" fmla="*/ 6980 w 9914"/>
                <a:gd name="connsiteY33" fmla="*/ 5048 h 10000"/>
                <a:gd name="connsiteX34" fmla="*/ 6964 w 9914"/>
                <a:gd name="connsiteY34" fmla="*/ 4966 h 10000"/>
                <a:gd name="connsiteX35" fmla="*/ 6950 w 9914"/>
                <a:gd name="connsiteY35" fmla="*/ 4893 h 10000"/>
                <a:gd name="connsiteX36" fmla="*/ 6934 w 9914"/>
                <a:gd name="connsiteY36" fmla="*/ 4815 h 10000"/>
                <a:gd name="connsiteX37" fmla="*/ 6925 w 9914"/>
                <a:gd name="connsiteY37" fmla="*/ 4739 h 10000"/>
                <a:gd name="connsiteX38" fmla="*/ 6917 w 9914"/>
                <a:gd name="connsiteY38" fmla="*/ 4656 h 10000"/>
                <a:gd name="connsiteX39" fmla="*/ 6909 w 9914"/>
                <a:gd name="connsiteY39" fmla="*/ 4573 h 10000"/>
                <a:gd name="connsiteX40" fmla="*/ 6909 w 9914"/>
                <a:gd name="connsiteY40" fmla="*/ 4497 h 10000"/>
                <a:gd name="connsiteX41" fmla="*/ 6902 w 9914"/>
                <a:gd name="connsiteY41" fmla="*/ 4413 h 10000"/>
                <a:gd name="connsiteX42" fmla="*/ 6909 w 9914"/>
                <a:gd name="connsiteY42" fmla="*/ 4334 h 10000"/>
                <a:gd name="connsiteX43" fmla="*/ 6917 w 9914"/>
                <a:gd name="connsiteY43" fmla="*/ 4248 h 10000"/>
                <a:gd name="connsiteX44" fmla="*/ 6917 w 9914"/>
                <a:gd name="connsiteY44" fmla="*/ 4160 h 10000"/>
                <a:gd name="connsiteX45" fmla="*/ 6925 w 9914"/>
                <a:gd name="connsiteY45" fmla="*/ 4075 h 10000"/>
                <a:gd name="connsiteX46" fmla="*/ 6934 w 9914"/>
                <a:gd name="connsiteY46" fmla="*/ 3990 h 10000"/>
                <a:gd name="connsiteX47" fmla="*/ 6950 w 9914"/>
                <a:gd name="connsiteY47" fmla="*/ 3915 h 10000"/>
                <a:gd name="connsiteX48" fmla="*/ 6964 w 9914"/>
                <a:gd name="connsiteY48" fmla="*/ 3830 h 10000"/>
                <a:gd name="connsiteX49" fmla="*/ 6980 w 9914"/>
                <a:gd name="connsiteY49" fmla="*/ 3750 h 10000"/>
                <a:gd name="connsiteX50" fmla="*/ 7003 w 9914"/>
                <a:gd name="connsiteY50" fmla="*/ 3665 h 10000"/>
                <a:gd name="connsiteX51" fmla="*/ 7026 w 9914"/>
                <a:gd name="connsiteY51" fmla="*/ 3589 h 10000"/>
                <a:gd name="connsiteX52" fmla="*/ 7051 w 9914"/>
                <a:gd name="connsiteY52" fmla="*/ 3508 h 10000"/>
                <a:gd name="connsiteX53" fmla="*/ 7073 w 9914"/>
                <a:gd name="connsiteY53" fmla="*/ 3424 h 10000"/>
                <a:gd name="connsiteX54" fmla="*/ 7104 w 9914"/>
                <a:gd name="connsiteY54" fmla="*/ 3355 h 10000"/>
                <a:gd name="connsiteX55" fmla="*/ 7134 w 9914"/>
                <a:gd name="connsiteY55" fmla="*/ 3275 h 10000"/>
                <a:gd name="connsiteX56" fmla="*/ 7167 w 9914"/>
                <a:gd name="connsiteY56" fmla="*/ 3194 h 10000"/>
                <a:gd name="connsiteX57" fmla="*/ 7205 w 9914"/>
                <a:gd name="connsiteY57" fmla="*/ 3118 h 10000"/>
                <a:gd name="connsiteX58" fmla="*/ 7236 w 9914"/>
                <a:gd name="connsiteY58" fmla="*/ 3046 h 10000"/>
                <a:gd name="connsiteX59" fmla="*/ 7276 w 9914"/>
                <a:gd name="connsiteY59" fmla="*/ 2964 h 10000"/>
                <a:gd name="connsiteX60" fmla="*/ 7321 w 9914"/>
                <a:gd name="connsiteY60" fmla="*/ 2898 h 10000"/>
                <a:gd name="connsiteX61" fmla="*/ 7359 w 9914"/>
                <a:gd name="connsiteY61" fmla="*/ 2823 h 10000"/>
                <a:gd name="connsiteX62" fmla="*/ 7407 w 9914"/>
                <a:gd name="connsiteY62" fmla="*/ 2754 h 10000"/>
                <a:gd name="connsiteX63" fmla="*/ 7446 w 9914"/>
                <a:gd name="connsiteY63" fmla="*/ 2676 h 10000"/>
                <a:gd name="connsiteX64" fmla="*/ 7501 w 9914"/>
                <a:gd name="connsiteY64" fmla="*/ 2613 h 10000"/>
                <a:gd name="connsiteX65" fmla="*/ 7554 w 9914"/>
                <a:gd name="connsiteY65" fmla="*/ 2538 h 10000"/>
                <a:gd name="connsiteX66" fmla="*/ 7602 w 9914"/>
                <a:gd name="connsiteY66" fmla="*/ 2471 h 10000"/>
                <a:gd name="connsiteX67" fmla="*/ 7655 w 9914"/>
                <a:gd name="connsiteY67" fmla="*/ 2404 h 10000"/>
                <a:gd name="connsiteX68" fmla="*/ 7711 w 9914"/>
                <a:gd name="connsiteY68" fmla="*/ 2331 h 10000"/>
                <a:gd name="connsiteX69" fmla="*/ 7764 w 9914"/>
                <a:gd name="connsiteY69" fmla="*/ 2269 h 10000"/>
                <a:gd name="connsiteX70" fmla="*/ 7827 w 9914"/>
                <a:gd name="connsiteY70" fmla="*/ 2203 h 10000"/>
                <a:gd name="connsiteX71" fmla="*/ 7880 w 9914"/>
                <a:gd name="connsiteY71" fmla="*/ 2145 h 10000"/>
                <a:gd name="connsiteX72" fmla="*/ 7943 w 9914"/>
                <a:gd name="connsiteY72" fmla="*/ 2077 h 10000"/>
                <a:gd name="connsiteX73" fmla="*/ 7970 w 9914"/>
                <a:gd name="connsiteY73" fmla="*/ 2042 h 10000"/>
                <a:gd name="connsiteX74" fmla="*/ 5646 w 9914"/>
                <a:gd name="connsiteY74" fmla="*/ 6 h 10000"/>
                <a:gd name="connsiteX75" fmla="*/ 1467 w 9914"/>
                <a:gd name="connsiteY75" fmla="*/ 0 h 10000"/>
                <a:gd name="connsiteX76" fmla="*/ 1367 w 9914"/>
                <a:gd name="connsiteY76" fmla="*/ 154 h 10000"/>
                <a:gd name="connsiteX77" fmla="*/ 1281 w 9914"/>
                <a:gd name="connsiteY77" fmla="*/ 269 h 10000"/>
                <a:gd name="connsiteX78" fmla="*/ 1204 w 9914"/>
                <a:gd name="connsiteY78" fmla="*/ 397 h 10000"/>
                <a:gd name="connsiteX79" fmla="*/ 1117 w 9914"/>
                <a:gd name="connsiteY79" fmla="*/ 523 h 10000"/>
                <a:gd name="connsiteX80" fmla="*/ 1048 w 9914"/>
                <a:gd name="connsiteY80" fmla="*/ 650 h 10000"/>
                <a:gd name="connsiteX81" fmla="*/ 971 w 9914"/>
                <a:gd name="connsiteY81" fmla="*/ 775 h 10000"/>
                <a:gd name="connsiteX82" fmla="*/ 900 w 9914"/>
                <a:gd name="connsiteY82" fmla="*/ 910 h 10000"/>
                <a:gd name="connsiteX83" fmla="*/ 830 w 9914"/>
                <a:gd name="connsiteY83" fmla="*/ 1043 h 10000"/>
                <a:gd name="connsiteX84" fmla="*/ 769 w 9914"/>
                <a:gd name="connsiteY84" fmla="*/ 1166 h 10000"/>
                <a:gd name="connsiteX85" fmla="*/ 707 w 9914"/>
                <a:gd name="connsiteY85" fmla="*/ 1304 h 10000"/>
                <a:gd name="connsiteX86" fmla="*/ 645 w 9914"/>
                <a:gd name="connsiteY86" fmla="*/ 1432 h 10000"/>
                <a:gd name="connsiteX87" fmla="*/ 581 w 9914"/>
                <a:gd name="connsiteY87" fmla="*/ 1572 h 10000"/>
                <a:gd name="connsiteX88" fmla="*/ 528 w 9914"/>
                <a:gd name="connsiteY88" fmla="*/ 1699 h 10000"/>
                <a:gd name="connsiteX89" fmla="*/ 473 w 9914"/>
                <a:gd name="connsiteY89" fmla="*/ 1833 h 10000"/>
                <a:gd name="connsiteX90" fmla="*/ 428 w 9914"/>
                <a:gd name="connsiteY90" fmla="*/ 1968 h 10000"/>
                <a:gd name="connsiteX91" fmla="*/ 380 w 9914"/>
                <a:gd name="connsiteY91" fmla="*/ 2104 h 10000"/>
                <a:gd name="connsiteX92" fmla="*/ 334 w 9914"/>
                <a:gd name="connsiteY92" fmla="*/ 2248 h 10000"/>
                <a:gd name="connsiteX93" fmla="*/ 296 w 9914"/>
                <a:gd name="connsiteY93" fmla="*/ 2384 h 10000"/>
                <a:gd name="connsiteX94" fmla="*/ 247 w 9914"/>
                <a:gd name="connsiteY94" fmla="*/ 2526 h 10000"/>
                <a:gd name="connsiteX95" fmla="*/ 218 w 9914"/>
                <a:gd name="connsiteY95" fmla="*/ 2666 h 10000"/>
                <a:gd name="connsiteX96" fmla="*/ 179 w 9914"/>
                <a:gd name="connsiteY96" fmla="*/ 2809 h 10000"/>
                <a:gd name="connsiteX97" fmla="*/ 154 w 9914"/>
                <a:gd name="connsiteY97" fmla="*/ 2953 h 10000"/>
                <a:gd name="connsiteX98" fmla="*/ 124 w 9914"/>
                <a:gd name="connsiteY98" fmla="*/ 3095 h 10000"/>
                <a:gd name="connsiteX99" fmla="*/ 101 w 9914"/>
                <a:gd name="connsiteY99" fmla="*/ 3235 h 10000"/>
                <a:gd name="connsiteX100" fmla="*/ 78 w 9914"/>
                <a:gd name="connsiteY100" fmla="*/ 3382 h 10000"/>
                <a:gd name="connsiteX101" fmla="*/ 53 w 9914"/>
                <a:gd name="connsiteY101" fmla="*/ 3534 h 10000"/>
                <a:gd name="connsiteX102" fmla="*/ 38 w 9914"/>
                <a:gd name="connsiteY102" fmla="*/ 3678 h 10000"/>
                <a:gd name="connsiteX103" fmla="*/ 22 w 9914"/>
                <a:gd name="connsiteY103" fmla="*/ 3822 h 10000"/>
                <a:gd name="connsiteX104" fmla="*/ 15 w 9914"/>
                <a:gd name="connsiteY104" fmla="*/ 3966 h 10000"/>
                <a:gd name="connsiteX105" fmla="*/ 7 w 9914"/>
                <a:gd name="connsiteY105" fmla="*/ 4116 h 10000"/>
                <a:gd name="connsiteX106" fmla="*/ 0 w 9914"/>
                <a:gd name="connsiteY106" fmla="*/ 4261 h 10000"/>
                <a:gd name="connsiteX107" fmla="*/ 0 w 9914"/>
                <a:gd name="connsiteY107" fmla="*/ 4413 h 10000"/>
                <a:gd name="connsiteX108" fmla="*/ 7 w 9914"/>
                <a:gd name="connsiteY108" fmla="*/ 4606 h 10000"/>
                <a:gd name="connsiteX109" fmla="*/ 7 w 9914"/>
                <a:gd name="connsiteY109" fmla="*/ 4798 h 10000"/>
                <a:gd name="connsiteX110" fmla="*/ 22 w 9914"/>
                <a:gd name="connsiteY110" fmla="*/ 4977 h 10000"/>
                <a:gd name="connsiteX111" fmla="*/ 38 w 9914"/>
                <a:gd name="connsiteY111" fmla="*/ 5166 h 10000"/>
                <a:gd name="connsiteX112" fmla="*/ 63 w 9914"/>
                <a:gd name="connsiteY112" fmla="*/ 5353 h 10000"/>
                <a:gd name="connsiteX113" fmla="*/ 94 w 9914"/>
                <a:gd name="connsiteY113" fmla="*/ 5540 h 10000"/>
                <a:gd name="connsiteX114" fmla="*/ 124 w 9914"/>
                <a:gd name="connsiteY114" fmla="*/ 5725 h 10000"/>
                <a:gd name="connsiteX115" fmla="*/ 154 w 9914"/>
                <a:gd name="connsiteY115" fmla="*/ 5909 h 10000"/>
                <a:gd name="connsiteX116" fmla="*/ 203 w 9914"/>
                <a:gd name="connsiteY116" fmla="*/ 6093 h 10000"/>
                <a:gd name="connsiteX117" fmla="*/ 247 w 9914"/>
                <a:gd name="connsiteY117" fmla="*/ 6273 h 10000"/>
                <a:gd name="connsiteX118" fmla="*/ 296 w 9914"/>
                <a:gd name="connsiteY118" fmla="*/ 6456 h 10000"/>
                <a:gd name="connsiteX119" fmla="*/ 349 w 9914"/>
                <a:gd name="connsiteY119" fmla="*/ 6633 h 10000"/>
                <a:gd name="connsiteX120" fmla="*/ 412 w 9914"/>
                <a:gd name="connsiteY120" fmla="*/ 6805 h 10000"/>
                <a:gd name="connsiteX121" fmla="*/ 473 w 9914"/>
                <a:gd name="connsiteY121" fmla="*/ 6984 h 10000"/>
                <a:gd name="connsiteX122" fmla="*/ 544 w 9914"/>
                <a:gd name="connsiteY122" fmla="*/ 7156 h 10000"/>
                <a:gd name="connsiteX123" fmla="*/ 614 w 9914"/>
                <a:gd name="connsiteY123" fmla="*/ 7336 h 10000"/>
                <a:gd name="connsiteX124" fmla="*/ 690 w 9914"/>
                <a:gd name="connsiteY124" fmla="*/ 7502 h 10000"/>
                <a:gd name="connsiteX125" fmla="*/ 776 w 9914"/>
                <a:gd name="connsiteY125" fmla="*/ 7665 h 10000"/>
                <a:gd name="connsiteX126" fmla="*/ 863 w 9914"/>
                <a:gd name="connsiteY126" fmla="*/ 7844 h 10000"/>
                <a:gd name="connsiteX127" fmla="*/ 947 w 9914"/>
                <a:gd name="connsiteY127" fmla="*/ 8007 h 10000"/>
                <a:gd name="connsiteX128" fmla="*/ 1040 w 9914"/>
                <a:gd name="connsiteY128" fmla="*/ 8168 h 10000"/>
                <a:gd name="connsiteX129" fmla="*/ 1142 w 9914"/>
                <a:gd name="connsiteY129" fmla="*/ 8323 h 10000"/>
                <a:gd name="connsiteX130" fmla="*/ 1242 w 9914"/>
                <a:gd name="connsiteY130" fmla="*/ 8490 h 10000"/>
                <a:gd name="connsiteX131" fmla="*/ 1351 w 9914"/>
                <a:gd name="connsiteY131" fmla="*/ 8651 h 10000"/>
                <a:gd name="connsiteX132" fmla="*/ 1451 w 9914"/>
                <a:gd name="connsiteY132" fmla="*/ 8808 h 10000"/>
                <a:gd name="connsiteX133" fmla="*/ 1568 w 9914"/>
                <a:gd name="connsiteY133" fmla="*/ 8966 h 10000"/>
                <a:gd name="connsiteX134" fmla="*/ 1685 w 9914"/>
                <a:gd name="connsiteY134" fmla="*/ 9114 h 10000"/>
                <a:gd name="connsiteX135" fmla="*/ 1809 w 9914"/>
                <a:gd name="connsiteY135" fmla="*/ 9273 h 10000"/>
                <a:gd name="connsiteX136" fmla="*/ 1933 w 9914"/>
                <a:gd name="connsiteY136" fmla="*/ 9420 h 10000"/>
                <a:gd name="connsiteX137" fmla="*/ 2057 w 9914"/>
                <a:gd name="connsiteY137" fmla="*/ 9566 h 10000"/>
                <a:gd name="connsiteX138" fmla="*/ 2189 w 9914"/>
                <a:gd name="connsiteY138" fmla="*/ 9706 h 10000"/>
                <a:gd name="connsiteX139" fmla="*/ 2330 w 9914"/>
                <a:gd name="connsiteY139" fmla="*/ 9855 h 10000"/>
                <a:gd name="connsiteX140" fmla="*/ 2461 w 9914"/>
                <a:gd name="connsiteY140" fmla="*/ 10000 h 10000"/>
                <a:gd name="connsiteX141" fmla="*/ 4554 w 9914"/>
                <a:gd name="connsiteY141" fmla="*/ 7469 h 10000"/>
                <a:gd name="connsiteX0" fmla="*/ 4594 w 9907"/>
                <a:gd name="connsiteY0" fmla="*/ 7469 h 10000"/>
                <a:gd name="connsiteX1" fmla="*/ 9907 w 9907"/>
                <a:gd name="connsiteY1" fmla="*/ 7869 h 10000"/>
                <a:gd name="connsiteX2" fmla="*/ 9812 w 9907"/>
                <a:gd name="connsiteY2" fmla="*/ 7837 h 10000"/>
                <a:gd name="connsiteX3" fmla="*/ 9633 w 9907"/>
                <a:gd name="connsiteY3" fmla="*/ 7772 h 10000"/>
                <a:gd name="connsiteX4" fmla="*/ 9461 w 9907"/>
                <a:gd name="connsiteY4" fmla="*/ 7698 h 10000"/>
                <a:gd name="connsiteX5" fmla="*/ 9289 w 9907"/>
                <a:gd name="connsiteY5" fmla="*/ 7624 h 10000"/>
                <a:gd name="connsiteX6" fmla="*/ 9124 w 9907"/>
                <a:gd name="connsiteY6" fmla="*/ 7536 h 10000"/>
                <a:gd name="connsiteX7" fmla="*/ 8959 w 9907"/>
                <a:gd name="connsiteY7" fmla="*/ 7448 h 10000"/>
                <a:gd name="connsiteX8" fmla="*/ 8811 w 9907"/>
                <a:gd name="connsiteY8" fmla="*/ 7365 h 10000"/>
                <a:gd name="connsiteX9" fmla="*/ 8662 w 9907"/>
                <a:gd name="connsiteY9" fmla="*/ 7266 h 10000"/>
                <a:gd name="connsiteX10" fmla="*/ 8512 w 9907"/>
                <a:gd name="connsiteY10" fmla="*/ 7161 h 10000"/>
                <a:gd name="connsiteX11" fmla="*/ 8371 w 9907"/>
                <a:gd name="connsiteY11" fmla="*/ 7056 h 10000"/>
                <a:gd name="connsiteX12" fmla="*/ 8239 w 9907"/>
                <a:gd name="connsiteY12" fmla="*/ 6942 h 10000"/>
                <a:gd name="connsiteX13" fmla="*/ 8106 w 9907"/>
                <a:gd name="connsiteY13" fmla="*/ 6833 h 10000"/>
                <a:gd name="connsiteX14" fmla="*/ 7981 w 9907"/>
                <a:gd name="connsiteY14" fmla="*/ 6719 h 10000"/>
                <a:gd name="connsiteX15" fmla="*/ 7871 w 9907"/>
                <a:gd name="connsiteY15" fmla="*/ 6593 h 10000"/>
                <a:gd name="connsiteX16" fmla="*/ 7761 w 9907"/>
                <a:gd name="connsiteY16" fmla="*/ 6467 h 10000"/>
                <a:gd name="connsiteX17" fmla="*/ 7660 w 9907"/>
                <a:gd name="connsiteY17" fmla="*/ 6338 h 10000"/>
                <a:gd name="connsiteX18" fmla="*/ 7566 w 9907"/>
                <a:gd name="connsiteY18" fmla="*/ 6209 h 10000"/>
                <a:gd name="connsiteX19" fmla="*/ 7471 w 9907"/>
                <a:gd name="connsiteY19" fmla="*/ 6073 h 10000"/>
                <a:gd name="connsiteX20" fmla="*/ 7385 w 9907"/>
                <a:gd name="connsiteY20" fmla="*/ 5928 h 10000"/>
                <a:gd name="connsiteX21" fmla="*/ 7346 w 9907"/>
                <a:gd name="connsiteY21" fmla="*/ 5865 h 10000"/>
                <a:gd name="connsiteX22" fmla="*/ 7306 w 9907"/>
                <a:gd name="connsiteY22" fmla="*/ 5789 h 10000"/>
                <a:gd name="connsiteX23" fmla="*/ 7276 w 9907"/>
                <a:gd name="connsiteY23" fmla="*/ 5721 h 10000"/>
                <a:gd name="connsiteX24" fmla="*/ 7237 w 9907"/>
                <a:gd name="connsiteY24" fmla="*/ 5646 h 10000"/>
                <a:gd name="connsiteX25" fmla="*/ 7205 w 9907"/>
                <a:gd name="connsiteY25" fmla="*/ 5575 h 10000"/>
                <a:gd name="connsiteX26" fmla="*/ 7174 w 9907"/>
                <a:gd name="connsiteY26" fmla="*/ 5501 h 10000"/>
                <a:gd name="connsiteX27" fmla="*/ 7150 w 9907"/>
                <a:gd name="connsiteY27" fmla="*/ 5424 h 10000"/>
                <a:gd name="connsiteX28" fmla="*/ 7119 w 9907"/>
                <a:gd name="connsiteY28" fmla="*/ 5353 h 10000"/>
                <a:gd name="connsiteX29" fmla="*/ 7102 w 9907"/>
                <a:gd name="connsiteY29" fmla="*/ 5274 h 10000"/>
                <a:gd name="connsiteX30" fmla="*/ 7072 w 9907"/>
                <a:gd name="connsiteY30" fmla="*/ 5200 h 10000"/>
                <a:gd name="connsiteX31" fmla="*/ 7056 w 9907"/>
                <a:gd name="connsiteY31" fmla="*/ 5122 h 10000"/>
                <a:gd name="connsiteX32" fmla="*/ 7041 w 9907"/>
                <a:gd name="connsiteY32" fmla="*/ 5048 h 10000"/>
                <a:gd name="connsiteX33" fmla="*/ 7024 w 9907"/>
                <a:gd name="connsiteY33" fmla="*/ 4966 h 10000"/>
                <a:gd name="connsiteX34" fmla="*/ 7010 w 9907"/>
                <a:gd name="connsiteY34" fmla="*/ 4893 h 10000"/>
                <a:gd name="connsiteX35" fmla="*/ 6994 w 9907"/>
                <a:gd name="connsiteY35" fmla="*/ 4815 h 10000"/>
                <a:gd name="connsiteX36" fmla="*/ 6985 w 9907"/>
                <a:gd name="connsiteY36" fmla="*/ 4739 h 10000"/>
                <a:gd name="connsiteX37" fmla="*/ 6977 w 9907"/>
                <a:gd name="connsiteY37" fmla="*/ 4656 h 10000"/>
                <a:gd name="connsiteX38" fmla="*/ 6969 w 9907"/>
                <a:gd name="connsiteY38" fmla="*/ 4573 h 10000"/>
                <a:gd name="connsiteX39" fmla="*/ 6969 w 9907"/>
                <a:gd name="connsiteY39" fmla="*/ 4497 h 10000"/>
                <a:gd name="connsiteX40" fmla="*/ 6962 w 9907"/>
                <a:gd name="connsiteY40" fmla="*/ 4413 h 10000"/>
                <a:gd name="connsiteX41" fmla="*/ 6969 w 9907"/>
                <a:gd name="connsiteY41" fmla="*/ 4334 h 10000"/>
                <a:gd name="connsiteX42" fmla="*/ 6977 w 9907"/>
                <a:gd name="connsiteY42" fmla="*/ 4248 h 10000"/>
                <a:gd name="connsiteX43" fmla="*/ 6977 w 9907"/>
                <a:gd name="connsiteY43" fmla="*/ 4160 h 10000"/>
                <a:gd name="connsiteX44" fmla="*/ 6985 w 9907"/>
                <a:gd name="connsiteY44" fmla="*/ 4075 h 10000"/>
                <a:gd name="connsiteX45" fmla="*/ 6994 w 9907"/>
                <a:gd name="connsiteY45" fmla="*/ 3990 h 10000"/>
                <a:gd name="connsiteX46" fmla="*/ 7010 w 9907"/>
                <a:gd name="connsiteY46" fmla="*/ 3915 h 10000"/>
                <a:gd name="connsiteX47" fmla="*/ 7024 w 9907"/>
                <a:gd name="connsiteY47" fmla="*/ 3830 h 10000"/>
                <a:gd name="connsiteX48" fmla="*/ 7041 w 9907"/>
                <a:gd name="connsiteY48" fmla="*/ 3750 h 10000"/>
                <a:gd name="connsiteX49" fmla="*/ 7064 w 9907"/>
                <a:gd name="connsiteY49" fmla="*/ 3665 h 10000"/>
                <a:gd name="connsiteX50" fmla="*/ 7087 w 9907"/>
                <a:gd name="connsiteY50" fmla="*/ 3589 h 10000"/>
                <a:gd name="connsiteX51" fmla="*/ 7112 w 9907"/>
                <a:gd name="connsiteY51" fmla="*/ 3508 h 10000"/>
                <a:gd name="connsiteX52" fmla="*/ 7134 w 9907"/>
                <a:gd name="connsiteY52" fmla="*/ 3424 h 10000"/>
                <a:gd name="connsiteX53" fmla="*/ 7166 w 9907"/>
                <a:gd name="connsiteY53" fmla="*/ 3355 h 10000"/>
                <a:gd name="connsiteX54" fmla="*/ 7196 w 9907"/>
                <a:gd name="connsiteY54" fmla="*/ 3275 h 10000"/>
                <a:gd name="connsiteX55" fmla="*/ 7229 w 9907"/>
                <a:gd name="connsiteY55" fmla="*/ 3194 h 10000"/>
                <a:gd name="connsiteX56" fmla="*/ 7268 w 9907"/>
                <a:gd name="connsiteY56" fmla="*/ 3118 h 10000"/>
                <a:gd name="connsiteX57" fmla="*/ 7299 w 9907"/>
                <a:gd name="connsiteY57" fmla="*/ 3046 h 10000"/>
                <a:gd name="connsiteX58" fmla="*/ 7339 w 9907"/>
                <a:gd name="connsiteY58" fmla="*/ 2964 h 10000"/>
                <a:gd name="connsiteX59" fmla="*/ 7385 w 9907"/>
                <a:gd name="connsiteY59" fmla="*/ 2898 h 10000"/>
                <a:gd name="connsiteX60" fmla="*/ 7423 w 9907"/>
                <a:gd name="connsiteY60" fmla="*/ 2823 h 10000"/>
                <a:gd name="connsiteX61" fmla="*/ 7471 w 9907"/>
                <a:gd name="connsiteY61" fmla="*/ 2754 h 10000"/>
                <a:gd name="connsiteX62" fmla="*/ 7511 w 9907"/>
                <a:gd name="connsiteY62" fmla="*/ 2676 h 10000"/>
                <a:gd name="connsiteX63" fmla="*/ 7566 w 9907"/>
                <a:gd name="connsiteY63" fmla="*/ 2613 h 10000"/>
                <a:gd name="connsiteX64" fmla="*/ 7620 w 9907"/>
                <a:gd name="connsiteY64" fmla="*/ 2538 h 10000"/>
                <a:gd name="connsiteX65" fmla="*/ 7668 w 9907"/>
                <a:gd name="connsiteY65" fmla="*/ 2471 h 10000"/>
                <a:gd name="connsiteX66" fmla="*/ 7721 w 9907"/>
                <a:gd name="connsiteY66" fmla="*/ 2404 h 10000"/>
                <a:gd name="connsiteX67" fmla="*/ 7778 w 9907"/>
                <a:gd name="connsiteY67" fmla="*/ 2331 h 10000"/>
                <a:gd name="connsiteX68" fmla="*/ 7831 w 9907"/>
                <a:gd name="connsiteY68" fmla="*/ 2269 h 10000"/>
                <a:gd name="connsiteX69" fmla="*/ 7895 w 9907"/>
                <a:gd name="connsiteY69" fmla="*/ 2203 h 10000"/>
                <a:gd name="connsiteX70" fmla="*/ 7948 w 9907"/>
                <a:gd name="connsiteY70" fmla="*/ 2145 h 10000"/>
                <a:gd name="connsiteX71" fmla="*/ 8012 w 9907"/>
                <a:gd name="connsiteY71" fmla="*/ 2077 h 10000"/>
                <a:gd name="connsiteX72" fmla="*/ 8039 w 9907"/>
                <a:gd name="connsiteY72" fmla="*/ 2042 h 10000"/>
                <a:gd name="connsiteX73" fmla="*/ 5695 w 9907"/>
                <a:gd name="connsiteY73" fmla="*/ 6 h 10000"/>
                <a:gd name="connsiteX74" fmla="*/ 1480 w 9907"/>
                <a:gd name="connsiteY74" fmla="*/ 0 h 10000"/>
                <a:gd name="connsiteX75" fmla="*/ 1379 w 9907"/>
                <a:gd name="connsiteY75" fmla="*/ 154 h 10000"/>
                <a:gd name="connsiteX76" fmla="*/ 1292 w 9907"/>
                <a:gd name="connsiteY76" fmla="*/ 269 h 10000"/>
                <a:gd name="connsiteX77" fmla="*/ 1214 w 9907"/>
                <a:gd name="connsiteY77" fmla="*/ 397 h 10000"/>
                <a:gd name="connsiteX78" fmla="*/ 1127 w 9907"/>
                <a:gd name="connsiteY78" fmla="*/ 523 h 10000"/>
                <a:gd name="connsiteX79" fmla="*/ 1057 w 9907"/>
                <a:gd name="connsiteY79" fmla="*/ 650 h 10000"/>
                <a:gd name="connsiteX80" fmla="*/ 979 w 9907"/>
                <a:gd name="connsiteY80" fmla="*/ 775 h 10000"/>
                <a:gd name="connsiteX81" fmla="*/ 908 w 9907"/>
                <a:gd name="connsiteY81" fmla="*/ 910 h 10000"/>
                <a:gd name="connsiteX82" fmla="*/ 837 w 9907"/>
                <a:gd name="connsiteY82" fmla="*/ 1043 h 10000"/>
                <a:gd name="connsiteX83" fmla="*/ 776 w 9907"/>
                <a:gd name="connsiteY83" fmla="*/ 1166 h 10000"/>
                <a:gd name="connsiteX84" fmla="*/ 713 w 9907"/>
                <a:gd name="connsiteY84" fmla="*/ 1304 h 10000"/>
                <a:gd name="connsiteX85" fmla="*/ 651 w 9907"/>
                <a:gd name="connsiteY85" fmla="*/ 1432 h 10000"/>
                <a:gd name="connsiteX86" fmla="*/ 586 w 9907"/>
                <a:gd name="connsiteY86" fmla="*/ 1572 h 10000"/>
                <a:gd name="connsiteX87" fmla="*/ 533 w 9907"/>
                <a:gd name="connsiteY87" fmla="*/ 1699 h 10000"/>
                <a:gd name="connsiteX88" fmla="*/ 477 w 9907"/>
                <a:gd name="connsiteY88" fmla="*/ 1833 h 10000"/>
                <a:gd name="connsiteX89" fmla="*/ 432 w 9907"/>
                <a:gd name="connsiteY89" fmla="*/ 1968 h 10000"/>
                <a:gd name="connsiteX90" fmla="*/ 383 w 9907"/>
                <a:gd name="connsiteY90" fmla="*/ 2104 h 10000"/>
                <a:gd name="connsiteX91" fmla="*/ 337 w 9907"/>
                <a:gd name="connsiteY91" fmla="*/ 2248 h 10000"/>
                <a:gd name="connsiteX92" fmla="*/ 299 w 9907"/>
                <a:gd name="connsiteY92" fmla="*/ 2384 h 10000"/>
                <a:gd name="connsiteX93" fmla="*/ 249 w 9907"/>
                <a:gd name="connsiteY93" fmla="*/ 2526 h 10000"/>
                <a:gd name="connsiteX94" fmla="*/ 220 w 9907"/>
                <a:gd name="connsiteY94" fmla="*/ 2666 h 10000"/>
                <a:gd name="connsiteX95" fmla="*/ 181 w 9907"/>
                <a:gd name="connsiteY95" fmla="*/ 2809 h 10000"/>
                <a:gd name="connsiteX96" fmla="*/ 155 w 9907"/>
                <a:gd name="connsiteY96" fmla="*/ 2953 h 10000"/>
                <a:gd name="connsiteX97" fmla="*/ 125 w 9907"/>
                <a:gd name="connsiteY97" fmla="*/ 3095 h 10000"/>
                <a:gd name="connsiteX98" fmla="*/ 102 w 9907"/>
                <a:gd name="connsiteY98" fmla="*/ 3235 h 10000"/>
                <a:gd name="connsiteX99" fmla="*/ 79 w 9907"/>
                <a:gd name="connsiteY99" fmla="*/ 3382 h 10000"/>
                <a:gd name="connsiteX100" fmla="*/ 53 w 9907"/>
                <a:gd name="connsiteY100" fmla="*/ 3534 h 10000"/>
                <a:gd name="connsiteX101" fmla="*/ 38 w 9907"/>
                <a:gd name="connsiteY101" fmla="*/ 3678 h 10000"/>
                <a:gd name="connsiteX102" fmla="*/ 22 w 9907"/>
                <a:gd name="connsiteY102" fmla="*/ 3822 h 10000"/>
                <a:gd name="connsiteX103" fmla="*/ 15 w 9907"/>
                <a:gd name="connsiteY103" fmla="*/ 3966 h 10000"/>
                <a:gd name="connsiteX104" fmla="*/ 7 w 9907"/>
                <a:gd name="connsiteY104" fmla="*/ 4116 h 10000"/>
                <a:gd name="connsiteX105" fmla="*/ 0 w 9907"/>
                <a:gd name="connsiteY105" fmla="*/ 4261 h 10000"/>
                <a:gd name="connsiteX106" fmla="*/ 0 w 9907"/>
                <a:gd name="connsiteY106" fmla="*/ 4413 h 10000"/>
                <a:gd name="connsiteX107" fmla="*/ 7 w 9907"/>
                <a:gd name="connsiteY107" fmla="*/ 4606 h 10000"/>
                <a:gd name="connsiteX108" fmla="*/ 7 w 9907"/>
                <a:gd name="connsiteY108" fmla="*/ 4798 h 10000"/>
                <a:gd name="connsiteX109" fmla="*/ 22 w 9907"/>
                <a:gd name="connsiteY109" fmla="*/ 4977 h 10000"/>
                <a:gd name="connsiteX110" fmla="*/ 38 w 9907"/>
                <a:gd name="connsiteY110" fmla="*/ 5166 h 10000"/>
                <a:gd name="connsiteX111" fmla="*/ 64 w 9907"/>
                <a:gd name="connsiteY111" fmla="*/ 5353 h 10000"/>
                <a:gd name="connsiteX112" fmla="*/ 95 w 9907"/>
                <a:gd name="connsiteY112" fmla="*/ 5540 h 10000"/>
                <a:gd name="connsiteX113" fmla="*/ 125 w 9907"/>
                <a:gd name="connsiteY113" fmla="*/ 5725 h 10000"/>
                <a:gd name="connsiteX114" fmla="*/ 155 w 9907"/>
                <a:gd name="connsiteY114" fmla="*/ 5909 h 10000"/>
                <a:gd name="connsiteX115" fmla="*/ 205 w 9907"/>
                <a:gd name="connsiteY115" fmla="*/ 6093 h 10000"/>
                <a:gd name="connsiteX116" fmla="*/ 249 w 9907"/>
                <a:gd name="connsiteY116" fmla="*/ 6273 h 10000"/>
                <a:gd name="connsiteX117" fmla="*/ 299 w 9907"/>
                <a:gd name="connsiteY117" fmla="*/ 6456 h 10000"/>
                <a:gd name="connsiteX118" fmla="*/ 352 w 9907"/>
                <a:gd name="connsiteY118" fmla="*/ 6633 h 10000"/>
                <a:gd name="connsiteX119" fmla="*/ 416 w 9907"/>
                <a:gd name="connsiteY119" fmla="*/ 6805 h 10000"/>
                <a:gd name="connsiteX120" fmla="*/ 477 w 9907"/>
                <a:gd name="connsiteY120" fmla="*/ 6984 h 10000"/>
                <a:gd name="connsiteX121" fmla="*/ 549 w 9907"/>
                <a:gd name="connsiteY121" fmla="*/ 7156 h 10000"/>
                <a:gd name="connsiteX122" fmla="*/ 619 w 9907"/>
                <a:gd name="connsiteY122" fmla="*/ 7336 h 10000"/>
                <a:gd name="connsiteX123" fmla="*/ 696 w 9907"/>
                <a:gd name="connsiteY123" fmla="*/ 7502 h 10000"/>
                <a:gd name="connsiteX124" fmla="*/ 783 w 9907"/>
                <a:gd name="connsiteY124" fmla="*/ 7665 h 10000"/>
                <a:gd name="connsiteX125" fmla="*/ 870 w 9907"/>
                <a:gd name="connsiteY125" fmla="*/ 7844 h 10000"/>
                <a:gd name="connsiteX126" fmla="*/ 955 w 9907"/>
                <a:gd name="connsiteY126" fmla="*/ 8007 h 10000"/>
                <a:gd name="connsiteX127" fmla="*/ 1049 w 9907"/>
                <a:gd name="connsiteY127" fmla="*/ 8168 h 10000"/>
                <a:gd name="connsiteX128" fmla="*/ 1152 w 9907"/>
                <a:gd name="connsiteY128" fmla="*/ 8323 h 10000"/>
                <a:gd name="connsiteX129" fmla="*/ 1253 w 9907"/>
                <a:gd name="connsiteY129" fmla="*/ 8490 h 10000"/>
                <a:gd name="connsiteX130" fmla="*/ 1363 w 9907"/>
                <a:gd name="connsiteY130" fmla="*/ 8651 h 10000"/>
                <a:gd name="connsiteX131" fmla="*/ 1464 w 9907"/>
                <a:gd name="connsiteY131" fmla="*/ 8808 h 10000"/>
                <a:gd name="connsiteX132" fmla="*/ 1582 w 9907"/>
                <a:gd name="connsiteY132" fmla="*/ 8966 h 10000"/>
                <a:gd name="connsiteX133" fmla="*/ 1700 w 9907"/>
                <a:gd name="connsiteY133" fmla="*/ 9114 h 10000"/>
                <a:gd name="connsiteX134" fmla="*/ 1825 w 9907"/>
                <a:gd name="connsiteY134" fmla="*/ 9273 h 10000"/>
                <a:gd name="connsiteX135" fmla="*/ 1950 w 9907"/>
                <a:gd name="connsiteY135" fmla="*/ 9420 h 10000"/>
                <a:gd name="connsiteX136" fmla="*/ 2075 w 9907"/>
                <a:gd name="connsiteY136" fmla="*/ 9566 h 10000"/>
                <a:gd name="connsiteX137" fmla="*/ 2208 w 9907"/>
                <a:gd name="connsiteY137" fmla="*/ 9706 h 10000"/>
                <a:gd name="connsiteX138" fmla="*/ 2350 w 9907"/>
                <a:gd name="connsiteY138" fmla="*/ 9855 h 10000"/>
                <a:gd name="connsiteX139" fmla="*/ 2482 w 9907"/>
                <a:gd name="connsiteY139" fmla="*/ 10000 h 10000"/>
                <a:gd name="connsiteX140" fmla="*/ 4594 w 9907"/>
                <a:gd name="connsiteY140" fmla="*/ 7469 h 10000"/>
                <a:gd name="connsiteX0" fmla="*/ 4637 w 9904"/>
                <a:gd name="connsiteY0" fmla="*/ 7469 h 10000"/>
                <a:gd name="connsiteX1" fmla="*/ 9904 w 9904"/>
                <a:gd name="connsiteY1" fmla="*/ 7837 h 10000"/>
                <a:gd name="connsiteX2" fmla="*/ 9723 w 9904"/>
                <a:gd name="connsiteY2" fmla="*/ 7772 h 10000"/>
                <a:gd name="connsiteX3" fmla="*/ 9550 w 9904"/>
                <a:gd name="connsiteY3" fmla="*/ 7698 h 10000"/>
                <a:gd name="connsiteX4" fmla="*/ 9376 w 9904"/>
                <a:gd name="connsiteY4" fmla="*/ 7624 h 10000"/>
                <a:gd name="connsiteX5" fmla="*/ 9210 w 9904"/>
                <a:gd name="connsiteY5" fmla="*/ 7536 h 10000"/>
                <a:gd name="connsiteX6" fmla="*/ 9043 w 9904"/>
                <a:gd name="connsiteY6" fmla="*/ 7448 h 10000"/>
                <a:gd name="connsiteX7" fmla="*/ 8894 w 9904"/>
                <a:gd name="connsiteY7" fmla="*/ 7365 h 10000"/>
                <a:gd name="connsiteX8" fmla="*/ 8743 w 9904"/>
                <a:gd name="connsiteY8" fmla="*/ 7266 h 10000"/>
                <a:gd name="connsiteX9" fmla="*/ 8592 w 9904"/>
                <a:gd name="connsiteY9" fmla="*/ 7161 h 10000"/>
                <a:gd name="connsiteX10" fmla="*/ 8450 w 9904"/>
                <a:gd name="connsiteY10" fmla="*/ 7056 h 10000"/>
                <a:gd name="connsiteX11" fmla="*/ 8316 w 9904"/>
                <a:gd name="connsiteY11" fmla="*/ 6942 h 10000"/>
                <a:gd name="connsiteX12" fmla="*/ 8182 w 9904"/>
                <a:gd name="connsiteY12" fmla="*/ 6833 h 10000"/>
                <a:gd name="connsiteX13" fmla="*/ 8056 w 9904"/>
                <a:gd name="connsiteY13" fmla="*/ 6719 h 10000"/>
                <a:gd name="connsiteX14" fmla="*/ 7945 w 9904"/>
                <a:gd name="connsiteY14" fmla="*/ 6593 h 10000"/>
                <a:gd name="connsiteX15" fmla="*/ 7834 w 9904"/>
                <a:gd name="connsiteY15" fmla="*/ 6467 h 10000"/>
                <a:gd name="connsiteX16" fmla="*/ 7732 w 9904"/>
                <a:gd name="connsiteY16" fmla="*/ 6338 h 10000"/>
                <a:gd name="connsiteX17" fmla="*/ 7637 w 9904"/>
                <a:gd name="connsiteY17" fmla="*/ 6209 h 10000"/>
                <a:gd name="connsiteX18" fmla="*/ 7541 w 9904"/>
                <a:gd name="connsiteY18" fmla="*/ 6073 h 10000"/>
                <a:gd name="connsiteX19" fmla="*/ 7454 w 9904"/>
                <a:gd name="connsiteY19" fmla="*/ 5928 h 10000"/>
                <a:gd name="connsiteX20" fmla="*/ 7415 w 9904"/>
                <a:gd name="connsiteY20" fmla="*/ 5865 h 10000"/>
                <a:gd name="connsiteX21" fmla="*/ 7375 w 9904"/>
                <a:gd name="connsiteY21" fmla="*/ 5789 h 10000"/>
                <a:gd name="connsiteX22" fmla="*/ 7344 w 9904"/>
                <a:gd name="connsiteY22" fmla="*/ 5721 h 10000"/>
                <a:gd name="connsiteX23" fmla="*/ 7305 w 9904"/>
                <a:gd name="connsiteY23" fmla="*/ 5646 h 10000"/>
                <a:gd name="connsiteX24" fmla="*/ 7273 w 9904"/>
                <a:gd name="connsiteY24" fmla="*/ 5575 h 10000"/>
                <a:gd name="connsiteX25" fmla="*/ 7241 w 9904"/>
                <a:gd name="connsiteY25" fmla="*/ 5501 h 10000"/>
                <a:gd name="connsiteX26" fmla="*/ 7217 w 9904"/>
                <a:gd name="connsiteY26" fmla="*/ 5424 h 10000"/>
                <a:gd name="connsiteX27" fmla="*/ 7186 w 9904"/>
                <a:gd name="connsiteY27" fmla="*/ 5353 h 10000"/>
                <a:gd name="connsiteX28" fmla="*/ 7169 w 9904"/>
                <a:gd name="connsiteY28" fmla="*/ 5274 h 10000"/>
                <a:gd name="connsiteX29" fmla="*/ 7138 w 9904"/>
                <a:gd name="connsiteY29" fmla="*/ 5200 h 10000"/>
                <a:gd name="connsiteX30" fmla="*/ 7122 w 9904"/>
                <a:gd name="connsiteY30" fmla="*/ 5122 h 10000"/>
                <a:gd name="connsiteX31" fmla="*/ 7107 w 9904"/>
                <a:gd name="connsiteY31" fmla="*/ 5048 h 10000"/>
                <a:gd name="connsiteX32" fmla="*/ 7090 w 9904"/>
                <a:gd name="connsiteY32" fmla="*/ 4966 h 10000"/>
                <a:gd name="connsiteX33" fmla="*/ 7076 w 9904"/>
                <a:gd name="connsiteY33" fmla="*/ 4893 h 10000"/>
                <a:gd name="connsiteX34" fmla="*/ 7060 w 9904"/>
                <a:gd name="connsiteY34" fmla="*/ 4815 h 10000"/>
                <a:gd name="connsiteX35" fmla="*/ 7051 w 9904"/>
                <a:gd name="connsiteY35" fmla="*/ 4739 h 10000"/>
                <a:gd name="connsiteX36" fmla="*/ 7042 w 9904"/>
                <a:gd name="connsiteY36" fmla="*/ 4656 h 10000"/>
                <a:gd name="connsiteX37" fmla="*/ 7034 w 9904"/>
                <a:gd name="connsiteY37" fmla="*/ 4573 h 10000"/>
                <a:gd name="connsiteX38" fmla="*/ 7034 w 9904"/>
                <a:gd name="connsiteY38" fmla="*/ 4497 h 10000"/>
                <a:gd name="connsiteX39" fmla="*/ 7027 w 9904"/>
                <a:gd name="connsiteY39" fmla="*/ 4413 h 10000"/>
                <a:gd name="connsiteX40" fmla="*/ 7034 w 9904"/>
                <a:gd name="connsiteY40" fmla="*/ 4334 h 10000"/>
                <a:gd name="connsiteX41" fmla="*/ 7042 w 9904"/>
                <a:gd name="connsiteY41" fmla="*/ 4248 h 10000"/>
                <a:gd name="connsiteX42" fmla="*/ 7042 w 9904"/>
                <a:gd name="connsiteY42" fmla="*/ 4160 h 10000"/>
                <a:gd name="connsiteX43" fmla="*/ 7051 w 9904"/>
                <a:gd name="connsiteY43" fmla="*/ 4075 h 10000"/>
                <a:gd name="connsiteX44" fmla="*/ 7060 w 9904"/>
                <a:gd name="connsiteY44" fmla="*/ 3990 h 10000"/>
                <a:gd name="connsiteX45" fmla="*/ 7076 w 9904"/>
                <a:gd name="connsiteY45" fmla="*/ 3915 h 10000"/>
                <a:gd name="connsiteX46" fmla="*/ 7090 w 9904"/>
                <a:gd name="connsiteY46" fmla="*/ 3830 h 10000"/>
                <a:gd name="connsiteX47" fmla="*/ 7107 w 9904"/>
                <a:gd name="connsiteY47" fmla="*/ 3750 h 10000"/>
                <a:gd name="connsiteX48" fmla="*/ 7130 w 9904"/>
                <a:gd name="connsiteY48" fmla="*/ 3665 h 10000"/>
                <a:gd name="connsiteX49" fmla="*/ 7154 w 9904"/>
                <a:gd name="connsiteY49" fmla="*/ 3589 h 10000"/>
                <a:gd name="connsiteX50" fmla="*/ 7179 w 9904"/>
                <a:gd name="connsiteY50" fmla="*/ 3508 h 10000"/>
                <a:gd name="connsiteX51" fmla="*/ 7201 w 9904"/>
                <a:gd name="connsiteY51" fmla="*/ 3424 h 10000"/>
                <a:gd name="connsiteX52" fmla="*/ 7233 w 9904"/>
                <a:gd name="connsiteY52" fmla="*/ 3355 h 10000"/>
                <a:gd name="connsiteX53" fmla="*/ 7264 w 9904"/>
                <a:gd name="connsiteY53" fmla="*/ 3275 h 10000"/>
                <a:gd name="connsiteX54" fmla="*/ 7297 w 9904"/>
                <a:gd name="connsiteY54" fmla="*/ 3194 h 10000"/>
                <a:gd name="connsiteX55" fmla="*/ 7336 w 9904"/>
                <a:gd name="connsiteY55" fmla="*/ 3118 h 10000"/>
                <a:gd name="connsiteX56" fmla="*/ 7368 w 9904"/>
                <a:gd name="connsiteY56" fmla="*/ 3046 h 10000"/>
                <a:gd name="connsiteX57" fmla="*/ 7408 w 9904"/>
                <a:gd name="connsiteY57" fmla="*/ 2964 h 10000"/>
                <a:gd name="connsiteX58" fmla="*/ 7454 w 9904"/>
                <a:gd name="connsiteY58" fmla="*/ 2898 h 10000"/>
                <a:gd name="connsiteX59" fmla="*/ 7493 w 9904"/>
                <a:gd name="connsiteY59" fmla="*/ 2823 h 10000"/>
                <a:gd name="connsiteX60" fmla="*/ 7541 w 9904"/>
                <a:gd name="connsiteY60" fmla="*/ 2754 h 10000"/>
                <a:gd name="connsiteX61" fmla="*/ 7582 w 9904"/>
                <a:gd name="connsiteY61" fmla="*/ 2676 h 10000"/>
                <a:gd name="connsiteX62" fmla="*/ 7637 w 9904"/>
                <a:gd name="connsiteY62" fmla="*/ 2613 h 10000"/>
                <a:gd name="connsiteX63" fmla="*/ 7692 w 9904"/>
                <a:gd name="connsiteY63" fmla="*/ 2538 h 10000"/>
                <a:gd name="connsiteX64" fmla="*/ 7740 w 9904"/>
                <a:gd name="connsiteY64" fmla="*/ 2471 h 10000"/>
                <a:gd name="connsiteX65" fmla="*/ 7793 w 9904"/>
                <a:gd name="connsiteY65" fmla="*/ 2404 h 10000"/>
                <a:gd name="connsiteX66" fmla="*/ 7851 w 9904"/>
                <a:gd name="connsiteY66" fmla="*/ 2331 h 10000"/>
                <a:gd name="connsiteX67" fmla="*/ 7905 w 9904"/>
                <a:gd name="connsiteY67" fmla="*/ 2269 h 10000"/>
                <a:gd name="connsiteX68" fmla="*/ 7969 w 9904"/>
                <a:gd name="connsiteY68" fmla="*/ 2203 h 10000"/>
                <a:gd name="connsiteX69" fmla="*/ 8023 w 9904"/>
                <a:gd name="connsiteY69" fmla="*/ 2145 h 10000"/>
                <a:gd name="connsiteX70" fmla="*/ 8087 w 9904"/>
                <a:gd name="connsiteY70" fmla="*/ 2077 h 10000"/>
                <a:gd name="connsiteX71" fmla="*/ 8114 w 9904"/>
                <a:gd name="connsiteY71" fmla="*/ 2042 h 10000"/>
                <a:gd name="connsiteX72" fmla="*/ 5748 w 9904"/>
                <a:gd name="connsiteY72" fmla="*/ 6 h 10000"/>
                <a:gd name="connsiteX73" fmla="*/ 1494 w 9904"/>
                <a:gd name="connsiteY73" fmla="*/ 0 h 10000"/>
                <a:gd name="connsiteX74" fmla="*/ 1392 w 9904"/>
                <a:gd name="connsiteY74" fmla="*/ 154 h 10000"/>
                <a:gd name="connsiteX75" fmla="*/ 1304 w 9904"/>
                <a:gd name="connsiteY75" fmla="*/ 269 h 10000"/>
                <a:gd name="connsiteX76" fmla="*/ 1225 w 9904"/>
                <a:gd name="connsiteY76" fmla="*/ 397 h 10000"/>
                <a:gd name="connsiteX77" fmla="*/ 1138 w 9904"/>
                <a:gd name="connsiteY77" fmla="*/ 523 h 10000"/>
                <a:gd name="connsiteX78" fmla="*/ 1067 w 9904"/>
                <a:gd name="connsiteY78" fmla="*/ 650 h 10000"/>
                <a:gd name="connsiteX79" fmla="*/ 988 w 9904"/>
                <a:gd name="connsiteY79" fmla="*/ 775 h 10000"/>
                <a:gd name="connsiteX80" fmla="*/ 917 w 9904"/>
                <a:gd name="connsiteY80" fmla="*/ 910 h 10000"/>
                <a:gd name="connsiteX81" fmla="*/ 845 w 9904"/>
                <a:gd name="connsiteY81" fmla="*/ 1043 h 10000"/>
                <a:gd name="connsiteX82" fmla="*/ 783 w 9904"/>
                <a:gd name="connsiteY82" fmla="*/ 1166 h 10000"/>
                <a:gd name="connsiteX83" fmla="*/ 720 w 9904"/>
                <a:gd name="connsiteY83" fmla="*/ 1304 h 10000"/>
                <a:gd name="connsiteX84" fmla="*/ 657 w 9904"/>
                <a:gd name="connsiteY84" fmla="*/ 1432 h 10000"/>
                <a:gd name="connsiteX85" fmla="*/ 592 w 9904"/>
                <a:gd name="connsiteY85" fmla="*/ 1572 h 10000"/>
                <a:gd name="connsiteX86" fmla="*/ 538 w 9904"/>
                <a:gd name="connsiteY86" fmla="*/ 1699 h 10000"/>
                <a:gd name="connsiteX87" fmla="*/ 481 w 9904"/>
                <a:gd name="connsiteY87" fmla="*/ 1833 h 10000"/>
                <a:gd name="connsiteX88" fmla="*/ 436 w 9904"/>
                <a:gd name="connsiteY88" fmla="*/ 1968 h 10000"/>
                <a:gd name="connsiteX89" fmla="*/ 387 w 9904"/>
                <a:gd name="connsiteY89" fmla="*/ 2104 h 10000"/>
                <a:gd name="connsiteX90" fmla="*/ 340 w 9904"/>
                <a:gd name="connsiteY90" fmla="*/ 2248 h 10000"/>
                <a:gd name="connsiteX91" fmla="*/ 302 w 9904"/>
                <a:gd name="connsiteY91" fmla="*/ 2384 h 10000"/>
                <a:gd name="connsiteX92" fmla="*/ 251 w 9904"/>
                <a:gd name="connsiteY92" fmla="*/ 2526 h 10000"/>
                <a:gd name="connsiteX93" fmla="*/ 222 w 9904"/>
                <a:gd name="connsiteY93" fmla="*/ 2666 h 10000"/>
                <a:gd name="connsiteX94" fmla="*/ 183 w 9904"/>
                <a:gd name="connsiteY94" fmla="*/ 2809 h 10000"/>
                <a:gd name="connsiteX95" fmla="*/ 156 w 9904"/>
                <a:gd name="connsiteY95" fmla="*/ 2953 h 10000"/>
                <a:gd name="connsiteX96" fmla="*/ 126 w 9904"/>
                <a:gd name="connsiteY96" fmla="*/ 3095 h 10000"/>
                <a:gd name="connsiteX97" fmla="*/ 103 w 9904"/>
                <a:gd name="connsiteY97" fmla="*/ 3235 h 10000"/>
                <a:gd name="connsiteX98" fmla="*/ 80 w 9904"/>
                <a:gd name="connsiteY98" fmla="*/ 3382 h 10000"/>
                <a:gd name="connsiteX99" fmla="*/ 53 w 9904"/>
                <a:gd name="connsiteY99" fmla="*/ 3534 h 10000"/>
                <a:gd name="connsiteX100" fmla="*/ 38 w 9904"/>
                <a:gd name="connsiteY100" fmla="*/ 3678 h 10000"/>
                <a:gd name="connsiteX101" fmla="*/ 22 w 9904"/>
                <a:gd name="connsiteY101" fmla="*/ 3822 h 10000"/>
                <a:gd name="connsiteX102" fmla="*/ 15 w 9904"/>
                <a:gd name="connsiteY102" fmla="*/ 3966 h 10000"/>
                <a:gd name="connsiteX103" fmla="*/ 7 w 9904"/>
                <a:gd name="connsiteY103" fmla="*/ 4116 h 10000"/>
                <a:gd name="connsiteX104" fmla="*/ 0 w 9904"/>
                <a:gd name="connsiteY104" fmla="*/ 4261 h 10000"/>
                <a:gd name="connsiteX105" fmla="*/ 0 w 9904"/>
                <a:gd name="connsiteY105" fmla="*/ 4413 h 10000"/>
                <a:gd name="connsiteX106" fmla="*/ 7 w 9904"/>
                <a:gd name="connsiteY106" fmla="*/ 4606 h 10000"/>
                <a:gd name="connsiteX107" fmla="*/ 7 w 9904"/>
                <a:gd name="connsiteY107" fmla="*/ 4798 h 10000"/>
                <a:gd name="connsiteX108" fmla="*/ 22 w 9904"/>
                <a:gd name="connsiteY108" fmla="*/ 4977 h 10000"/>
                <a:gd name="connsiteX109" fmla="*/ 38 w 9904"/>
                <a:gd name="connsiteY109" fmla="*/ 5166 h 10000"/>
                <a:gd name="connsiteX110" fmla="*/ 65 w 9904"/>
                <a:gd name="connsiteY110" fmla="*/ 5353 h 10000"/>
                <a:gd name="connsiteX111" fmla="*/ 96 w 9904"/>
                <a:gd name="connsiteY111" fmla="*/ 5540 h 10000"/>
                <a:gd name="connsiteX112" fmla="*/ 126 w 9904"/>
                <a:gd name="connsiteY112" fmla="*/ 5725 h 10000"/>
                <a:gd name="connsiteX113" fmla="*/ 156 w 9904"/>
                <a:gd name="connsiteY113" fmla="*/ 5909 h 10000"/>
                <a:gd name="connsiteX114" fmla="*/ 207 w 9904"/>
                <a:gd name="connsiteY114" fmla="*/ 6093 h 10000"/>
                <a:gd name="connsiteX115" fmla="*/ 251 w 9904"/>
                <a:gd name="connsiteY115" fmla="*/ 6273 h 10000"/>
                <a:gd name="connsiteX116" fmla="*/ 302 w 9904"/>
                <a:gd name="connsiteY116" fmla="*/ 6456 h 10000"/>
                <a:gd name="connsiteX117" fmla="*/ 355 w 9904"/>
                <a:gd name="connsiteY117" fmla="*/ 6633 h 10000"/>
                <a:gd name="connsiteX118" fmla="*/ 420 w 9904"/>
                <a:gd name="connsiteY118" fmla="*/ 6805 h 10000"/>
                <a:gd name="connsiteX119" fmla="*/ 481 w 9904"/>
                <a:gd name="connsiteY119" fmla="*/ 6984 h 10000"/>
                <a:gd name="connsiteX120" fmla="*/ 554 w 9904"/>
                <a:gd name="connsiteY120" fmla="*/ 7156 h 10000"/>
                <a:gd name="connsiteX121" fmla="*/ 625 w 9904"/>
                <a:gd name="connsiteY121" fmla="*/ 7336 h 10000"/>
                <a:gd name="connsiteX122" fmla="*/ 703 w 9904"/>
                <a:gd name="connsiteY122" fmla="*/ 7502 h 10000"/>
                <a:gd name="connsiteX123" fmla="*/ 790 w 9904"/>
                <a:gd name="connsiteY123" fmla="*/ 7665 h 10000"/>
                <a:gd name="connsiteX124" fmla="*/ 878 w 9904"/>
                <a:gd name="connsiteY124" fmla="*/ 7844 h 10000"/>
                <a:gd name="connsiteX125" fmla="*/ 964 w 9904"/>
                <a:gd name="connsiteY125" fmla="*/ 8007 h 10000"/>
                <a:gd name="connsiteX126" fmla="*/ 1059 w 9904"/>
                <a:gd name="connsiteY126" fmla="*/ 8168 h 10000"/>
                <a:gd name="connsiteX127" fmla="*/ 1163 w 9904"/>
                <a:gd name="connsiteY127" fmla="*/ 8323 h 10000"/>
                <a:gd name="connsiteX128" fmla="*/ 1265 w 9904"/>
                <a:gd name="connsiteY128" fmla="*/ 8490 h 10000"/>
                <a:gd name="connsiteX129" fmla="*/ 1376 w 9904"/>
                <a:gd name="connsiteY129" fmla="*/ 8651 h 10000"/>
                <a:gd name="connsiteX130" fmla="*/ 1478 w 9904"/>
                <a:gd name="connsiteY130" fmla="*/ 8808 h 10000"/>
                <a:gd name="connsiteX131" fmla="*/ 1597 w 9904"/>
                <a:gd name="connsiteY131" fmla="*/ 8966 h 10000"/>
                <a:gd name="connsiteX132" fmla="*/ 1716 w 9904"/>
                <a:gd name="connsiteY132" fmla="*/ 9114 h 10000"/>
                <a:gd name="connsiteX133" fmla="*/ 1842 w 9904"/>
                <a:gd name="connsiteY133" fmla="*/ 9273 h 10000"/>
                <a:gd name="connsiteX134" fmla="*/ 1968 w 9904"/>
                <a:gd name="connsiteY134" fmla="*/ 9420 h 10000"/>
                <a:gd name="connsiteX135" fmla="*/ 2094 w 9904"/>
                <a:gd name="connsiteY135" fmla="*/ 9566 h 10000"/>
                <a:gd name="connsiteX136" fmla="*/ 2229 w 9904"/>
                <a:gd name="connsiteY136" fmla="*/ 9706 h 10000"/>
                <a:gd name="connsiteX137" fmla="*/ 2372 w 9904"/>
                <a:gd name="connsiteY137" fmla="*/ 9855 h 10000"/>
                <a:gd name="connsiteX138" fmla="*/ 2505 w 9904"/>
                <a:gd name="connsiteY138" fmla="*/ 10000 h 10000"/>
                <a:gd name="connsiteX139" fmla="*/ 4637 w 9904"/>
                <a:gd name="connsiteY139" fmla="*/ 7469 h 10000"/>
                <a:gd name="connsiteX0" fmla="*/ 4682 w 9817"/>
                <a:gd name="connsiteY0" fmla="*/ 7469 h 10000"/>
                <a:gd name="connsiteX1" fmla="*/ 9817 w 9817"/>
                <a:gd name="connsiteY1" fmla="*/ 7772 h 10000"/>
                <a:gd name="connsiteX2" fmla="*/ 9643 w 9817"/>
                <a:gd name="connsiteY2" fmla="*/ 7698 h 10000"/>
                <a:gd name="connsiteX3" fmla="*/ 9467 w 9817"/>
                <a:gd name="connsiteY3" fmla="*/ 7624 h 10000"/>
                <a:gd name="connsiteX4" fmla="*/ 9299 w 9817"/>
                <a:gd name="connsiteY4" fmla="*/ 7536 h 10000"/>
                <a:gd name="connsiteX5" fmla="*/ 9131 w 9817"/>
                <a:gd name="connsiteY5" fmla="*/ 7448 h 10000"/>
                <a:gd name="connsiteX6" fmla="*/ 8980 w 9817"/>
                <a:gd name="connsiteY6" fmla="*/ 7365 h 10000"/>
                <a:gd name="connsiteX7" fmla="*/ 8828 w 9817"/>
                <a:gd name="connsiteY7" fmla="*/ 7266 h 10000"/>
                <a:gd name="connsiteX8" fmla="*/ 8675 w 9817"/>
                <a:gd name="connsiteY8" fmla="*/ 7161 h 10000"/>
                <a:gd name="connsiteX9" fmla="*/ 8532 w 9817"/>
                <a:gd name="connsiteY9" fmla="*/ 7056 h 10000"/>
                <a:gd name="connsiteX10" fmla="*/ 8397 w 9817"/>
                <a:gd name="connsiteY10" fmla="*/ 6942 h 10000"/>
                <a:gd name="connsiteX11" fmla="*/ 8261 w 9817"/>
                <a:gd name="connsiteY11" fmla="*/ 6833 h 10000"/>
                <a:gd name="connsiteX12" fmla="*/ 8134 w 9817"/>
                <a:gd name="connsiteY12" fmla="*/ 6719 h 10000"/>
                <a:gd name="connsiteX13" fmla="*/ 8022 w 9817"/>
                <a:gd name="connsiteY13" fmla="*/ 6593 h 10000"/>
                <a:gd name="connsiteX14" fmla="*/ 7910 w 9817"/>
                <a:gd name="connsiteY14" fmla="*/ 6467 h 10000"/>
                <a:gd name="connsiteX15" fmla="*/ 7807 w 9817"/>
                <a:gd name="connsiteY15" fmla="*/ 6338 h 10000"/>
                <a:gd name="connsiteX16" fmla="*/ 7711 w 9817"/>
                <a:gd name="connsiteY16" fmla="*/ 6209 h 10000"/>
                <a:gd name="connsiteX17" fmla="*/ 7614 w 9817"/>
                <a:gd name="connsiteY17" fmla="*/ 6073 h 10000"/>
                <a:gd name="connsiteX18" fmla="*/ 7526 w 9817"/>
                <a:gd name="connsiteY18" fmla="*/ 5928 h 10000"/>
                <a:gd name="connsiteX19" fmla="*/ 7487 w 9817"/>
                <a:gd name="connsiteY19" fmla="*/ 5865 h 10000"/>
                <a:gd name="connsiteX20" fmla="*/ 7446 w 9817"/>
                <a:gd name="connsiteY20" fmla="*/ 5789 h 10000"/>
                <a:gd name="connsiteX21" fmla="*/ 7415 w 9817"/>
                <a:gd name="connsiteY21" fmla="*/ 5721 h 10000"/>
                <a:gd name="connsiteX22" fmla="*/ 7376 w 9817"/>
                <a:gd name="connsiteY22" fmla="*/ 5646 h 10000"/>
                <a:gd name="connsiteX23" fmla="*/ 7343 w 9817"/>
                <a:gd name="connsiteY23" fmla="*/ 5575 h 10000"/>
                <a:gd name="connsiteX24" fmla="*/ 7311 w 9817"/>
                <a:gd name="connsiteY24" fmla="*/ 5501 h 10000"/>
                <a:gd name="connsiteX25" fmla="*/ 7287 w 9817"/>
                <a:gd name="connsiteY25" fmla="*/ 5424 h 10000"/>
                <a:gd name="connsiteX26" fmla="*/ 7256 w 9817"/>
                <a:gd name="connsiteY26" fmla="*/ 5353 h 10000"/>
                <a:gd name="connsiteX27" fmla="*/ 7238 w 9817"/>
                <a:gd name="connsiteY27" fmla="*/ 5274 h 10000"/>
                <a:gd name="connsiteX28" fmla="*/ 7207 w 9817"/>
                <a:gd name="connsiteY28" fmla="*/ 5200 h 10000"/>
                <a:gd name="connsiteX29" fmla="*/ 7191 w 9817"/>
                <a:gd name="connsiteY29" fmla="*/ 5122 h 10000"/>
                <a:gd name="connsiteX30" fmla="*/ 7176 w 9817"/>
                <a:gd name="connsiteY30" fmla="*/ 5048 h 10000"/>
                <a:gd name="connsiteX31" fmla="*/ 7159 w 9817"/>
                <a:gd name="connsiteY31" fmla="*/ 4966 h 10000"/>
                <a:gd name="connsiteX32" fmla="*/ 7145 w 9817"/>
                <a:gd name="connsiteY32" fmla="*/ 4893 h 10000"/>
                <a:gd name="connsiteX33" fmla="*/ 7128 w 9817"/>
                <a:gd name="connsiteY33" fmla="*/ 4815 h 10000"/>
                <a:gd name="connsiteX34" fmla="*/ 7119 w 9817"/>
                <a:gd name="connsiteY34" fmla="*/ 4739 h 10000"/>
                <a:gd name="connsiteX35" fmla="*/ 7110 w 9817"/>
                <a:gd name="connsiteY35" fmla="*/ 4656 h 10000"/>
                <a:gd name="connsiteX36" fmla="*/ 7102 w 9817"/>
                <a:gd name="connsiteY36" fmla="*/ 4573 h 10000"/>
                <a:gd name="connsiteX37" fmla="*/ 7102 w 9817"/>
                <a:gd name="connsiteY37" fmla="*/ 4497 h 10000"/>
                <a:gd name="connsiteX38" fmla="*/ 7095 w 9817"/>
                <a:gd name="connsiteY38" fmla="*/ 4413 h 10000"/>
                <a:gd name="connsiteX39" fmla="*/ 7102 w 9817"/>
                <a:gd name="connsiteY39" fmla="*/ 4334 h 10000"/>
                <a:gd name="connsiteX40" fmla="*/ 7110 w 9817"/>
                <a:gd name="connsiteY40" fmla="*/ 4248 h 10000"/>
                <a:gd name="connsiteX41" fmla="*/ 7110 w 9817"/>
                <a:gd name="connsiteY41" fmla="*/ 4160 h 10000"/>
                <a:gd name="connsiteX42" fmla="*/ 7119 w 9817"/>
                <a:gd name="connsiteY42" fmla="*/ 4075 h 10000"/>
                <a:gd name="connsiteX43" fmla="*/ 7128 w 9817"/>
                <a:gd name="connsiteY43" fmla="*/ 3990 h 10000"/>
                <a:gd name="connsiteX44" fmla="*/ 7145 w 9817"/>
                <a:gd name="connsiteY44" fmla="*/ 3915 h 10000"/>
                <a:gd name="connsiteX45" fmla="*/ 7159 w 9817"/>
                <a:gd name="connsiteY45" fmla="*/ 3830 h 10000"/>
                <a:gd name="connsiteX46" fmla="*/ 7176 w 9817"/>
                <a:gd name="connsiteY46" fmla="*/ 3750 h 10000"/>
                <a:gd name="connsiteX47" fmla="*/ 7199 w 9817"/>
                <a:gd name="connsiteY47" fmla="*/ 3665 h 10000"/>
                <a:gd name="connsiteX48" fmla="*/ 7223 w 9817"/>
                <a:gd name="connsiteY48" fmla="*/ 3589 h 10000"/>
                <a:gd name="connsiteX49" fmla="*/ 7249 w 9817"/>
                <a:gd name="connsiteY49" fmla="*/ 3508 h 10000"/>
                <a:gd name="connsiteX50" fmla="*/ 7271 w 9817"/>
                <a:gd name="connsiteY50" fmla="*/ 3424 h 10000"/>
                <a:gd name="connsiteX51" fmla="*/ 7303 w 9817"/>
                <a:gd name="connsiteY51" fmla="*/ 3355 h 10000"/>
                <a:gd name="connsiteX52" fmla="*/ 7334 w 9817"/>
                <a:gd name="connsiteY52" fmla="*/ 3275 h 10000"/>
                <a:gd name="connsiteX53" fmla="*/ 7368 w 9817"/>
                <a:gd name="connsiteY53" fmla="*/ 3194 h 10000"/>
                <a:gd name="connsiteX54" fmla="*/ 7407 w 9817"/>
                <a:gd name="connsiteY54" fmla="*/ 3118 h 10000"/>
                <a:gd name="connsiteX55" fmla="*/ 7439 w 9817"/>
                <a:gd name="connsiteY55" fmla="*/ 3046 h 10000"/>
                <a:gd name="connsiteX56" fmla="*/ 7480 w 9817"/>
                <a:gd name="connsiteY56" fmla="*/ 2964 h 10000"/>
                <a:gd name="connsiteX57" fmla="*/ 7526 w 9817"/>
                <a:gd name="connsiteY57" fmla="*/ 2898 h 10000"/>
                <a:gd name="connsiteX58" fmla="*/ 7566 w 9817"/>
                <a:gd name="connsiteY58" fmla="*/ 2823 h 10000"/>
                <a:gd name="connsiteX59" fmla="*/ 7614 w 9817"/>
                <a:gd name="connsiteY59" fmla="*/ 2754 h 10000"/>
                <a:gd name="connsiteX60" fmla="*/ 7655 w 9817"/>
                <a:gd name="connsiteY60" fmla="*/ 2676 h 10000"/>
                <a:gd name="connsiteX61" fmla="*/ 7711 w 9817"/>
                <a:gd name="connsiteY61" fmla="*/ 2613 h 10000"/>
                <a:gd name="connsiteX62" fmla="*/ 7767 w 9817"/>
                <a:gd name="connsiteY62" fmla="*/ 2538 h 10000"/>
                <a:gd name="connsiteX63" fmla="*/ 7815 w 9817"/>
                <a:gd name="connsiteY63" fmla="*/ 2471 h 10000"/>
                <a:gd name="connsiteX64" fmla="*/ 7869 w 9817"/>
                <a:gd name="connsiteY64" fmla="*/ 2404 h 10000"/>
                <a:gd name="connsiteX65" fmla="*/ 7927 w 9817"/>
                <a:gd name="connsiteY65" fmla="*/ 2331 h 10000"/>
                <a:gd name="connsiteX66" fmla="*/ 7982 w 9817"/>
                <a:gd name="connsiteY66" fmla="*/ 2269 h 10000"/>
                <a:gd name="connsiteX67" fmla="*/ 8046 w 9817"/>
                <a:gd name="connsiteY67" fmla="*/ 2203 h 10000"/>
                <a:gd name="connsiteX68" fmla="*/ 8101 w 9817"/>
                <a:gd name="connsiteY68" fmla="*/ 2145 h 10000"/>
                <a:gd name="connsiteX69" fmla="*/ 8165 w 9817"/>
                <a:gd name="connsiteY69" fmla="*/ 2077 h 10000"/>
                <a:gd name="connsiteX70" fmla="*/ 8193 w 9817"/>
                <a:gd name="connsiteY70" fmla="*/ 2042 h 10000"/>
                <a:gd name="connsiteX71" fmla="*/ 5804 w 9817"/>
                <a:gd name="connsiteY71" fmla="*/ 6 h 10000"/>
                <a:gd name="connsiteX72" fmla="*/ 1508 w 9817"/>
                <a:gd name="connsiteY72" fmla="*/ 0 h 10000"/>
                <a:gd name="connsiteX73" fmla="*/ 1405 w 9817"/>
                <a:gd name="connsiteY73" fmla="*/ 154 h 10000"/>
                <a:gd name="connsiteX74" fmla="*/ 1317 w 9817"/>
                <a:gd name="connsiteY74" fmla="*/ 269 h 10000"/>
                <a:gd name="connsiteX75" fmla="*/ 1237 w 9817"/>
                <a:gd name="connsiteY75" fmla="*/ 397 h 10000"/>
                <a:gd name="connsiteX76" fmla="*/ 1149 w 9817"/>
                <a:gd name="connsiteY76" fmla="*/ 523 h 10000"/>
                <a:gd name="connsiteX77" fmla="*/ 1077 w 9817"/>
                <a:gd name="connsiteY77" fmla="*/ 650 h 10000"/>
                <a:gd name="connsiteX78" fmla="*/ 998 w 9817"/>
                <a:gd name="connsiteY78" fmla="*/ 775 h 10000"/>
                <a:gd name="connsiteX79" fmla="*/ 926 w 9817"/>
                <a:gd name="connsiteY79" fmla="*/ 910 h 10000"/>
                <a:gd name="connsiteX80" fmla="*/ 853 w 9817"/>
                <a:gd name="connsiteY80" fmla="*/ 1043 h 10000"/>
                <a:gd name="connsiteX81" fmla="*/ 791 w 9817"/>
                <a:gd name="connsiteY81" fmla="*/ 1166 h 10000"/>
                <a:gd name="connsiteX82" fmla="*/ 727 w 9817"/>
                <a:gd name="connsiteY82" fmla="*/ 1304 h 10000"/>
                <a:gd name="connsiteX83" fmla="*/ 663 w 9817"/>
                <a:gd name="connsiteY83" fmla="*/ 1432 h 10000"/>
                <a:gd name="connsiteX84" fmla="*/ 598 w 9817"/>
                <a:gd name="connsiteY84" fmla="*/ 1572 h 10000"/>
                <a:gd name="connsiteX85" fmla="*/ 543 w 9817"/>
                <a:gd name="connsiteY85" fmla="*/ 1699 h 10000"/>
                <a:gd name="connsiteX86" fmla="*/ 486 w 9817"/>
                <a:gd name="connsiteY86" fmla="*/ 1833 h 10000"/>
                <a:gd name="connsiteX87" fmla="*/ 440 w 9817"/>
                <a:gd name="connsiteY87" fmla="*/ 1968 h 10000"/>
                <a:gd name="connsiteX88" fmla="*/ 391 w 9817"/>
                <a:gd name="connsiteY88" fmla="*/ 2104 h 10000"/>
                <a:gd name="connsiteX89" fmla="*/ 343 w 9817"/>
                <a:gd name="connsiteY89" fmla="*/ 2248 h 10000"/>
                <a:gd name="connsiteX90" fmla="*/ 305 w 9817"/>
                <a:gd name="connsiteY90" fmla="*/ 2384 h 10000"/>
                <a:gd name="connsiteX91" fmla="*/ 253 w 9817"/>
                <a:gd name="connsiteY91" fmla="*/ 2526 h 10000"/>
                <a:gd name="connsiteX92" fmla="*/ 224 w 9817"/>
                <a:gd name="connsiteY92" fmla="*/ 2666 h 10000"/>
                <a:gd name="connsiteX93" fmla="*/ 185 w 9817"/>
                <a:gd name="connsiteY93" fmla="*/ 2809 h 10000"/>
                <a:gd name="connsiteX94" fmla="*/ 158 w 9817"/>
                <a:gd name="connsiteY94" fmla="*/ 2953 h 10000"/>
                <a:gd name="connsiteX95" fmla="*/ 127 w 9817"/>
                <a:gd name="connsiteY95" fmla="*/ 3095 h 10000"/>
                <a:gd name="connsiteX96" fmla="*/ 104 w 9817"/>
                <a:gd name="connsiteY96" fmla="*/ 3235 h 10000"/>
                <a:gd name="connsiteX97" fmla="*/ 81 w 9817"/>
                <a:gd name="connsiteY97" fmla="*/ 3382 h 10000"/>
                <a:gd name="connsiteX98" fmla="*/ 54 w 9817"/>
                <a:gd name="connsiteY98" fmla="*/ 3534 h 10000"/>
                <a:gd name="connsiteX99" fmla="*/ 38 w 9817"/>
                <a:gd name="connsiteY99" fmla="*/ 3678 h 10000"/>
                <a:gd name="connsiteX100" fmla="*/ 22 w 9817"/>
                <a:gd name="connsiteY100" fmla="*/ 3822 h 10000"/>
                <a:gd name="connsiteX101" fmla="*/ 15 w 9817"/>
                <a:gd name="connsiteY101" fmla="*/ 3966 h 10000"/>
                <a:gd name="connsiteX102" fmla="*/ 7 w 9817"/>
                <a:gd name="connsiteY102" fmla="*/ 4116 h 10000"/>
                <a:gd name="connsiteX103" fmla="*/ 0 w 9817"/>
                <a:gd name="connsiteY103" fmla="*/ 4261 h 10000"/>
                <a:gd name="connsiteX104" fmla="*/ 0 w 9817"/>
                <a:gd name="connsiteY104" fmla="*/ 4413 h 10000"/>
                <a:gd name="connsiteX105" fmla="*/ 7 w 9817"/>
                <a:gd name="connsiteY105" fmla="*/ 4606 h 10000"/>
                <a:gd name="connsiteX106" fmla="*/ 7 w 9817"/>
                <a:gd name="connsiteY106" fmla="*/ 4798 h 10000"/>
                <a:gd name="connsiteX107" fmla="*/ 22 w 9817"/>
                <a:gd name="connsiteY107" fmla="*/ 4977 h 10000"/>
                <a:gd name="connsiteX108" fmla="*/ 38 w 9817"/>
                <a:gd name="connsiteY108" fmla="*/ 5166 h 10000"/>
                <a:gd name="connsiteX109" fmla="*/ 66 w 9817"/>
                <a:gd name="connsiteY109" fmla="*/ 5353 h 10000"/>
                <a:gd name="connsiteX110" fmla="*/ 97 w 9817"/>
                <a:gd name="connsiteY110" fmla="*/ 5540 h 10000"/>
                <a:gd name="connsiteX111" fmla="*/ 127 w 9817"/>
                <a:gd name="connsiteY111" fmla="*/ 5725 h 10000"/>
                <a:gd name="connsiteX112" fmla="*/ 158 w 9817"/>
                <a:gd name="connsiteY112" fmla="*/ 5909 h 10000"/>
                <a:gd name="connsiteX113" fmla="*/ 209 w 9817"/>
                <a:gd name="connsiteY113" fmla="*/ 6093 h 10000"/>
                <a:gd name="connsiteX114" fmla="*/ 253 w 9817"/>
                <a:gd name="connsiteY114" fmla="*/ 6273 h 10000"/>
                <a:gd name="connsiteX115" fmla="*/ 305 w 9817"/>
                <a:gd name="connsiteY115" fmla="*/ 6456 h 10000"/>
                <a:gd name="connsiteX116" fmla="*/ 358 w 9817"/>
                <a:gd name="connsiteY116" fmla="*/ 6633 h 10000"/>
                <a:gd name="connsiteX117" fmla="*/ 424 w 9817"/>
                <a:gd name="connsiteY117" fmla="*/ 6805 h 10000"/>
                <a:gd name="connsiteX118" fmla="*/ 486 w 9817"/>
                <a:gd name="connsiteY118" fmla="*/ 6984 h 10000"/>
                <a:gd name="connsiteX119" fmla="*/ 559 w 9817"/>
                <a:gd name="connsiteY119" fmla="*/ 7156 h 10000"/>
                <a:gd name="connsiteX120" fmla="*/ 631 w 9817"/>
                <a:gd name="connsiteY120" fmla="*/ 7336 h 10000"/>
                <a:gd name="connsiteX121" fmla="*/ 710 w 9817"/>
                <a:gd name="connsiteY121" fmla="*/ 7502 h 10000"/>
                <a:gd name="connsiteX122" fmla="*/ 798 w 9817"/>
                <a:gd name="connsiteY122" fmla="*/ 7665 h 10000"/>
                <a:gd name="connsiteX123" fmla="*/ 887 w 9817"/>
                <a:gd name="connsiteY123" fmla="*/ 7844 h 10000"/>
                <a:gd name="connsiteX124" fmla="*/ 973 w 9817"/>
                <a:gd name="connsiteY124" fmla="*/ 8007 h 10000"/>
                <a:gd name="connsiteX125" fmla="*/ 1069 w 9817"/>
                <a:gd name="connsiteY125" fmla="*/ 8168 h 10000"/>
                <a:gd name="connsiteX126" fmla="*/ 1174 w 9817"/>
                <a:gd name="connsiteY126" fmla="*/ 8323 h 10000"/>
                <a:gd name="connsiteX127" fmla="*/ 1277 w 9817"/>
                <a:gd name="connsiteY127" fmla="*/ 8490 h 10000"/>
                <a:gd name="connsiteX128" fmla="*/ 1389 w 9817"/>
                <a:gd name="connsiteY128" fmla="*/ 8651 h 10000"/>
                <a:gd name="connsiteX129" fmla="*/ 1492 w 9817"/>
                <a:gd name="connsiteY129" fmla="*/ 8808 h 10000"/>
                <a:gd name="connsiteX130" fmla="*/ 1612 w 9817"/>
                <a:gd name="connsiteY130" fmla="*/ 8966 h 10000"/>
                <a:gd name="connsiteX131" fmla="*/ 1733 w 9817"/>
                <a:gd name="connsiteY131" fmla="*/ 9114 h 10000"/>
                <a:gd name="connsiteX132" fmla="*/ 1860 w 9817"/>
                <a:gd name="connsiteY132" fmla="*/ 9273 h 10000"/>
                <a:gd name="connsiteX133" fmla="*/ 1987 w 9817"/>
                <a:gd name="connsiteY133" fmla="*/ 9420 h 10000"/>
                <a:gd name="connsiteX134" fmla="*/ 2114 w 9817"/>
                <a:gd name="connsiteY134" fmla="*/ 9566 h 10000"/>
                <a:gd name="connsiteX135" fmla="*/ 2251 w 9817"/>
                <a:gd name="connsiteY135" fmla="*/ 9706 h 10000"/>
                <a:gd name="connsiteX136" fmla="*/ 2395 w 9817"/>
                <a:gd name="connsiteY136" fmla="*/ 9855 h 10000"/>
                <a:gd name="connsiteX137" fmla="*/ 2529 w 9817"/>
                <a:gd name="connsiteY137" fmla="*/ 10000 h 10000"/>
                <a:gd name="connsiteX138" fmla="*/ 4682 w 9817"/>
                <a:gd name="connsiteY138" fmla="*/ 7469 h 10000"/>
                <a:gd name="connsiteX0" fmla="*/ 4769 w 9823"/>
                <a:gd name="connsiteY0" fmla="*/ 7469 h 10000"/>
                <a:gd name="connsiteX1" fmla="*/ 9823 w 9823"/>
                <a:gd name="connsiteY1" fmla="*/ 7698 h 10000"/>
                <a:gd name="connsiteX2" fmla="*/ 9643 w 9823"/>
                <a:gd name="connsiteY2" fmla="*/ 7624 h 10000"/>
                <a:gd name="connsiteX3" fmla="*/ 9472 w 9823"/>
                <a:gd name="connsiteY3" fmla="*/ 7536 h 10000"/>
                <a:gd name="connsiteX4" fmla="*/ 9301 w 9823"/>
                <a:gd name="connsiteY4" fmla="*/ 7448 h 10000"/>
                <a:gd name="connsiteX5" fmla="*/ 9147 w 9823"/>
                <a:gd name="connsiteY5" fmla="*/ 7365 h 10000"/>
                <a:gd name="connsiteX6" fmla="*/ 8993 w 9823"/>
                <a:gd name="connsiteY6" fmla="*/ 7266 h 10000"/>
                <a:gd name="connsiteX7" fmla="*/ 8837 w 9823"/>
                <a:gd name="connsiteY7" fmla="*/ 7161 h 10000"/>
                <a:gd name="connsiteX8" fmla="*/ 8691 w 9823"/>
                <a:gd name="connsiteY8" fmla="*/ 7056 h 10000"/>
                <a:gd name="connsiteX9" fmla="*/ 8554 w 9823"/>
                <a:gd name="connsiteY9" fmla="*/ 6942 h 10000"/>
                <a:gd name="connsiteX10" fmla="*/ 8415 w 9823"/>
                <a:gd name="connsiteY10" fmla="*/ 6833 h 10000"/>
                <a:gd name="connsiteX11" fmla="*/ 8286 w 9823"/>
                <a:gd name="connsiteY11" fmla="*/ 6719 h 10000"/>
                <a:gd name="connsiteX12" fmla="*/ 8172 w 9823"/>
                <a:gd name="connsiteY12" fmla="*/ 6593 h 10000"/>
                <a:gd name="connsiteX13" fmla="*/ 8057 w 9823"/>
                <a:gd name="connsiteY13" fmla="*/ 6467 h 10000"/>
                <a:gd name="connsiteX14" fmla="*/ 7953 w 9823"/>
                <a:gd name="connsiteY14" fmla="*/ 6338 h 10000"/>
                <a:gd name="connsiteX15" fmla="*/ 7855 w 9823"/>
                <a:gd name="connsiteY15" fmla="*/ 6209 h 10000"/>
                <a:gd name="connsiteX16" fmla="*/ 7756 w 9823"/>
                <a:gd name="connsiteY16" fmla="*/ 6073 h 10000"/>
                <a:gd name="connsiteX17" fmla="*/ 7666 w 9823"/>
                <a:gd name="connsiteY17" fmla="*/ 5928 h 10000"/>
                <a:gd name="connsiteX18" fmla="*/ 7627 w 9823"/>
                <a:gd name="connsiteY18" fmla="*/ 5865 h 10000"/>
                <a:gd name="connsiteX19" fmla="*/ 7585 w 9823"/>
                <a:gd name="connsiteY19" fmla="*/ 5789 h 10000"/>
                <a:gd name="connsiteX20" fmla="*/ 7553 w 9823"/>
                <a:gd name="connsiteY20" fmla="*/ 5721 h 10000"/>
                <a:gd name="connsiteX21" fmla="*/ 7513 w 9823"/>
                <a:gd name="connsiteY21" fmla="*/ 5646 h 10000"/>
                <a:gd name="connsiteX22" fmla="*/ 7480 w 9823"/>
                <a:gd name="connsiteY22" fmla="*/ 5575 h 10000"/>
                <a:gd name="connsiteX23" fmla="*/ 7447 w 9823"/>
                <a:gd name="connsiteY23" fmla="*/ 5501 h 10000"/>
                <a:gd name="connsiteX24" fmla="*/ 7423 w 9823"/>
                <a:gd name="connsiteY24" fmla="*/ 5424 h 10000"/>
                <a:gd name="connsiteX25" fmla="*/ 7391 w 9823"/>
                <a:gd name="connsiteY25" fmla="*/ 5353 h 10000"/>
                <a:gd name="connsiteX26" fmla="*/ 7373 w 9823"/>
                <a:gd name="connsiteY26" fmla="*/ 5274 h 10000"/>
                <a:gd name="connsiteX27" fmla="*/ 7341 w 9823"/>
                <a:gd name="connsiteY27" fmla="*/ 5200 h 10000"/>
                <a:gd name="connsiteX28" fmla="*/ 7325 w 9823"/>
                <a:gd name="connsiteY28" fmla="*/ 5122 h 10000"/>
                <a:gd name="connsiteX29" fmla="*/ 7310 w 9823"/>
                <a:gd name="connsiteY29" fmla="*/ 5048 h 10000"/>
                <a:gd name="connsiteX30" fmla="*/ 7292 w 9823"/>
                <a:gd name="connsiteY30" fmla="*/ 4966 h 10000"/>
                <a:gd name="connsiteX31" fmla="*/ 7278 w 9823"/>
                <a:gd name="connsiteY31" fmla="*/ 4893 h 10000"/>
                <a:gd name="connsiteX32" fmla="*/ 7261 w 9823"/>
                <a:gd name="connsiteY32" fmla="*/ 4815 h 10000"/>
                <a:gd name="connsiteX33" fmla="*/ 7252 w 9823"/>
                <a:gd name="connsiteY33" fmla="*/ 4739 h 10000"/>
                <a:gd name="connsiteX34" fmla="*/ 7243 w 9823"/>
                <a:gd name="connsiteY34" fmla="*/ 4656 h 10000"/>
                <a:gd name="connsiteX35" fmla="*/ 7234 w 9823"/>
                <a:gd name="connsiteY35" fmla="*/ 4573 h 10000"/>
                <a:gd name="connsiteX36" fmla="*/ 7234 w 9823"/>
                <a:gd name="connsiteY36" fmla="*/ 4497 h 10000"/>
                <a:gd name="connsiteX37" fmla="*/ 7227 w 9823"/>
                <a:gd name="connsiteY37" fmla="*/ 4413 h 10000"/>
                <a:gd name="connsiteX38" fmla="*/ 7234 w 9823"/>
                <a:gd name="connsiteY38" fmla="*/ 4334 h 10000"/>
                <a:gd name="connsiteX39" fmla="*/ 7243 w 9823"/>
                <a:gd name="connsiteY39" fmla="*/ 4248 h 10000"/>
                <a:gd name="connsiteX40" fmla="*/ 7243 w 9823"/>
                <a:gd name="connsiteY40" fmla="*/ 4160 h 10000"/>
                <a:gd name="connsiteX41" fmla="*/ 7252 w 9823"/>
                <a:gd name="connsiteY41" fmla="*/ 4075 h 10000"/>
                <a:gd name="connsiteX42" fmla="*/ 7261 w 9823"/>
                <a:gd name="connsiteY42" fmla="*/ 3990 h 10000"/>
                <a:gd name="connsiteX43" fmla="*/ 7278 w 9823"/>
                <a:gd name="connsiteY43" fmla="*/ 3915 h 10000"/>
                <a:gd name="connsiteX44" fmla="*/ 7292 w 9823"/>
                <a:gd name="connsiteY44" fmla="*/ 3830 h 10000"/>
                <a:gd name="connsiteX45" fmla="*/ 7310 w 9823"/>
                <a:gd name="connsiteY45" fmla="*/ 3750 h 10000"/>
                <a:gd name="connsiteX46" fmla="*/ 7333 w 9823"/>
                <a:gd name="connsiteY46" fmla="*/ 3665 h 10000"/>
                <a:gd name="connsiteX47" fmla="*/ 7358 w 9823"/>
                <a:gd name="connsiteY47" fmla="*/ 3589 h 10000"/>
                <a:gd name="connsiteX48" fmla="*/ 7384 w 9823"/>
                <a:gd name="connsiteY48" fmla="*/ 3508 h 10000"/>
                <a:gd name="connsiteX49" fmla="*/ 7407 w 9823"/>
                <a:gd name="connsiteY49" fmla="*/ 3424 h 10000"/>
                <a:gd name="connsiteX50" fmla="*/ 7439 w 9823"/>
                <a:gd name="connsiteY50" fmla="*/ 3355 h 10000"/>
                <a:gd name="connsiteX51" fmla="*/ 7471 w 9823"/>
                <a:gd name="connsiteY51" fmla="*/ 3275 h 10000"/>
                <a:gd name="connsiteX52" fmla="*/ 7505 w 9823"/>
                <a:gd name="connsiteY52" fmla="*/ 3194 h 10000"/>
                <a:gd name="connsiteX53" fmla="*/ 7545 w 9823"/>
                <a:gd name="connsiteY53" fmla="*/ 3118 h 10000"/>
                <a:gd name="connsiteX54" fmla="*/ 7578 w 9823"/>
                <a:gd name="connsiteY54" fmla="*/ 3046 h 10000"/>
                <a:gd name="connsiteX55" fmla="*/ 7619 w 9823"/>
                <a:gd name="connsiteY55" fmla="*/ 2964 h 10000"/>
                <a:gd name="connsiteX56" fmla="*/ 7666 w 9823"/>
                <a:gd name="connsiteY56" fmla="*/ 2898 h 10000"/>
                <a:gd name="connsiteX57" fmla="*/ 7707 w 9823"/>
                <a:gd name="connsiteY57" fmla="*/ 2823 h 10000"/>
                <a:gd name="connsiteX58" fmla="*/ 7756 w 9823"/>
                <a:gd name="connsiteY58" fmla="*/ 2754 h 10000"/>
                <a:gd name="connsiteX59" fmla="*/ 7798 w 9823"/>
                <a:gd name="connsiteY59" fmla="*/ 2676 h 10000"/>
                <a:gd name="connsiteX60" fmla="*/ 7855 w 9823"/>
                <a:gd name="connsiteY60" fmla="*/ 2613 h 10000"/>
                <a:gd name="connsiteX61" fmla="*/ 7912 w 9823"/>
                <a:gd name="connsiteY61" fmla="*/ 2538 h 10000"/>
                <a:gd name="connsiteX62" fmla="*/ 7961 w 9823"/>
                <a:gd name="connsiteY62" fmla="*/ 2471 h 10000"/>
                <a:gd name="connsiteX63" fmla="*/ 8016 w 9823"/>
                <a:gd name="connsiteY63" fmla="*/ 2404 h 10000"/>
                <a:gd name="connsiteX64" fmla="*/ 8075 w 9823"/>
                <a:gd name="connsiteY64" fmla="*/ 2331 h 10000"/>
                <a:gd name="connsiteX65" fmla="*/ 8131 w 9823"/>
                <a:gd name="connsiteY65" fmla="*/ 2269 h 10000"/>
                <a:gd name="connsiteX66" fmla="*/ 8196 w 9823"/>
                <a:gd name="connsiteY66" fmla="*/ 2203 h 10000"/>
                <a:gd name="connsiteX67" fmla="*/ 8252 w 9823"/>
                <a:gd name="connsiteY67" fmla="*/ 2145 h 10000"/>
                <a:gd name="connsiteX68" fmla="*/ 8317 w 9823"/>
                <a:gd name="connsiteY68" fmla="*/ 2077 h 10000"/>
                <a:gd name="connsiteX69" fmla="*/ 8346 w 9823"/>
                <a:gd name="connsiteY69" fmla="*/ 2042 h 10000"/>
                <a:gd name="connsiteX70" fmla="*/ 5912 w 9823"/>
                <a:gd name="connsiteY70" fmla="*/ 6 h 10000"/>
                <a:gd name="connsiteX71" fmla="*/ 1536 w 9823"/>
                <a:gd name="connsiteY71" fmla="*/ 0 h 10000"/>
                <a:gd name="connsiteX72" fmla="*/ 1431 w 9823"/>
                <a:gd name="connsiteY72" fmla="*/ 154 h 10000"/>
                <a:gd name="connsiteX73" fmla="*/ 1342 w 9823"/>
                <a:gd name="connsiteY73" fmla="*/ 269 h 10000"/>
                <a:gd name="connsiteX74" fmla="*/ 1260 w 9823"/>
                <a:gd name="connsiteY74" fmla="*/ 397 h 10000"/>
                <a:gd name="connsiteX75" fmla="*/ 1170 w 9823"/>
                <a:gd name="connsiteY75" fmla="*/ 523 h 10000"/>
                <a:gd name="connsiteX76" fmla="*/ 1097 w 9823"/>
                <a:gd name="connsiteY76" fmla="*/ 650 h 10000"/>
                <a:gd name="connsiteX77" fmla="*/ 1017 w 9823"/>
                <a:gd name="connsiteY77" fmla="*/ 775 h 10000"/>
                <a:gd name="connsiteX78" fmla="*/ 943 w 9823"/>
                <a:gd name="connsiteY78" fmla="*/ 910 h 10000"/>
                <a:gd name="connsiteX79" fmla="*/ 869 w 9823"/>
                <a:gd name="connsiteY79" fmla="*/ 1043 h 10000"/>
                <a:gd name="connsiteX80" fmla="*/ 806 w 9823"/>
                <a:gd name="connsiteY80" fmla="*/ 1166 h 10000"/>
                <a:gd name="connsiteX81" fmla="*/ 741 w 9823"/>
                <a:gd name="connsiteY81" fmla="*/ 1304 h 10000"/>
                <a:gd name="connsiteX82" fmla="*/ 675 w 9823"/>
                <a:gd name="connsiteY82" fmla="*/ 1432 h 10000"/>
                <a:gd name="connsiteX83" fmla="*/ 609 w 9823"/>
                <a:gd name="connsiteY83" fmla="*/ 1572 h 10000"/>
                <a:gd name="connsiteX84" fmla="*/ 553 w 9823"/>
                <a:gd name="connsiteY84" fmla="*/ 1699 h 10000"/>
                <a:gd name="connsiteX85" fmla="*/ 495 w 9823"/>
                <a:gd name="connsiteY85" fmla="*/ 1833 h 10000"/>
                <a:gd name="connsiteX86" fmla="*/ 448 w 9823"/>
                <a:gd name="connsiteY86" fmla="*/ 1968 h 10000"/>
                <a:gd name="connsiteX87" fmla="*/ 398 w 9823"/>
                <a:gd name="connsiteY87" fmla="*/ 2104 h 10000"/>
                <a:gd name="connsiteX88" fmla="*/ 349 w 9823"/>
                <a:gd name="connsiteY88" fmla="*/ 2248 h 10000"/>
                <a:gd name="connsiteX89" fmla="*/ 311 w 9823"/>
                <a:gd name="connsiteY89" fmla="*/ 2384 h 10000"/>
                <a:gd name="connsiteX90" fmla="*/ 258 w 9823"/>
                <a:gd name="connsiteY90" fmla="*/ 2526 h 10000"/>
                <a:gd name="connsiteX91" fmla="*/ 228 w 9823"/>
                <a:gd name="connsiteY91" fmla="*/ 2666 h 10000"/>
                <a:gd name="connsiteX92" fmla="*/ 188 w 9823"/>
                <a:gd name="connsiteY92" fmla="*/ 2809 h 10000"/>
                <a:gd name="connsiteX93" fmla="*/ 161 w 9823"/>
                <a:gd name="connsiteY93" fmla="*/ 2953 h 10000"/>
                <a:gd name="connsiteX94" fmla="*/ 129 w 9823"/>
                <a:gd name="connsiteY94" fmla="*/ 3095 h 10000"/>
                <a:gd name="connsiteX95" fmla="*/ 106 w 9823"/>
                <a:gd name="connsiteY95" fmla="*/ 3235 h 10000"/>
                <a:gd name="connsiteX96" fmla="*/ 83 w 9823"/>
                <a:gd name="connsiteY96" fmla="*/ 3382 h 10000"/>
                <a:gd name="connsiteX97" fmla="*/ 55 w 9823"/>
                <a:gd name="connsiteY97" fmla="*/ 3534 h 10000"/>
                <a:gd name="connsiteX98" fmla="*/ 39 w 9823"/>
                <a:gd name="connsiteY98" fmla="*/ 3678 h 10000"/>
                <a:gd name="connsiteX99" fmla="*/ 22 w 9823"/>
                <a:gd name="connsiteY99" fmla="*/ 3822 h 10000"/>
                <a:gd name="connsiteX100" fmla="*/ 15 w 9823"/>
                <a:gd name="connsiteY100" fmla="*/ 3966 h 10000"/>
                <a:gd name="connsiteX101" fmla="*/ 7 w 9823"/>
                <a:gd name="connsiteY101" fmla="*/ 4116 h 10000"/>
                <a:gd name="connsiteX102" fmla="*/ 0 w 9823"/>
                <a:gd name="connsiteY102" fmla="*/ 4261 h 10000"/>
                <a:gd name="connsiteX103" fmla="*/ 0 w 9823"/>
                <a:gd name="connsiteY103" fmla="*/ 4413 h 10000"/>
                <a:gd name="connsiteX104" fmla="*/ 7 w 9823"/>
                <a:gd name="connsiteY104" fmla="*/ 4606 h 10000"/>
                <a:gd name="connsiteX105" fmla="*/ 7 w 9823"/>
                <a:gd name="connsiteY105" fmla="*/ 4798 h 10000"/>
                <a:gd name="connsiteX106" fmla="*/ 22 w 9823"/>
                <a:gd name="connsiteY106" fmla="*/ 4977 h 10000"/>
                <a:gd name="connsiteX107" fmla="*/ 39 w 9823"/>
                <a:gd name="connsiteY107" fmla="*/ 5166 h 10000"/>
                <a:gd name="connsiteX108" fmla="*/ 67 w 9823"/>
                <a:gd name="connsiteY108" fmla="*/ 5353 h 10000"/>
                <a:gd name="connsiteX109" fmla="*/ 99 w 9823"/>
                <a:gd name="connsiteY109" fmla="*/ 5540 h 10000"/>
                <a:gd name="connsiteX110" fmla="*/ 129 w 9823"/>
                <a:gd name="connsiteY110" fmla="*/ 5725 h 10000"/>
                <a:gd name="connsiteX111" fmla="*/ 161 w 9823"/>
                <a:gd name="connsiteY111" fmla="*/ 5909 h 10000"/>
                <a:gd name="connsiteX112" fmla="*/ 213 w 9823"/>
                <a:gd name="connsiteY112" fmla="*/ 6093 h 10000"/>
                <a:gd name="connsiteX113" fmla="*/ 258 w 9823"/>
                <a:gd name="connsiteY113" fmla="*/ 6273 h 10000"/>
                <a:gd name="connsiteX114" fmla="*/ 311 w 9823"/>
                <a:gd name="connsiteY114" fmla="*/ 6456 h 10000"/>
                <a:gd name="connsiteX115" fmla="*/ 365 w 9823"/>
                <a:gd name="connsiteY115" fmla="*/ 6633 h 10000"/>
                <a:gd name="connsiteX116" fmla="*/ 432 w 9823"/>
                <a:gd name="connsiteY116" fmla="*/ 6805 h 10000"/>
                <a:gd name="connsiteX117" fmla="*/ 495 w 9823"/>
                <a:gd name="connsiteY117" fmla="*/ 6984 h 10000"/>
                <a:gd name="connsiteX118" fmla="*/ 569 w 9823"/>
                <a:gd name="connsiteY118" fmla="*/ 7156 h 10000"/>
                <a:gd name="connsiteX119" fmla="*/ 643 w 9823"/>
                <a:gd name="connsiteY119" fmla="*/ 7336 h 10000"/>
                <a:gd name="connsiteX120" fmla="*/ 723 w 9823"/>
                <a:gd name="connsiteY120" fmla="*/ 7502 h 10000"/>
                <a:gd name="connsiteX121" fmla="*/ 813 w 9823"/>
                <a:gd name="connsiteY121" fmla="*/ 7665 h 10000"/>
                <a:gd name="connsiteX122" fmla="*/ 904 w 9823"/>
                <a:gd name="connsiteY122" fmla="*/ 7844 h 10000"/>
                <a:gd name="connsiteX123" fmla="*/ 991 w 9823"/>
                <a:gd name="connsiteY123" fmla="*/ 8007 h 10000"/>
                <a:gd name="connsiteX124" fmla="*/ 1089 w 9823"/>
                <a:gd name="connsiteY124" fmla="*/ 8168 h 10000"/>
                <a:gd name="connsiteX125" fmla="*/ 1196 w 9823"/>
                <a:gd name="connsiteY125" fmla="*/ 8323 h 10000"/>
                <a:gd name="connsiteX126" fmla="*/ 1301 w 9823"/>
                <a:gd name="connsiteY126" fmla="*/ 8490 h 10000"/>
                <a:gd name="connsiteX127" fmla="*/ 1415 w 9823"/>
                <a:gd name="connsiteY127" fmla="*/ 8651 h 10000"/>
                <a:gd name="connsiteX128" fmla="*/ 1520 w 9823"/>
                <a:gd name="connsiteY128" fmla="*/ 8808 h 10000"/>
                <a:gd name="connsiteX129" fmla="*/ 1642 w 9823"/>
                <a:gd name="connsiteY129" fmla="*/ 8966 h 10000"/>
                <a:gd name="connsiteX130" fmla="*/ 1765 w 9823"/>
                <a:gd name="connsiteY130" fmla="*/ 9114 h 10000"/>
                <a:gd name="connsiteX131" fmla="*/ 1895 w 9823"/>
                <a:gd name="connsiteY131" fmla="*/ 9273 h 10000"/>
                <a:gd name="connsiteX132" fmla="*/ 2024 w 9823"/>
                <a:gd name="connsiteY132" fmla="*/ 9420 h 10000"/>
                <a:gd name="connsiteX133" fmla="*/ 2153 w 9823"/>
                <a:gd name="connsiteY133" fmla="*/ 9566 h 10000"/>
                <a:gd name="connsiteX134" fmla="*/ 2293 w 9823"/>
                <a:gd name="connsiteY134" fmla="*/ 9706 h 10000"/>
                <a:gd name="connsiteX135" fmla="*/ 2440 w 9823"/>
                <a:gd name="connsiteY135" fmla="*/ 9855 h 10000"/>
                <a:gd name="connsiteX136" fmla="*/ 2576 w 9823"/>
                <a:gd name="connsiteY136" fmla="*/ 10000 h 10000"/>
                <a:gd name="connsiteX137" fmla="*/ 4769 w 9823"/>
                <a:gd name="connsiteY137" fmla="*/ 7469 h 10000"/>
                <a:gd name="connsiteX0" fmla="*/ 4855 w 10000"/>
                <a:gd name="connsiteY0" fmla="*/ 7469 h 10000"/>
                <a:gd name="connsiteX1" fmla="*/ 10000 w 10000"/>
                <a:gd name="connsiteY1" fmla="*/ 7698 h 10000"/>
                <a:gd name="connsiteX2" fmla="*/ 9643 w 10000"/>
                <a:gd name="connsiteY2" fmla="*/ 7536 h 10000"/>
                <a:gd name="connsiteX3" fmla="*/ 9469 w 10000"/>
                <a:gd name="connsiteY3" fmla="*/ 7448 h 10000"/>
                <a:gd name="connsiteX4" fmla="*/ 9312 w 10000"/>
                <a:gd name="connsiteY4" fmla="*/ 7365 h 10000"/>
                <a:gd name="connsiteX5" fmla="*/ 9155 w 10000"/>
                <a:gd name="connsiteY5" fmla="*/ 7266 h 10000"/>
                <a:gd name="connsiteX6" fmla="*/ 8996 w 10000"/>
                <a:gd name="connsiteY6" fmla="*/ 7161 h 10000"/>
                <a:gd name="connsiteX7" fmla="*/ 8848 w 10000"/>
                <a:gd name="connsiteY7" fmla="*/ 7056 h 10000"/>
                <a:gd name="connsiteX8" fmla="*/ 8708 w 10000"/>
                <a:gd name="connsiteY8" fmla="*/ 6942 h 10000"/>
                <a:gd name="connsiteX9" fmla="*/ 8567 w 10000"/>
                <a:gd name="connsiteY9" fmla="*/ 6833 h 10000"/>
                <a:gd name="connsiteX10" fmla="*/ 8435 w 10000"/>
                <a:gd name="connsiteY10" fmla="*/ 6719 h 10000"/>
                <a:gd name="connsiteX11" fmla="*/ 8319 w 10000"/>
                <a:gd name="connsiteY11" fmla="*/ 6593 h 10000"/>
                <a:gd name="connsiteX12" fmla="*/ 8202 w 10000"/>
                <a:gd name="connsiteY12" fmla="*/ 6467 h 10000"/>
                <a:gd name="connsiteX13" fmla="*/ 8096 w 10000"/>
                <a:gd name="connsiteY13" fmla="*/ 6338 h 10000"/>
                <a:gd name="connsiteX14" fmla="*/ 7997 w 10000"/>
                <a:gd name="connsiteY14" fmla="*/ 6209 h 10000"/>
                <a:gd name="connsiteX15" fmla="*/ 7896 w 10000"/>
                <a:gd name="connsiteY15" fmla="*/ 6073 h 10000"/>
                <a:gd name="connsiteX16" fmla="*/ 7804 w 10000"/>
                <a:gd name="connsiteY16" fmla="*/ 5928 h 10000"/>
                <a:gd name="connsiteX17" fmla="*/ 7764 w 10000"/>
                <a:gd name="connsiteY17" fmla="*/ 5865 h 10000"/>
                <a:gd name="connsiteX18" fmla="*/ 7722 w 10000"/>
                <a:gd name="connsiteY18" fmla="*/ 5789 h 10000"/>
                <a:gd name="connsiteX19" fmla="*/ 7689 w 10000"/>
                <a:gd name="connsiteY19" fmla="*/ 5721 h 10000"/>
                <a:gd name="connsiteX20" fmla="*/ 7648 w 10000"/>
                <a:gd name="connsiteY20" fmla="*/ 5646 h 10000"/>
                <a:gd name="connsiteX21" fmla="*/ 7615 w 10000"/>
                <a:gd name="connsiteY21" fmla="*/ 5575 h 10000"/>
                <a:gd name="connsiteX22" fmla="*/ 7581 w 10000"/>
                <a:gd name="connsiteY22" fmla="*/ 5501 h 10000"/>
                <a:gd name="connsiteX23" fmla="*/ 7557 w 10000"/>
                <a:gd name="connsiteY23" fmla="*/ 5424 h 10000"/>
                <a:gd name="connsiteX24" fmla="*/ 7524 w 10000"/>
                <a:gd name="connsiteY24" fmla="*/ 5353 h 10000"/>
                <a:gd name="connsiteX25" fmla="*/ 7506 w 10000"/>
                <a:gd name="connsiteY25" fmla="*/ 5274 h 10000"/>
                <a:gd name="connsiteX26" fmla="*/ 7473 w 10000"/>
                <a:gd name="connsiteY26" fmla="*/ 5200 h 10000"/>
                <a:gd name="connsiteX27" fmla="*/ 7457 w 10000"/>
                <a:gd name="connsiteY27" fmla="*/ 5122 h 10000"/>
                <a:gd name="connsiteX28" fmla="*/ 7442 w 10000"/>
                <a:gd name="connsiteY28" fmla="*/ 5048 h 10000"/>
                <a:gd name="connsiteX29" fmla="*/ 7423 w 10000"/>
                <a:gd name="connsiteY29" fmla="*/ 4966 h 10000"/>
                <a:gd name="connsiteX30" fmla="*/ 7409 w 10000"/>
                <a:gd name="connsiteY30" fmla="*/ 4893 h 10000"/>
                <a:gd name="connsiteX31" fmla="*/ 7392 w 10000"/>
                <a:gd name="connsiteY31" fmla="*/ 4815 h 10000"/>
                <a:gd name="connsiteX32" fmla="*/ 7383 w 10000"/>
                <a:gd name="connsiteY32" fmla="*/ 4739 h 10000"/>
                <a:gd name="connsiteX33" fmla="*/ 7374 w 10000"/>
                <a:gd name="connsiteY33" fmla="*/ 4656 h 10000"/>
                <a:gd name="connsiteX34" fmla="*/ 7364 w 10000"/>
                <a:gd name="connsiteY34" fmla="*/ 4573 h 10000"/>
                <a:gd name="connsiteX35" fmla="*/ 7364 w 10000"/>
                <a:gd name="connsiteY35" fmla="*/ 4497 h 10000"/>
                <a:gd name="connsiteX36" fmla="*/ 7357 w 10000"/>
                <a:gd name="connsiteY36" fmla="*/ 4413 h 10000"/>
                <a:gd name="connsiteX37" fmla="*/ 7364 w 10000"/>
                <a:gd name="connsiteY37" fmla="*/ 4334 h 10000"/>
                <a:gd name="connsiteX38" fmla="*/ 7374 w 10000"/>
                <a:gd name="connsiteY38" fmla="*/ 4248 h 10000"/>
                <a:gd name="connsiteX39" fmla="*/ 7374 w 10000"/>
                <a:gd name="connsiteY39" fmla="*/ 4160 h 10000"/>
                <a:gd name="connsiteX40" fmla="*/ 7383 w 10000"/>
                <a:gd name="connsiteY40" fmla="*/ 4075 h 10000"/>
                <a:gd name="connsiteX41" fmla="*/ 7392 w 10000"/>
                <a:gd name="connsiteY41" fmla="*/ 3990 h 10000"/>
                <a:gd name="connsiteX42" fmla="*/ 7409 w 10000"/>
                <a:gd name="connsiteY42" fmla="*/ 3915 h 10000"/>
                <a:gd name="connsiteX43" fmla="*/ 7423 w 10000"/>
                <a:gd name="connsiteY43" fmla="*/ 3830 h 10000"/>
                <a:gd name="connsiteX44" fmla="*/ 7442 w 10000"/>
                <a:gd name="connsiteY44" fmla="*/ 3750 h 10000"/>
                <a:gd name="connsiteX45" fmla="*/ 7465 w 10000"/>
                <a:gd name="connsiteY45" fmla="*/ 3665 h 10000"/>
                <a:gd name="connsiteX46" fmla="*/ 7491 w 10000"/>
                <a:gd name="connsiteY46" fmla="*/ 3589 h 10000"/>
                <a:gd name="connsiteX47" fmla="*/ 7517 w 10000"/>
                <a:gd name="connsiteY47" fmla="*/ 3508 h 10000"/>
                <a:gd name="connsiteX48" fmla="*/ 7540 w 10000"/>
                <a:gd name="connsiteY48" fmla="*/ 3424 h 10000"/>
                <a:gd name="connsiteX49" fmla="*/ 7573 w 10000"/>
                <a:gd name="connsiteY49" fmla="*/ 3355 h 10000"/>
                <a:gd name="connsiteX50" fmla="*/ 7606 w 10000"/>
                <a:gd name="connsiteY50" fmla="*/ 3275 h 10000"/>
                <a:gd name="connsiteX51" fmla="*/ 7640 w 10000"/>
                <a:gd name="connsiteY51" fmla="*/ 3194 h 10000"/>
                <a:gd name="connsiteX52" fmla="*/ 7681 w 10000"/>
                <a:gd name="connsiteY52" fmla="*/ 3118 h 10000"/>
                <a:gd name="connsiteX53" fmla="*/ 7715 w 10000"/>
                <a:gd name="connsiteY53" fmla="*/ 3046 h 10000"/>
                <a:gd name="connsiteX54" fmla="*/ 7756 w 10000"/>
                <a:gd name="connsiteY54" fmla="*/ 2964 h 10000"/>
                <a:gd name="connsiteX55" fmla="*/ 7804 w 10000"/>
                <a:gd name="connsiteY55" fmla="*/ 2898 h 10000"/>
                <a:gd name="connsiteX56" fmla="*/ 7846 w 10000"/>
                <a:gd name="connsiteY56" fmla="*/ 2823 h 10000"/>
                <a:gd name="connsiteX57" fmla="*/ 7896 w 10000"/>
                <a:gd name="connsiteY57" fmla="*/ 2754 h 10000"/>
                <a:gd name="connsiteX58" fmla="*/ 7939 w 10000"/>
                <a:gd name="connsiteY58" fmla="*/ 2676 h 10000"/>
                <a:gd name="connsiteX59" fmla="*/ 7997 w 10000"/>
                <a:gd name="connsiteY59" fmla="*/ 2613 h 10000"/>
                <a:gd name="connsiteX60" fmla="*/ 8055 w 10000"/>
                <a:gd name="connsiteY60" fmla="*/ 2538 h 10000"/>
                <a:gd name="connsiteX61" fmla="*/ 8104 w 10000"/>
                <a:gd name="connsiteY61" fmla="*/ 2471 h 10000"/>
                <a:gd name="connsiteX62" fmla="*/ 8160 w 10000"/>
                <a:gd name="connsiteY62" fmla="*/ 2404 h 10000"/>
                <a:gd name="connsiteX63" fmla="*/ 8221 w 10000"/>
                <a:gd name="connsiteY63" fmla="*/ 2331 h 10000"/>
                <a:gd name="connsiteX64" fmla="*/ 8278 w 10000"/>
                <a:gd name="connsiteY64" fmla="*/ 2269 h 10000"/>
                <a:gd name="connsiteX65" fmla="*/ 8344 w 10000"/>
                <a:gd name="connsiteY65" fmla="*/ 2203 h 10000"/>
                <a:gd name="connsiteX66" fmla="*/ 8401 w 10000"/>
                <a:gd name="connsiteY66" fmla="*/ 2145 h 10000"/>
                <a:gd name="connsiteX67" fmla="*/ 8467 w 10000"/>
                <a:gd name="connsiteY67" fmla="*/ 2077 h 10000"/>
                <a:gd name="connsiteX68" fmla="*/ 8496 w 10000"/>
                <a:gd name="connsiteY68" fmla="*/ 2042 h 10000"/>
                <a:gd name="connsiteX69" fmla="*/ 6019 w 10000"/>
                <a:gd name="connsiteY69" fmla="*/ 6 h 10000"/>
                <a:gd name="connsiteX70" fmla="*/ 1564 w 10000"/>
                <a:gd name="connsiteY70" fmla="*/ 0 h 10000"/>
                <a:gd name="connsiteX71" fmla="*/ 1457 w 10000"/>
                <a:gd name="connsiteY71" fmla="*/ 154 h 10000"/>
                <a:gd name="connsiteX72" fmla="*/ 1366 w 10000"/>
                <a:gd name="connsiteY72" fmla="*/ 269 h 10000"/>
                <a:gd name="connsiteX73" fmla="*/ 1283 w 10000"/>
                <a:gd name="connsiteY73" fmla="*/ 397 h 10000"/>
                <a:gd name="connsiteX74" fmla="*/ 1191 w 10000"/>
                <a:gd name="connsiteY74" fmla="*/ 523 h 10000"/>
                <a:gd name="connsiteX75" fmla="*/ 1117 w 10000"/>
                <a:gd name="connsiteY75" fmla="*/ 650 h 10000"/>
                <a:gd name="connsiteX76" fmla="*/ 1035 w 10000"/>
                <a:gd name="connsiteY76" fmla="*/ 775 h 10000"/>
                <a:gd name="connsiteX77" fmla="*/ 960 w 10000"/>
                <a:gd name="connsiteY77" fmla="*/ 910 h 10000"/>
                <a:gd name="connsiteX78" fmla="*/ 885 w 10000"/>
                <a:gd name="connsiteY78" fmla="*/ 1043 h 10000"/>
                <a:gd name="connsiteX79" fmla="*/ 821 w 10000"/>
                <a:gd name="connsiteY79" fmla="*/ 1166 h 10000"/>
                <a:gd name="connsiteX80" fmla="*/ 754 w 10000"/>
                <a:gd name="connsiteY80" fmla="*/ 1304 h 10000"/>
                <a:gd name="connsiteX81" fmla="*/ 687 w 10000"/>
                <a:gd name="connsiteY81" fmla="*/ 1432 h 10000"/>
                <a:gd name="connsiteX82" fmla="*/ 620 w 10000"/>
                <a:gd name="connsiteY82" fmla="*/ 1572 h 10000"/>
                <a:gd name="connsiteX83" fmla="*/ 563 w 10000"/>
                <a:gd name="connsiteY83" fmla="*/ 1699 h 10000"/>
                <a:gd name="connsiteX84" fmla="*/ 504 w 10000"/>
                <a:gd name="connsiteY84" fmla="*/ 1833 h 10000"/>
                <a:gd name="connsiteX85" fmla="*/ 456 w 10000"/>
                <a:gd name="connsiteY85" fmla="*/ 1968 h 10000"/>
                <a:gd name="connsiteX86" fmla="*/ 405 w 10000"/>
                <a:gd name="connsiteY86" fmla="*/ 2104 h 10000"/>
                <a:gd name="connsiteX87" fmla="*/ 355 w 10000"/>
                <a:gd name="connsiteY87" fmla="*/ 2248 h 10000"/>
                <a:gd name="connsiteX88" fmla="*/ 317 w 10000"/>
                <a:gd name="connsiteY88" fmla="*/ 2384 h 10000"/>
                <a:gd name="connsiteX89" fmla="*/ 263 w 10000"/>
                <a:gd name="connsiteY89" fmla="*/ 2526 h 10000"/>
                <a:gd name="connsiteX90" fmla="*/ 232 w 10000"/>
                <a:gd name="connsiteY90" fmla="*/ 2666 h 10000"/>
                <a:gd name="connsiteX91" fmla="*/ 191 w 10000"/>
                <a:gd name="connsiteY91" fmla="*/ 2809 h 10000"/>
                <a:gd name="connsiteX92" fmla="*/ 164 w 10000"/>
                <a:gd name="connsiteY92" fmla="*/ 2953 h 10000"/>
                <a:gd name="connsiteX93" fmla="*/ 131 w 10000"/>
                <a:gd name="connsiteY93" fmla="*/ 3095 h 10000"/>
                <a:gd name="connsiteX94" fmla="*/ 108 w 10000"/>
                <a:gd name="connsiteY94" fmla="*/ 3235 h 10000"/>
                <a:gd name="connsiteX95" fmla="*/ 84 w 10000"/>
                <a:gd name="connsiteY95" fmla="*/ 3382 h 10000"/>
                <a:gd name="connsiteX96" fmla="*/ 56 w 10000"/>
                <a:gd name="connsiteY96" fmla="*/ 3534 h 10000"/>
                <a:gd name="connsiteX97" fmla="*/ 40 w 10000"/>
                <a:gd name="connsiteY97" fmla="*/ 3678 h 10000"/>
                <a:gd name="connsiteX98" fmla="*/ 22 w 10000"/>
                <a:gd name="connsiteY98" fmla="*/ 3822 h 10000"/>
                <a:gd name="connsiteX99" fmla="*/ 15 w 10000"/>
                <a:gd name="connsiteY99" fmla="*/ 3966 h 10000"/>
                <a:gd name="connsiteX100" fmla="*/ 7 w 10000"/>
                <a:gd name="connsiteY100" fmla="*/ 4116 h 10000"/>
                <a:gd name="connsiteX101" fmla="*/ 0 w 10000"/>
                <a:gd name="connsiteY101" fmla="*/ 4261 h 10000"/>
                <a:gd name="connsiteX102" fmla="*/ 0 w 10000"/>
                <a:gd name="connsiteY102" fmla="*/ 4413 h 10000"/>
                <a:gd name="connsiteX103" fmla="*/ 7 w 10000"/>
                <a:gd name="connsiteY103" fmla="*/ 4606 h 10000"/>
                <a:gd name="connsiteX104" fmla="*/ 7 w 10000"/>
                <a:gd name="connsiteY104" fmla="*/ 4798 h 10000"/>
                <a:gd name="connsiteX105" fmla="*/ 22 w 10000"/>
                <a:gd name="connsiteY105" fmla="*/ 4977 h 10000"/>
                <a:gd name="connsiteX106" fmla="*/ 40 w 10000"/>
                <a:gd name="connsiteY106" fmla="*/ 5166 h 10000"/>
                <a:gd name="connsiteX107" fmla="*/ 68 w 10000"/>
                <a:gd name="connsiteY107" fmla="*/ 5353 h 10000"/>
                <a:gd name="connsiteX108" fmla="*/ 101 w 10000"/>
                <a:gd name="connsiteY108" fmla="*/ 5540 h 10000"/>
                <a:gd name="connsiteX109" fmla="*/ 131 w 10000"/>
                <a:gd name="connsiteY109" fmla="*/ 5725 h 10000"/>
                <a:gd name="connsiteX110" fmla="*/ 164 w 10000"/>
                <a:gd name="connsiteY110" fmla="*/ 5909 h 10000"/>
                <a:gd name="connsiteX111" fmla="*/ 217 w 10000"/>
                <a:gd name="connsiteY111" fmla="*/ 6093 h 10000"/>
                <a:gd name="connsiteX112" fmla="*/ 263 w 10000"/>
                <a:gd name="connsiteY112" fmla="*/ 6273 h 10000"/>
                <a:gd name="connsiteX113" fmla="*/ 317 w 10000"/>
                <a:gd name="connsiteY113" fmla="*/ 6456 h 10000"/>
                <a:gd name="connsiteX114" fmla="*/ 372 w 10000"/>
                <a:gd name="connsiteY114" fmla="*/ 6633 h 10000"/>
                <a:gd name="connsiteX115" fmla="*/ 440 w 10000"/>
                <a:gd name="connsiteY115" fmla="*/ 6805 h 10000"/>
                <a:gd name="connsiteX116" fmla="*/ 504 w 10000"/>
                <a:gd name="connsiteY116" fmla="*/ 6984 h 10000"/>
                <a:gd name="connsiteX117" fmla="*/ 579 w 10000"/>
                <a:gd name="connsiteY117" fmla="*/ 7156 h 10000"/>
                <a:gd name="connsiteX118" fmla="*/ 655 w 10000"/>
                <a:gd name="connsiteY118" fmla="*/ 7336 h 10000"/>
                <a:gd name="connsiteX119" fmla="*/ 736 w 10000"/>
                <a:gd name="connsiteY119" fmla="*/ 7502 h 10000"/>
                <a:gd name="connsiteX120" fmla="*/ 828 w 10000"/>
                <a:gd name="connsiteY120" fmla="*/ 7665 h 10000"/>
                <a:gd name="connsiteX121" fmla="*/ 920 w 10000"/>
                <a:gd name="connsiteY121" fmla="*/ 7844 h 10000"/>
                <a:gd name="connsiteX122" fmla="*/ 1009 w 10000"/>
                <a:gd name="connsiteY122" fmla="*/ 8007 h 10000"/>
                <a:gd name="connsiteX123" fmla="*/ 1109 w 10000"/>
                <a:gd name="connsiteY123" fmla="*/ 8168 h 10000"/>
                <a:gd name="connsiteX124" fmla="*/ 1218 w 10000"/>
                <a:gd name="connsiteY124" fmla="*/ 8323 h 10000"/>
                <a:gd name="connsiteX125" fmla="*/ 1324 w 10000"/>
                <a:gd name="connsiteY125" fmla="*/ 8490 h 10000"/>
                <a:gd name="connsiteX126" fmla="*/ 1440 w 10000"/>
                <a:gd name="connsiteY126" fmla="*/ 8651 h 10000"/>
                <a:gd name="connsiteX127" fmla="*/ 1547 w 10000"/>
                <a:gd name="connsiteY127" fmla="*/ 8808 h 10000"/>
                <a:gd name="connsiteX128" fmla="*/ 1672 w 10000"/>
                <a:gd name="connsiteY128" fmla="*/ 8966 h 10000"/>
                <a:gd name="connsiteX129" fmla="*/ 1797 w 10000"/>
                <a:gd name="connsiteY129" fmla="*/ 9114 h 10000"/>
                <a:gd name="connsiteX130" fmla="*/ 1929 w 10000"/>
                <a:gd name="connsiteY130" fmla="*/ 9273 h 10000"/>
                <a:gd name="connsiteX131" fmla="*/ 2060 w 10000"/>
                <a:gd name="connsiteY131" fmla="*/ 9420 h 10000"/>
                <a:gd name="connsiteX132" fmla="*/ 2192 w 10000"/>
                <a:gd name="connsiteY132" fmla="*/ 9566 h 10000"/>
                <a:gd name="connsiteX133" fmla="*/ 2334 w 10000"/>
                <a:gd name="connsiteY133" fmla="*/ 9706 h 10000"/>
                <a:gd name="connsiteX134" fmla="*/ 2484 w 10000"/>
                <a:gd name="connsiteY134" fmla="*/ 9855 h 10000"/>
                <a:gd name="connsiteX135" fmla="*/ 2622 w 10000"/>
                <a:gd name="connsiteY135" fmla="*/ 10000 h 10000"/>
                <a:gd name="connsiteX136" fmla="*/ 4855 w 10000"/>
                <a:gd name="connsiteY136" fmla="*/ 7469 h 10000"/>
                <a:gd name="connsiteX0" fmla="*/ 4855 w 9643"/>
                <a:gd name="connsiteY0" fmla="*/ 7469 h 10000"/>
                <a:gd name="connsiteX1" fmla="*/ 9643 w 9643"/>
                <a:gd name="connsiteY1" fmla="*/ 7536 h 10000"/>
                <a:gd name="connsiteX2" fmla="*/ 9469 w 9643"/>
                <a:gd name="connsiteY2" fmla="*/ 7448 h 10000"/>
                <a:gd name="connsiteX3" fmla="*/ 9312 w 9643"/>
                <a:gd name="connsiteY3" fmla="*/ 7365 h 10000"/>
                <a:gd name="connsiteX4" fmla="*/ 9155 w 9643"/>
                <a:gd name="connsiteY4" fmla="*/ 7266 h 10000"/>
                <a:gd name="connsiteX5" fmla="*/ 8996 w 9643"/>
                <a:gd name="connsiteY5" fmla="*/ 7161 h 10000"/>
                <a:gd name="connsiteX6" fmla="*/ 8848 w 9643"/>
                <a:gd name="connsiteY6" fmla="*/ 7056 h 10000"/>
                <a:gd name="connsiteX7" fmla="*/ 8708 w 9643"/>
                <a:gd name="connsiteY7" fmla="*/ 6942 h 10000"/>
                <a:gd name="connsiteX8" fmla="*/ 8567 w 9643"/>
                <a:gd name="connsiteY8" fmla="*/ 6833 h 10000"/>
                <a:gd name="connsiteX9" fmla="*/ 8435 w 9643"/>
                <a:gd name="connsiteY9" fmla="*/ 6719 h 10000"/>
                <a:gd name="connsiteX10" fmla="*/ 8319 w 9643"/>
                <a:gd name="connsiteY10" fmla="*/ 6593 h 10000"/>
                <a:gd name="connsiteX11" fmla="*/ 8202 w 9643"/>
                <a:gd name="connsiteY11" fmla="*/ 6467 h 10000"/>
                <a:gd name="connsiteX12" fmla="*/ 8096 w 9643"/>
                <a:gd name="connsiteY12" fmla="*/ 6338 h 10000"/>
                <a:gd name="connsiteX13" fmla="*/ 7997 w 9643"/>
                <a:gd name="connsiteY13" fmla="*/ 6209 h 10000"/>
                <a:gd name="connsiteX14" fmla="*/ 7896 w 9643"/>
                <a:gd name="connsiteY14" fmla="*/ 6073 h 10000"/>
                <a:gd name="connsiteX15" fmla="*/ 7804 w 9643"/>
                <a:gd name="connsiteY15" fmla="*/ 5928 h 10000"/>
                <a:gd name="connsiteX16" fmla="*/ 7764 w 9643"/>
                <a:gd name="connsiteY16" fmla="*/ 5865 h 10000"/>
                <a:gd name="connsiteX17" fmla="*/ 7722 w 9643"/>
                <a:gd name="connsiteY17" fmla="*/ 5789 h 10000"/>
                <a:gd name="connsiteX18" fmla="*/ 7689 w 9643"/>
                <a:gd name="connsiteY18" fmla="*/ 5721 h 10000"/>
                <a:gd name="connsiteX19" fmla="*/ 7648 w 9643"/>
                <a:gd name="connsiteY19" fmla="*/ 5646 h 10000"/>
                <a:gd name="connsiteX20" fmla="*/ 7615 w 9643"/>
                <a:gd name="connsiteY20" fmla="*/ 5575 h 10000"/>
                <a:gd name="connsiteX21" fmla="*/ 7581 w 9643"/>
                <a:gd name="connsiteY21" fmla="*/ 5501 h 10000"/>
                <a:gd name="connsiteX22" fmla="*/ 7557 w 9643"/>
                <a:gd name="connsiteY22" fmla="*/ 5424 h 10000"/>
                <a:gd name="connsiteX23" fmla="*/ 7524 w 9643"/>
                <a:gd name="connsiteY23" fmla="*/ 5353 h 10000"/>
                <a:gd name="connsiteX24" fmla="*/ 7506 w 9643"/>
                <a:gd name="connsiteY24" fmla="*/ 5274 h 10000"/>
                <a:gd name="connsiteX25" fmla="*/ 7473 w 9643"/>
                <a:gd name="connsiteY25" fmla="*/ 5200 h 10000"/>
                <a:gd name="connsiteX26" fmla="*/ 7457 w 9643"/>
                <a:gd name="connsiteY26" fmla="*/ 5122 h 10000"/>
                <a:gd name="connsiteX27" fmla="*/ 7442 w 9643"/>
                <a:gd name="connsiteY27" fmla="*/ 5048 h 10000"/>
                <a:gd name="connsiteX28" fmla="*/ 7423 w 9643"/>
                <a:gd name="connsiteY28" fmla="*/ 4966 h 10000"/>
                <a:gd name="connsiteX29" fmla="*/ 7409 w 9643"/>
                <a:gd name="connsiteY29" fmla="*/ 4893 h 10000"/>
                <a:gd name="connsiteX30" fmla="*/ 7392 w 9643"/>
                <a:gd name="connsiteY30" fmla="*/ 4815 h 10000"/>
                <a:gd name="connsiteX31" fmla="*/ 7383 w 9643"/>
                <a:gd name="connsiteY31" fmla="*/ 4739 h 10000"/>
                <a:gd name="connsiteX32" fmla="*/ 7374 w 9643"/>
                <a:gd name="connsiteY32" fmla="*/ 4656 h 10000"/>
                <a:gd name="connsiteX33" fmla="*/ 7364 w 9643"/>
                <a:gd name="connsiteY33" fmla="*/ 4573 h 10000"/>
                <a:gd name="connsiteX34" fmla="*/ 7364 w 9643"/>
                <a:gd name="connsiteY34" fmla="*/ 4497 h 10000"/>
                <a:gd name="connsiteX35" fmla="*/ 7357 w 9643"/>
                <a:gd name="connsiteY35" fmla="*/ 4413 h 10000"/>
                <a:gd name="connsiteX36" fmla="*/ 7364 w 9643"/>
                <a:gd name="connsiteY36" fmla="*/ 4334 h 10000"/>
                <a:gd name="connsiteX37" fmla="*/ 7374 w 9643"/>
                <a:gd name="connsiteY37" fmla="*/ 4248 h 10000"/>
                <a:gd name="connsiteX38" fmla="*/ 7374 w 9643"/>
                <a:gd name="connsiteY38" fmla="*/ 4160 h 10000"/>
                <a:gd name="connsiteX39" fmla="*/ 7383 w 9643"/>
                <a:gd name="connsiteY39" fmla="*/ 4075 h 10000"/>
                <a:gd name="connsiteX40" fmla="*/ 7392 w 9643"/>
                <a:gd name="connsiteY40" fmla="*/ 3990 h 10000"/>
                <a:gd name="connsiteX41" fmla="*/ 7409 w 9643"/>
                <a:gd name="connsiteY41" fmla="*/ 3915 h 10000"/>
                <a:gd name="connsiteX42" fmla="*/ 7423 w 9643"/>
                <a:gd name="connsiteY42" fmla="*/ 3830 h 10000"/>
                <a:gd name="connsiteX43" fmla="*/ 7442 w 9643"/>
                <a:gd name="connsiteY43" fmla="*/ 3750 h 10000"/>
                <a:gd name="connsiteX44" fmla="*/ 7465 w 9643"/>
                <a:gd name="connsiteY44" fmla="*/ 3665 h 10000"/>
                <a:gd name="connsiteX45" fmla="*/ 7491 w 9643"/>
                <a:gd name="connsiteY45" fmla="*/ 3589 h 10000"/>
                <a:gd name="connsiteX46" fmla="*/ 7517 w 9643"/>
                <a:gd name="connsiteY46" fmla="*/ 3508 h 10000"/>
                <a:gd name="connsiteX47" fmla="*/ 7540 w 9643"/>
                <a:gd name="connsiteY47" fmla="*/ 3424 h 10000"/>
                <a:gd name="connsiteX48" fmla="*/ 7573 w 9643"/>
                <a:gd name="connsiteY48" fmla="*/ 3355 h 10000"/>
                <a:gd name="connsiteX49" fmla="*/ 7606 w 9643"/>
                <a:gd name="connsiteY49" fmla="*/ 3275 h 10000"/>
                <a:gd name="connsiteX50" fmla="*/ 7640 w 9643"/>
                <a:gd name="connsiteY50" fmla="*/ 3194 h 10000"/>
                <a:gd name="connsiteX51" fmla="*/ 7681 w 9643"/>
                <a:gd name="connsiteY51" fmla="*/ 3118 h 10000"/>
                <a:gd name="connsiteX52" fmla="*/ 7715 w 9643"/>
                <a:gd name="connsiteY52" fmla="*/ 3046 h 10000"/>
                <a:gd name="connsiteX53" fmla="*/ 7756 w 9643"/>
                <a:gd name="connsiteY53" fmla="*/ 2964 h 10000"/>
                <a:gd name="connsiteX54" fmla="*/ 7804 w 9643"/>
                <a:gd name="connsiteY54" fmla="*/ 2898 h 10000"/>
                <a:gd name="connsiteX55" fmla="*/ 7846 w 9643"/>
                <a:gd name="connsiteY55" fmla="*/ 2823 h 10000"/>
                <a:gd name="connsiteX56" fmla="*/ 7896 w 9643"/>
                <a:gd name="connsiteY56" fmla="*/ 2754 h 10000"/>
                <a:gd name="connsiteX57" fmla="*/ 7939 w 9643"/>
                <a:gd name="connsiteY57" fmla="*/ 2676 h 10000"/>
                <a:gd name="connsiteX58" fmla="*/ 7997 w 9643"/>
                <a:gd name="connsiteY58" fmla="*/ 2613 h 10000"/>
                <a:gd name="connsiteX59" fmla="*/ 8055 w 9643"/>
                <a:gd name="connsiteY59" fmla="*/ 2538 h 10000"/>
                <a:gd name="connsiteX60" fmla="*/ 8104 w 9643"/>
                <a:gd name="connsiteY60" fmla="*/ 2471 h 10000"/>
                <a:gd name="connsiteX61" fmla="*/ 8160 w 9643"/>
                <a:gd name="connsiteY61" fmla="*/ 2404 h 10000"/>
                <a:gd name="connsiteX62" fmla="*/ 8221 w 9643"/>
                <a:gd name="connsiteY62" fmla="*/ 2331 h 10000"/>
                <a:gd name="connsiteX63" fmla="*/ 8278 w 9643"/>
                <a:gd name="connsiteY63" fmla="*/ 2269 h 10000"/>
                <a:gd name="connsiteX64" fmla="*/ 8344 w 9643"/>
                <a:gd name="connsiteY64" fmla="*/ 2203 h 10000"/>
                <a:gd name="connsiteX65" fmla="*/ 8401 w 9643"/>
                <a:gd name="connsiteY65" fmla="*/ 2145 h 10000"/>
                <a:gd name="connsiteX66" fmla="*/ 8467 w 9643"/>
                <a:gd name="connsiteY66" fmla="*/ 2077 h 10000"/>
                <a:gd name="connsiteX67" fmla="*/ 8496 w 9643"/>
                <a:gd name="connsiteY67" fmla="*/ 2042 h 10000"/>
                <a:gd name="connsiteX68" fmla="*/ 6019 w 9643"/>
                <a:gd name="connsiteY68" fmla="*/ 6 h 10000"/>
                <a:gd name="connsiteX69" fmla="*/ 1564 w 9643"/>
                <a:gd name="connsiteY69" fmla="*/ 0 h 10000"/>
                <a:gd name="connsiteX70" fmla="*/ 1457 w 9643"/>
                <a:gd name="connsiteY70" fmla="*/ 154 h 10000"/>
                <a:gd name="connsiteX71" fmla="*/ 1366 w 9643"/>
                <a:gd name="connsiteY71" fmla="*/ 269 h 10000"/>
                <a:gd name="connsiteX72" fmla="*/ 1283 w 9643"/>
                <a:gd name="connsiteY72" fmla="*/ 397 h 10000"/>
                <a:gd name="connsiteX73" fmla="*/ 1191 w 9643"/>
                <a:gd name="connsiteY73" fmla="*/ 523 h 10000"/>
                <a:gd name="connsiteX74" fmla="*/ 1117 w 9643"/>
                <a:gd name="connsiteY74" fmla="*/ 650 h 10000"/>
                <a:gd name="connsiteX75" fmla="*/ 1035 w 9643"/>
                <a:gd name="connsiteY75" fmla="*/ 775 h 10000"/>
                <a:gd name="connsiteX76" fmla="*/ 960 w 9643"/>
                <a:gd name="connsiteY76" fmla="*/ 910 h 10000"/>
                <a:gd name="connsiteX77" fmla="*/ 885 w 9643"/>
                <a:gd name="connsiteY77" fmla="*/ 1043 h 10000"/>
                <a:gd name="connsiteX78" fmla="*/ 821 w 9643"/>
                <a:gd name="connsiteY78" fmla="*/ 1166 h 10000"/>
                <a:gd name="connsiteX79" fmla="*/ 754 w 9643"/>
                <a:gd name="connsiteY79" fmla="*/ 1304 h 10000"/>
                <a:gd name="connsiteX80" fmla="*/ 687 w 9643"/>
                <a:gd name="connsiteY80" fmla="*/ 1432 h 10000"/>
                <a:gd name="connsiteX81" fmla="*/ 620 w 9643"/>
                <a:gd name="connsiteY81" fmla="*/ 1572 h 10000"/>
                <a:gd name="connsiteX82" fmla="*/ 563 w 9643"/>
                <a:gd name="connsiteY82" fmla="*/ 1699 h 10000"/>
                <a:gd name="connsiteX83" fmla="*/ 504 w 9643"/>
                <a:gd name="connsiteY83" fmla="*/ 1833 h 10000"/>
                <a:gd name="connsiteX84" fmla="*/ 456 w 9643"/>
                <a:gd name="connsiteY84" fmla="*/ 1968 h 10000"/>
                <a:gd name="connsiteX85" fmla="*/ 405 w 9643"/>
                <a:gd name="connsiteY85" fmla="*/ 2104 h 10000"/>
                <a:gd name="connsiteX86" fmla="*/ 355 w 9643"/>
                <a:gd name="connsiteY86" fmla="*/ 2248 h 10000"/>
                <a:gd name="connsiteX87" fmla="*/ 317 w 9643"/>
                <a:gd name="connsiteY87" fmla="*/ 2384 h 10000"/>
                <a:gd name="connsiteX88" fmla="*/ 263 w 9643"/>
                <a:gd name="connsiteY88" fmla="*/ 2526 h 10000"/>
                <a:gd name="connsiteX89" fmla="*/ 232 w 9643"/>
                <a:gd name="connsiteY89" fmla="*/ 2666 h 10000"/>
                <a:gd name="connsiteX90" fmla="*/ 191 w 9643"/>
                <a:gd name="connsiteY90" fmla="*/ 2809 h 10000"/>
                <a:gd name="connsiteX91" fmla="*/ 164 w 9643"/>
                <a:gd name="connsiteY91" fmla="*/ 2953 h 10000"/>
                <a:gd name="connsiteX92" fmla="*/ 131 w 9643"/>
                <a:gd name="connsiteY92" fmla="*/ 3095 h 10000"/>
                <a:gd name="connsiteX93" fmla="*/ 108 w 9643"/>
                <a:gd name="connsiteY93" fmla="*/ 3235 h 10000"/>
                <a:gd name="connsiteX94" fmla="*/ 84 w 9643"/>
                <a:gd name="connsiteY94" fmla="*/ 3382 h 10000"/>
                <a:gd name="connsiteX95" fmla="*/ 56 w 9643"/>
                <a:gd name="connsiteY95" fmla="*/ 3534 h 10000"/>
                <a:gd name="connsiteX96" fmla="*/ 40 w 9643"/>
                <a:gd name="connsiteY96" fmla="*/ 3678 h 10000"/>
                <a:gd name="connsiteX97" fmla="*/ 22 w 9643"/>
                <a:gd name="connsiteY97" fmla="*/ 3822 h 10000"/>
                <a:gd name="connsiteX98" fmla="*/ 15 w 9643"/>
                <a:gd name="connsiteY98" fmla="*/ 3966 h 10000"/>
                <a:gd name="connsiteX99" fmla="*/ 7 w 9643"/>
                <a:gd name="connsiteY99" fmla="*/ 4116 h 10000"/>
                <a:gd name="connsiteX100" fmla="*/ 0 w 9643"/>
                <a:gd name="connsiteY100" fmla="*/ 4261 h 10000"/>
                <a:gd name="connsiteX101" fmla="*/ 0 w 9643"/>
                <a:gd name="connsiteY101" fmla="*/ 4413 h 10000"/>
                <a:gd name="connsiteX102" fmla="*/ 7 w 9643"/>
                <a:gd name="connsiteY102" fmla="*/ 4606 h 10000"/>
                <a:gd name="connsiteX103" fmla="*/ 7 w 9643"/>
                <a:gd name="connsiteY103" fmla="*/ 4798 h 10000"/>
                <a:gd name="connsiteX104" fmla="*/ 22 w 9643"/>
                <a:gd name="connsiteY104" fmla="*/ 4977 h 10000"/>
                <a:gd name="connsiteX105" fmla="*/ 40 w 9643"/>
                <a:gd name="connsiteY105" fmla="*/ 5166 h 10000"/>
                <a:gd name="connsiteX106" fmla="*/ 68 w 9643"/>
                <a:gd name="connsiteY106" fmla="*/ 5353 h 10000"/>
                <a:gd name="connsiteX107" fmla="*/ 101 w 9643"/>
                <a:gd name="connsiteY107" fmla="*/ 5540 h 10000"/>
                <a:gd name="connsiteX108" fmla="*/ 131 w 9643"/>
                <a:gd name="connsiteY108" fmla="*/ 5725 h 10000"/>
                <a:gd name="connsiteX109" fmla="*/ 164 w 9643"/>
                <a:gd name="connsiteY109" fmla="*/ 5909 h 10000"/>
                <a:gd name="connsiteX110" fmla="*/ 217 w 9643"/>
                <a:gd name="connsiteY110" fmla="*/ 6093 h 10000"/>
                <a:gd name="connsiteX111" fmla="*/ 263 w 9643"/>
                <a:gd name="connsiteY111" fmla="*/ 6273 h 10000"/>
                <a:gd name="connsiteX112" fmla="*/ 317 w 9643"/>
                <a:gd name="connsiteY112" fmla="*/ 6456 h 10000"/>
                <a:gd name="connsiteX113" fmla="*/ 372 w 9643"/>
                <a:gd name="connsiteY113" fmla="*/ 6633 h 10000"/>
                <a:gd name="connsiteX114" fmla="*/ 440 w 9643"/>
                <a:gd name="connsiteY114" fmla="*/ 6805 h 10000"/>
                <a:gd name="connsiteX115" fmla="*/ 504 w 9643"/>
                <a:gd name="connsiteY115" fmla="*/ 6984 h 10000"/>
                <a:gd name="connsiteX116" fmla="*/ 579 w 9643"/>
                <a:gd name="connsiteY116" fmla="*/ 7156 h 10000"/>
                <a:gd name="connsiteX117" fmla="*/ 655 w 9643"/>
                <a:gd name="connsiteY117" fmla="*/ 7336 h 10000"/>
                <a:gd name="connsiteX118" fmla="*/ 736 w 9643"/>
                <a:gd name="connsiteY118" fmla="*/ 7502 h 10000"/>
                <a:gd name="connsiteX119" fmla="*/ 828 w 9643"/>
                <a:gd name="connsiteY119" fmla="*/ 7665 h 10000"/>
                <a:gd name="connsiteX120" fmla="*/ 920 w 9643"/>
                <a:gd name="connsiteY120" fmla="*/ 7844 h 10000"/>
                <a:gd name="connsiteX121" fmla="*/ 1009 w 9643"/>
                <a:gd name="connsiteY121" fmla="*/ 8007 h 10000"/>
                <a:gd name="connsiteX122" fmla="*/ 1109 w 9643"/>
                <a:gd name="connsiteY122" fmla="*/ 8168 h 10000"/>
                <a:gd name="connsiteX123" fmla="*/ 1218 w 9643"/>
                <a:gd name="connsiteY123" fmla="*/ 8323 h 10000"/>
                <a:gd name="connsiteX124" fmla="*/ 1324 w 9643"/>
                <a:gd name="connsiteY124" fmla="*/ 8490 h 10000"/>
                <a:gd name="connsiteX125" fmla="*/ 1440 w 9643"/>
                <a:gd name="connsiteY125" fmla="*/ 8651 h 10000"/>
                <a:gd name="connsiteX126" fmla="*/ 1547 w 9643"/>
                <a:gd name="connsiteY126" fmla="*/ 8808 h 10000"/>
                <a:gd name="connsiteX127" fmla="*/ 1672 w 9643"/>
                <a:gd name="connsiteY127" fmla="*/ 8966 h 10000"/>
                <a:gd name="connsiteX128" fmla="*/ 1797 w 9643"/>
                <a:gd name="connsiteY128" fmla="*/ 9114 h 10000"/>
                <a:gd name="connsiteX129" fmla="*/ 1929 w 9643"/>
                <a:gd name="connsiteY129" fmla="*/ 9273 h 10000"/>
                <a:gd name="connsiteX130" fmla="*/ 2060 w 9643"/>
                <a:gd name="connsiteY130" fmla="*/ 9420 h 10000"/>
                <a:gd name="connsiteX131" fmla="*/ 2192 w 9643"/>
                <a:gd name="connsiteY131" fmla="*/ 9566 h 10000"/>
                <a:gd name="connsiteX132" fmla="*/ 2334 w 9643"/>
                <a:gd name="connsiteY132" fmla="*/ 9706 h 10000"/>
                <a:gd name="connsiteX133" fmla="*/ 2484 w 9643"/>
                <a:gd name="connsiteY133" fmla="*/ 9855 h 10000"/>
                <a:gd name="connsiteX134" fmla="*/ 2622 w 9643"/>
                <a:gd name="connsiteY134" fmla="*/ 10000 h 10000"/>
                <a:gd name="connsiteX135" fmla="*/ 4855 w 9643"/>
                <a:gd name="connsiteY135" fmla="*/ 7469 h 10000"/>
                <a:gd name="connsiteX0" fmla="*/ 5035 w 9820"/>
                <a:gd name="connsiteY0" fmla="*/ 7469 h 10000"/>
                <a:gd name="connsiteX1" fmla="*/ 9820 w 9820"/>
                <a:gd name="connsiteY1" fmla="*/ 7448 h 10000"/>
                <a:gd name="connsiteX2" fmla="*/ 9657 w 9820"/>
                <a:gd name="connsiteY2" fmla="*/ 7365 h 10000"/>
                <a:gd name="connsiteX3" fmla="*/ 9494 w 9820"/>
                <a:gd name="connsiteY3" fmla="*/ 7266 h 10000"/>
                <a:gd name="connsiteX4" fmla="*/ 9329 w 9820"/>
                <a:gd name="connsiteY4" fmla="*/ 7161 h 10000"/>
                <a:gd name="connsiteX5" fmla="*/ 9176 w 9820"/>
                <a:gd name="connsiteY5" fmla="*/ 7056 h 10000"/>
                <a:gd name="connsiteX6" fmla="*/ 9030 w 9820"/>
                <a:gd name="connsiteY6" fmla="*/ 6942 h 10000"/>
                <a:gd name="connsiteX7" fmla="*/ 8884 w 9820"/>
                <a:gd name="connsiteY7" fmla="*/ 6833 h 10000"/>
                <a:gd name="connsiteX8" fmla="*/ 8747 w 9820"/>
                <a:gd name="connsiteY8" fmla="*/ 6719 h 10000"/>
                <a:gd name="connsiteX9" fmla="*/ 8627 w 9820"/>
                <a:gd name="connsiteY9" fmla="*/ 6593 h 10000"/>
                <a:gd name="connsiteX10" fmla="*/ 8506 w 9820"/>
                <a:gd name="connsiteY10" fmla="*/ 6467 h 10000"/>
                <a:gd name="connsiteX11" fmla="*/ 8396 w 9820"/>
                <a:gd name="connsiteY11" fmla="*/ 6338 h 10000"/>
                <a:gd name="connsiteX12" fmla="*/ 8293 w 9820"/>
                <a:gd name="connsiteY12" fmla="*/ 6209 h 10000"/>
                <a:gd name="connsiteX13" fmla="*/ 8188 w 9820"/>
                <a:gd name="connsiteY13" fmla="*/ 6073 h 10000"/>
                <a:gd name="connsiteX14" fmla="*/ 8093 w 9820"/>
                <a:gd name="connsiteY14" fmla="*/ 5928 h 10000"/>
                <a:gd name="connsiteX15" fmla="*/ 8051 w 9820"/>
                <a:gd name="connsiteY15" fmla="*/ 5865 h 10000"/>
                <a:gd name="connsiteX16" fmla="*/ 8008 w 9820"/>
                <a:gd name="connsiteY16" fmla="*/ 5789 h 10000"/>
                <a:gd name="connsiteX17" fmla="*/ 7974 w 9820"/>
                <a:gd name="connsiteY17" fmla="*/ 5721 h 10000"/>
                <a:gd name="connsiteX18" fmla="*/ 7931 w 9820"/>
                <a:gd name="connsiteY18" fmla="*/ 5646 h 10000"/>
                <a:gd name="connsiteX19" fmla="*/ 7897 w 9820"/>
                <a:gd name="connsiteY19" fmla="*/ 5575 h 10000"/>
                <a:gd name="connsiteX20" fmla="*/ 7862 w 9820"/>
                <a:gd name="connsiteY20" fmla="*/ 5501 h 10000"/>
                <a:gd name="connsiteX21" fmla="*/ 7837 w 9820"/>
                <a:gd name="connsiteY21" fmla="*/ 5424 h 10000"/>
                <a:gd name="connsiteX22" fmla="*/ 7803 w 9820"/>
                <a:gd name="connsiteY22" fmla="*/ 5353 h 10000"/>
                <a:gd name="connsiteX23" fmla="*/ 7784 w 9820"/>
                <a:gd name="connsiteY23" fmla="*/ 5274 h 10000"/>
                <a:gd name="connsiteX24" fmla="*/ 7750 w 9820"/>
                <a:gd name="connsiteY24" fmla="*/ 5200 h 10000"/>
                <a:gd name="connsiteX25" fmla="*/ 7733 w 9820"/>
                <a:gd name="connsiteY25" fmla="*/ 5122 h 10000"/>
                <a:gd name="connsiteX26" fmla="*/ 7718 w 9820"/>
                <a:gd name="connsiteY26" fmla="*/ 5048 h 10000"/>
                <a:gd name="connsiteX27" fmla="*/ 7698 w 9820"/>
                <a:gd name="connsiteY27" fmla="*/ 4966 h 10000"/>
                <a:gd name="connsiteX28" fmla="*/ 7683 w 9820"/>
                <a:gd name="connsiteY28" fmla="*/ 4893 h 10000"/>
                <a:gd name="connsiteX29" fmla="*/ 7666 w 9820"/>
                <a:gd name="connsiteY29" fmla="*/ 4815 h 10000"/>
                <a:gd name="connsiteX30" fmla="*/ 7656 w 9820"/>
                <a:gd name="connsiteY30" fmla="*/ 4739 h 10000"/>
                <a:gd name="connsiteX31" fmla="*/ 7647 w 9820"/>
                <a:gd name="connsiteY31" fmla="*/ 4656 h 10000"/>
                <a:gd name="connsiteX32" fmla="*/ 7637 w 9820"/>
                <a:gd name="connsiteY32" fmla="*/ 4573 h 10000"/>
                <a:gd name="connsiteX33" fmla="*/ 7637 w 9820"/>
                <a:gd name="connsiteY33" fmla="*/ 4497 h 10000"/>
                <a:gd name="connsiteX34" fmla="*/ 7629 w 9820"/>
                <a:gd name="connsiteY34" fmla="*/ 4413 h 10000"/>
                <a:gd name="connsiteX35" fmla="*/ 7637 w 9820"/>
                <a:gd name="connsiteY35" fmla="*/ 4334 h 10000"/>
                <a:gd name="connsiteX36" fmla="*/ 7647 w 9820"/>
                <a:gd name="connsiteY36" fmla="*/ 4248 h 10000"/>
                <a:gd name="connsiteX37" fmla="*/ 7647 w 9820"/>
                <a:gd name="connsiteY37" fmla="*/ 4160 h 10000"/>
                <a:gd name="connsiteX38" fmla="*/ 7656 w 9820"/>
                <a:gd name="connsiteY38" fmla="*/ 4075 h 10000"/>
                <a:gd name="connsiteX39" fmla="*/ 7666 w 9820"/>
                <a:gd name="connsiteY39" fmla="*/ 3990 h 10000"/>
                <a:gd name="connsiteX40" fmla="*/ 7683 w 9820"/>
                <a:gd name="connsiteY40" fmla="*/ 3915 h 10000"/>
                <a:gd name="connsiteX41" fmla="*/ 7698 w 9820"/>
                <a:gd name="connsiteY41" fmla="*/ 3830 h 10000"/>
                <a:gd name="connsiteX42" fmla="*/ 7718 w 9820"/>
                <a:gd name="connsiteY42" fmla="*/ 3750 h 10000"/>
                <a:gd name="connsiteX43" fmla="*/ 7741 w 9820"/>
                <a:gd name="connsiteY43" fmla="*/ 3665 h 10000"/>
                <a:gd name="connsiteX44" fmla="*/ 7768 w 9820"/>
                <a:gd name="connsiteY44" fmla="*/ 3589 h 10000"/>
                <a:gd name="connsiteX45" fmla="*/ 7795 w 9820"/>
                <a:gd name="connsiteY45" fmla="*/ 3508 h 10000"/>
                <a:gd name="connsiteX46" fmla="*/ 7819 w 9820"/>
                <a:gd name="connsiteY46" fmla="*/ 3424 h 10000"/>
                <a:gd name="connsiteX47" fmla="*/ 7853 w 9820"/>
                <a:gd name="connsiteY47" fmla="*/ 3355 h 10000"/>
                <a:gd name="connsiteX48" fmla="*/ 7888 w 9820"/>
                <a:gd name="connsiteY48" fmla="*/ 3275 h 10000"/>
                <a:gd name="connsiteX49" fmla="*/ 7923 w 9820"/>
                <a:gd name="connsiteY49" fmla="*/ 3194 h 10000"/>
                <a:gd name="connsiteX50" fmla="*/ 7965 w 9820"/>
                <a:gd name="connsiteY50" fmla="*/ 3118 h 10000"/>
                <a:gd name="connsiteX51" fmla="*/ 8001 w 9820"/>
                <a:gd name="connsiteY51" fmla="*/ 3046 h 10000"/>
                <a:gd name="connsiteX52" fmla="*/ 8043 w 9820"/>
                <a:gd name="connsiteY52" fmla="*/ 2964 h 10000"/>
                <a:gd name="connsiteX53" fmla="*/ 8093 w 9820"/>
                <a:gd name="connsiteY53" fmla="*/ 2898 h 10000"/>
                <a:gd name="connsiteX54" fmla="*/ 8136 w 9820"/>
                <a:gd name="connsiteY54" fmla="*/ 2823 h 10000"/>
                <a:gd name="connsiteX55" fmla="*/ 8188 w 9820"/>
                <a:gd name="connsiteY55" fmla="*/ 2754 h 10000"/>
                <a:gd name="connsiteX56" fmla="*/ 8233 w 9820"/>
                <a:gd name="connsiteY56" fmla="*/ 2676 h 10000"/>
                <a:gd name="connsiteX57" fmla="*/ 8293 w 9820"/>
                <a:gd name="connsiteY57" fmla="*/ 2613 h 10000"/>
                <a:gd name="connsiteX58" fmla="*/ 8353 w 9820"/>
                <a:gd name="connsiteY58" fmla="*/ 2538 h 10000"/>
                <a:gd name="connsiteX59" fmla="*/ 8404 w 9820"/>
                <a:gd name="connsiteY59" fmla="*/ 2471 h 10000"/>
                <a:gd name="connsiteX60" fmla="*/ 8462 w 9820"/>
                <a:gd name="connsiteY60" fmla="*/ 2404 h 10000"/>
                <a:gd name="connsiteX61" fmla="*/ 8525 w 9820"/>
                <a:gd name="connsiteY61" fmla="*/ 2331 h 10000"/>
                <a:gd name="connsiteX62" fmla="*/ 8584 w 9820"/>
                <a:gd name="connsiteY62" fmla="*/ 2269 h 10000"/>
                <a:gd name="connsiteX63" fmla="*/ 8653 w 9820"/>
                <a:gd name="connsiteY63" fmla="*/ 2203 h 10000"/>
                <a:gd name="connsiteX64" fmla="*/ 8712 w 9820"/>
                <a:gd name="connsiteY64" fmla="*/ 2145 h 10000"/>
                <a:gd name="connsiteX65" fmla="*/ 8780 w 9820"/>
                <a:gd name="connsiteY65" fmla="*/ 2077 h 10000"/>
                <a:gd name="connsiteX66" fmla="*/ 8811 w 9820"/>
                <a:gd name="connsiteY66" fmla="*/ 2042 h 10000"/>
                <a:gd name="connsiteX67" fmla="*/ 6242 w 9820"/>
                <a:gd name="connsiteY67" fmla="*/ 6 h 10000"/>
                <a:gd name="connsiteX68" fmla="*/ 1622 w 9820"/>
                <a:gd name="connsiteY68" fmla="*/ 0 h 10000"/>
                <a:gd name="connsiteX69" fmla="*/ 1511 w 9820"/>
                <a:gd name="connsiteY69" fmla="*/ 154 h 10000"/>
                <a:gd name="connsiteX70" fmla="*/ 1417 w 9820"/>
                <a:gd name="connsiteY70" fmla="*/ 269 h 10000"/>
                <a:gd name="connsiteX71" fmla="*/ 1330 w 9820"/>
                <a:gd name="connsiteY71" fmla="*/ 397 h 10000"/>
                <a:gd name="connsiteX72" fmla="*/ 1235 w 9820"/>
                <a:gd name="connsiteY72" fmla="*/ 523 h 10000"/>
                <a:gd name="connsiteX73" fmla="*/ 1158 w 9820"/>
                <a:gd name="connsiteY73" fmla="*/ 650 h 10000"/>
                <a:gd name="connsiteX74" fmla="*/ 1073 w 9820"/>
                <a:gd name="connsiteY74" fmla="*/ 775 h 10000"/>
                <a:gd name="connsiteX75" fmla="*/ 996 w 9820"/>
                <a:gd name="connsiteY75" fmla="*/ 910 h 10000"/>
                <a:gd name="connsiteX76" fmla="*/ 918 w 9820"/>
                <a:gd name="connsiteY76" fmla="*/ 1043 h 10000"/>
                <a:gd name="connsiteX77" fmla="*/ 851 w 9820"/>
                <a:gd name="connsiteY77" fmla="*/ 1166 h 10000"/>
                <a:gd name="connsiteX78" fmla="*/ 782 w 9820"/>
                <a:gd name="connsiteY78" fmla="*/ 1304 h 10000"/>
                <a:gd name="connsiteX79" fmla="*/ 712 w 9820"/>
                <a:gd name="connsiteY79" fmla="*/ 1432 h 10000"/>
                <a:gd name="connsiteX80" fmla="*/ 643 w 9820"/>
                <a:gd name="connsiteY80" fmla="*/ 1572 h 10000"/>
                <a:gd name="connsiteX81" fmla="*/ 584 w 9820"/>
                <a:gd name="connsiteY81" fmla="*/ 1699 h 10000"/>
                <a:gd name="connsiteX82" fmla="*/ 523 w 9820"/>
                <a:gd name="connsiteY82" fmla="*/ 1833 h 10000"/>
                <a:gd name="connsiteX83" fmla="*/ 473 w 9820"/>
                <a:gd name="connsiteY83" fmla="*/ 1968 h 10000"/>
                <a:gd name="connsiteX84" fmla="*/ 420 w 9820"/>
                <a:gd name="connsiteY84" fmla="*/ 2104 h 10000"/>
                <a:gd name="connsiteX85" fmla="*/ 368 w 9820"/>
                <a:gd name="connsiteY85" fmla="*/ 2248 h 10000"/>
                <a:gd name="connsiteX86" fmla="*/ 329 w 9820"/>
                <a:gd name="connsiteY86" fmla="*/ 2384 h 10000"/>
                <a:gd name="connsiteX87" fmla="*/ 273 w 9820"/>
                <a:gd name="connsiteY87" fmla="*/ 2526 h 10000"/>
                <a:gd name="connsiteX88" fmla="*/ 241 w 9820"/>
                <a:gd name="connsiteY88" fmla="*/ 2666 h 10000"/>
                <a:gd name="connsiteX89" fmla="*/ 198 w 9820"/>
                <a:gd name="connsiteY89" fmla="*/ 2809 h 10000"/>
                <a:gd name="connsiteX90" fmla="*/ 170 w 9820"/>
                <a:gd name="connsiteY90" fmla="*/ 2953 h 10000"/>
                <a:gd name="connsiteX91" fmla="*/ 136 w 9820"/>
                <a:gd name="connsiteY91" fmla="*/ 3095 h 10000"/>
                <a:gd name="connsiteX92" fmla="*/ 112 w 9820"/>
                <a:gd name="connsiteY92" fmla="*/ 3235 h 10000"/>
                <a:gd name="connsiteX93" fmla="*/ 87 w 9820"/>
                <a:gd name="connsiteY93" fmla="*/ 3382 h 10000"/>
                <a:gd name="connsiteX94" fmla="*/ 58 w 9820"/>
                <a:gd name="connsiteY94" fmla="*/ 3534 h 10000"/>
                <a:gd name="connsiteX95" fmla="*/ 41 w 9820"/>
                <a:gd name="connsiteY95" fmla="*/ 3678 h 10000"/>
                <a:gd name="connsiteX96" fmla="*/ 23 w 9820"/>
                <a:gd name="connsiteY96" fmla="*/ 3822 h 10000"/>
                <a:gd name="connsiteX97" fmla="*/ 16 w 9820"/>
                <a:gd name="connsiteY97" fmla="*/ 3966 h 10000"/>
                <a:gd name="connsiteX98" fmla="*/ 7 w 9820"/>
                <a:gd name="connsiteY98" fmla="*/ 4116 h 10000"/>
                <a:gd name="connsiteX99" fmla="*/ 0 w 9820"/>
                <a:gd name="connsiteY99" fmla="*/ 4261 h 10000"/>
                <a:gd name="connsiteX100" fmla="*/ 0 w 9820"/>
                <a:gd name="connsiteY100" fmla="*/ 4413 h 10000"/>
                <a:gd name="connsiteX101" fmla="*/ 7 w 9820"/>
                <a:gd name="connsiteY101" fmla="*/ 4606 h 10000"/>
                <a:gd name="connsiteX102" fmla="*/ 7 w 9820"/>
                <a:gd name="connsiteY102" fmla="*/ 4798 h 10000"/>
                <a:gd name="connsiteX103" fmla="*/ 23 w 9820"/>
                <a:gd name="connsiteY103" fmla="*/ 4977 h 10000"/>
                <a:gd name="connsiteX104" fmla="*/ 41 w 9820"/>
                <a:gd name="connsiteY104" fmla="*/ 5166 h 10000"/>
                <a:gd name="connsiteX105" fmla="*/ 71 w 9820"/>
                <a:gd name="connsiteY105" fmla="*/ 5353 h 10000"/>
                <a:gd name="connsiteX106" fmla="*/ 105 w 9820"/>
                <a:gd name="connsiteY106" fmla="*/ 5540 h 10000"/>
                <a:gd name="connsiteX107" fmla="*/ 136 w 9820"/>
                <a:gd name="connsiteY107" fmla="*/ 5725 h 10000"/>
                <a:gd name="connsiteX108" fmla="*/ 170 w 9820"/>
                <a:gd name="connsiteY108" fmla="*/ 5909 h 10000"/>
                <a:gd name="connsiteX109" fmla="*/ 225 w 9820"/>
                <a:gd name="connsiteY109" fmla="*/ 6093 h 10000"/>
                <a:gd name="connsiteX110" fmla="*/ 273 w 9820"/>
                <a:gd name="connsiteY110" fmla="*/ 6273 h 10000"/>
                <a:gd name="connsiteX111" fmla="*/ 329 w 9820"/>
                <a:gd name="connsiteY111" fmla="*/ 6456 h 10000"/>
                <a:gd name="connsiteX112" fmla="*/ 386 w 9820"/>
                <a:gd name="connsiteY112" fmla="*/ 6633 h 10000"/>
                <a:gd name="connsiteX113" fmla="*/ 456 w 9820"/>
                <a:gd name="connsiteY113" fmla="*/ 6805 h 10000"/>
                <a:gd name="connsiteX114" fmla="*/ 523 w 9820"/>
                <a:gd name="connsiteY114" fmla="*/ 6984 h 10000"/>
                <a:gd name="connsiteX115" fmla="*/ 600 w 9820"/>
                <a:gd name="connsiteY115" fmla="*/ 7156 h 10000"/>
                <a:gd name="connsiteX116" fmla="*/ 679 w 9820"/>
                <a:gd name="connsiteY116" fmla="*/ 7336 h 10000"/>
                <a:gd name="connsiteX117" fmla="*/ 763 w 9820"/>
                <a:gd name="connsiteY117" fmla="*/ 7502 h 10000"/>
                <a:gd name="connsiteX118" fmla="*/ 859 w 9820"/>
                <a:gd name="connsiteY118" fmla="*/ 7665 h 10000"/>
                <a:gd name="connsiteX119" fmla="*/ 954 w 9820"/>
                <a:gd name="connsiteY119" fmla="*/ 7844 h 10000"/>
                <a:gd name="connsiteX120" fmla="*/ 1046 w 9820"/>
                <a:gd name="connsiteY120" fmla="*/ 8007 h 10000"/>
                <a:gd name="connsiteX121" fmla="*/ 1150 w 9820"/>
                <a:gd name="connsiteY121" fmla="*/ 8168 h 10000"/>
                <a:gd name="connsiteX122" fmla="*/ 1263 w 9820"/>
                <a:gd name="connsiteY122" fmla="*/ 8323 h 10000"/>
                <a:gd name="connsiteX123" fmla="*/ 1373 w 9820"/>
                <a:gd name="connsiteY123" fmla="*/ 8490 h 10000"/>
                <a:gd name="connsiteX124" fmla="*/ 1493 w 9820"/>
                <a:gd name="connsiteY124" fmla="*/ 8651 h 10000"/>
                <a:gd name="connsiteX125" fmla="*/ 1604 w 9820"/>
                <a:gd name="connsiteY125" fmla="*/ 8808 h 10000"/>
                <a:gd name="connsiteX126" fmla="*/ 1734 w 9820"/>
                <a:gd name="connsiteY126" fmla="*/ 8966 h 10000"/>
                <a:gd name="connsiteX127" fmla="*/ 1864 w 9820"/>
                <a:gd name="connsiteY127" fmla="*/ 9114 h 10000"/>
                <a:gd name="connsiteX128" fmla="*/ 2000 w 9820"/>
                <a:gd name="connsiteY128" fmla="*/ 9273 h 10000"/>
                <a:gd name="connsiteX129" fmla="*/ 2136 w 9820"/>
                <a:gd name="connsiteY129" fmla="*/ 9420 h 10000"/>
                <a:gd name="connsiteX130" fmla="*/ 2273 w 9820"/>
                <a:gd name="connsiteY130" fmla="*/ 9566 h 10000"/>
                <a:gd name="connsiteX131" fmla="*/ 2420 w 9820"/>
                <a:gd name="connsiteY131" fmla="*/ 9706 h 10000"/>
                <a:gd name="connsiteX132" fmla="*/ 2576 w 9820"/>
                <a:gd name="connsiteY132" fmla="*/ 9855 h 10000"/>
                <a:gd name="connsiteX133" fmla="*/ 2719 w 9820"/>
                <a:gd name="connsiteY133" fmla="*/ 10000 h 10000"/>
                <a:gd name="connsiteX134" fmla="*/ 5035 w 9820"/>
                <a:gd name="connsiteY134" fmla="*/ 7469 h 10000"/>
                <a:gd name="connsiteX0" fmla="*/ 5127 w 10280"/>
                <a:gd name="connsiteY0" fmla="*/ 7469 h 10000"/>
                <a:gd name="connsiteX1" fmla="*/ 10000 w 10280"/>
                <a:gd name="connsiteY1" fmla="*/ 7448 h 10000"/>
                <a:gd name="connsiteX2" fmla="*/ 9668 w 10280"/>
                <a:gd name="connsiteY2" fmla="*/ 7266 h 10000"/>
                <a:gd name="connsiteX3" fmla="*/ 9500 w 10280"/>
                <a:gd name="connsiteY3" fmla="*/ 7161 h 10000"/>
                <a:gd name="connsiteX4" fmla="*/ 9344 w 10280"/>
                <a:gd name="connsiteY4" fmla="*/ 7056 h 10000"/>
                <a:gd name="connsiteX5" fmla="*/ 9196 w 10280"/>
                <a:gd name="connsiteY5" fmla="*/ 6942 h 10000"/>
                <a:gd name="connsiteX6" fmla="*/ 9047 w 10280"/>
                <a:gd name="connsiteY6" fmla="*/ 6833 h 10000"/>
                <a:gd name="connsiteX7" fmla="*/ 8907 w 10280"/>
                <a:gd name="connsiteY7" fmla="*/ 6719 h 10000"/>
                <a:gd name="connsiteX8" fmla="*/ 8785 w 10280"/>
                <a:gd name="connsiteY8" fmla="*/ 6593 h 10000"/>
                <a:gd name="connsiteX9" fmla="*/ 8662 w 10280"/>
                <a:gd name="connsiteY9" fmla="*/ 6467 h 10000"/>
                <a:gd name="connsiteX10" fmla="*/ 8550 w 10280"/>
                <a:gd name="connsiteY10" fmla="*/ 6338 h 10000"/>
                <a:gd name="connsiteX11" fmla="*/ 8445 w 10280"/>
                <a:gd name="connsiteY11" fmla="*/ 6209 h 10000"/>
                <a:gd name="connsiteX12" fmla="*/ 8338 w 10280"/>
                <a:gd name="connsiteY12" fmla="*/ 6073 h 10000"/>
                <a:gd name="connsiteX13" fmla="*/ 8241 w 10280"/>
                <a:gd name="connsiteY13" fmla="*/ 5928 h 10000"/>
                <a:gd name="connsiteX14" fmla="*/ 8199 w 10280"/>
                <a:gd name="connsiteY14" fmla="*/ 5865 h 10000"/>
                <a:gd name="connsiteX15" fmla="*/ 8155 w 10280"/>
                <a:gd name="connsiteY15" fmla="*/ 5789 h 10000"/>
                <a:gd name="connsiteX16" fmla="*/ 8120 w 10280"/>
                <a:gd name="connsiteY16" fmla="*/ 5721 h 10000"/>
                <a:gd name="connsiteX17" fmla="*/ 8076 w 10280"/>
                <a:gd name="connsiteY17" fmla="*/ 5646 h 10000"/>
                <a:gd name="connsiteX18" fmla="*/ 8042 w 10280"/>
                <a:gd name="connsiteY18" fmla="*/ 5575 h 10000"/>
                <a:gd name="connsiteX19" fmla="*/ 8006 w 10280"/>
                <a:gd name="connsiteY19" fmla="*/ 5501 h 10000"/>
                <a:gd name="connsiteX20" fmla="*/ 7981 w 10280"/>
                <a:gd name="connsiteY20" fmla="*/ 5424 h 10000"/>
                <a:gd name="connsiteX21" fmla="*/ 7946 w 10280"/>
                <a:gd name="connsiteY21" fmla="*/ 5353 h 10000"/>
                <a:gd name="connsiteX22" fmla="*/ 7927 w 10280"/>
                <a:gd name="connsiteY22" fmla="*/ 5274 h 10000"/>
                <a:gd name="connsiteX23" fmla="*/ 7892 w 10280"/>
                <a:gd name="connsiteY23" fmla="*/ 5200 h 10000"/>
                <a:gd name="connsiteX24" fmla="*/ 7875 w 10280"/>
                <a:gd name="connsiteY24" fmla="*/ 5122 h 10000"/>
                <a:gd name="connsiteX25" fmla="*/ 7859 w 10280"/>
                <a:gd name="connsiteY25" fmla="*/ 5048 h 10000"/>
                <a:gd name="connsiteX26" fmla="*/ 7839 w 10280"/>
                <a:gd name="connsiteY26" fmla="*/ 4966 h 10000"/>
                <a:gd name="connsiteX27" fmla="*/ 7824 w 10280"/>
                <a:gd name="connsiteY27" fmla="*/ 4893 h 10000"/>
                <a:gd name="connsiteX28" fmla="*/ 7807 w 10280"/>
                <a:gd name="connsiteY28" fmla="*/ 4815 h 10000"/>
                <a:gd name="connsiteX29" fmla="*/ 7796 w 10280"/>
                <a:gd name="connsiteY29" fmla="*/ 4739 h 10000"/>
                <a:gd name="connsiteX30" fmla="*/ 7787 w 10280"/>
                <a:gd name="connsiteY30" fmla="*/ 4656 h 10000"/>
                <a:gd name="connsiteX31" fmla="*/ 7777 w 10280"/>
                <a:gd name="connsiteY31" fmla="*/ 4573 h 10000"/>
                <a:gd name="connsiteX32" fmla="*/ 7777 w 10280"/>
                <a:gd name="connsiteY32" fmla="*/ 4497 h 10000"/>
                <a:gd name="connsiteX33" fmla="*/ 7769 w 10280"/>
                <a:gd name="connsiteY33" fmla="*/ 4413 h 10000"/>
                <a:gd name="connsiteX34" fmla="*/ 7777 w 10280"/>
                <a:gd name="connsiteY34" fmla="*/ 4334 h 10000"/>
                <a:gd name="connsiteX35" fmla="*/ 7787 w 10280"/>
                <a:gd name="connsiteY35" fmla="*/ 4248 h 10000"/>
                <a:gd name="connsiteX36" fmla="*/ 7787 w 10280"/>
                <a:gd name="connsiteY36" fmla="*/ 4160 h 10000"/>
                <a:gd name="connsiteX37" fmla="*/ 7796 w 10280"/>
                <a:gd name="connsiteY37" fmla="*/ 4075 h 10000"/>
                <a:gd name="connsiteX38" fmla="*/ 7807 w 10280"/>
                <a:gd name="connsiteY38" fmla="*/ 3990 h 10000"/>
                <a:gd name="connsiteX39" fmla="*/ 7824 w 10280"/>
                <a:gd name="connsiteY39" fmla="*/ 3915 h 10000"/>
                <a:gd name="connsiteX40" fmla="*/ 7839 w 10280"/>
                <a:gd name="connsiteY40" fmla="*/ 3830 h 10000"/>
                <a:gd name="connsiteX41" fmla="*/ 7859 w 10280"/>
                <a:gd name="connsiteY41" fmla="*/ 3750 h 10000"/>
                <a:gd name="connsiteX42" fmla="*/ 7883 w 10280"/>
                <a:gd name="connsiteY42" fmla="*/ 3665 h 10000"/>
                <a:gd name="connsiteX43" fmla="*/ 7910 w 10280"/>
                <a:gd name="connsiteY43" fmla="*/ 3589 h 10000"/>
                <a:gd name="connsiteX44" fmla="*/ 7938 w 10280"/>
                <a:gd name="connsiteY44" fmla="*/ 3508 h 10000"/>
                <a:gd name="connsiteX45" fmla="*/ 7962 w 10280"/>
                <a:gd name="connsiteY45" fmla="*/ 3424 h 10000"/>
                <a:gd name="connsiteX46" fmla="*/ 7997 w 10280"/>
                <a:gd name="connsiteY46" fmla="*/ 3355 h 10000"/>
                <a:gd name="connsiteX47" fmla="*/ 8033 w 10280"/>
                <a:gd name="connsiteY47" fmla="*/ 3275 h 10000"/>
                <a:gd name="connsiteX48" fmla="*/ 8068 w 10280"/>
                <a:gd name="connsiteY48" fmla="*/ 3194 h 10000"/>
                <a:gd name="connsiteX49" fmla="*/ 8111 w 10280"/>
                <a:gd name="connsiteY49" fmla="*/ 3118 h 10000"/>
                <a:gd name="connsiteX50" fmla="*/ 8148 w 10280"/>
                <a:gd name="connsiteY50" fmla="*/ 3046 h 10000"/>
                <a:gd name="connsiteX51" fmla="*/ 8190 w 10280"/>
                <a:gd name="connsiteY51" fmla="*/ 2964 h 10000"/>
                <a:gd name="connsiteX52" fmla="*/ 8241 w 10280"/>
                <a:gd name="connsiteY52" fmla="*/ 2898 h 10000"/>
                <a:gd name="connsiteX53" fmla="*/ 8285 w 10280"/>
                <a:gd name="connsiteY53" fmla="*/ 2823 h 10000"/>
                <a:gd name="connsiteX54" fmla="*/ 8338 w 10280"/>
                <a:gd name="connsiteY54" fmla="*/ 2754 h 10000"/>
                <a:gd name="connsiteX55" fmla="*/ 8384 w 10280"/>
                <a:gd name="connsiteY55" fmla="*/ 2676 h 10000"/>
                <a:gd name="connsiteX56" fmla="*/ 8445 w 10280"/>
                <a:gd name="connsiteY56" fmla="*/ 2613 h 10000"/>
                <a:gd name="connsiteX57" fmla="*/ 8506 w 10280"/>
                <a:gd name="connsiteY57" fmla="*/ 2538 h 10000"/>
                <a:gd name="connsiteX58" fmla="*/ 8558 w 10280"/>
                <a:gd name="connsiteY58" fmla="*/ 2471 h 10000"/>
                <a:gd name="connsiteX59" fmla="*/ 8617 w 10280"/>
                <a:gd name="connsiteY59" fmla="*/ 2404 h 10000"/>
                <a:gd name="connsiteX60" fmla="*/ 8681 w 10280"/>
                <a:gd name="connsiteY60" fmla="*/ 2331 h 10000"/>
                <a:gd name="connsiteX61" fmla="*/ 8741 w 10280"/>
                <a:gd name="connsiteY61" fmla="*/ 2269 h 10000"/>
                <a:gd name="connsiteX62" fmla="*/ 8812 w 10280"/>
                <a:gd name="connsiteY62" fmla="*/ 2203 h 10000"/>
                <a:gd name="connsiteX63" fmla="*/ 8872 w 10280"/>
                <a:gd name="connsiteY63" fmla="*/ 2145 h 10000"/>
                <a:gd name="connsiteX64" fmla="*/ 8941 w 10280"/>
                <a:gd name="connsiteY64" fmla="*/ 2077 h 10000"/>
                <a:gd name="connsiteX65" fmla="*/ 8973 w 10280"/>
                <a:gd name="connsiteY65" fmla="*/ 2042 h 10000"/>
                <a:gd name="connsiteX66" fmla="*/ 6356 w 10280"/>
                <a:gd name="connsiteY66" fmla="*/ 6 h 10000"/>
                <a:gd name="connsiteX67" fmla="*/ 1652 w 10280"/>
                <a:gd name="connsiteY67" fmla="*/ 0 h 10000"/>
                <a:gd name="connsiteX68" fmla="*/ 1539 w 10280"/>
                <a:gd name="connsiteY68" fmla="*/ 154 h 10000"/>
                <a:gd name="connsiteX69" fmla="*/ 1443 w 10280"/>
                <a:gd name="connsiteY69" fmla="*/ 269 h 10000"/>
                <a:gd name="connsiteX70" fmla="*/ 1354 w 10280"/>
                <a:gd name="connsiteY70" fmla="*/ 397 h 10000"/>
                <a:gd name="connsiteX71" fmla="*/ 1258 w 10280"/>
                <a:gd name="connsiteY71" fmla="*/ 523 h 10000"/>
                <a:gd name="connsiteX72" fmla="*/ 1179 w 10280"/>
                <a:gd name="connsiteY72" fmla="*/ 650 h 10000"/>
                <a:gd name="connsiteX73" fmla="*/ 1093 w 10280"/>
                <a:gd name="connsiteY73" fmla="*/ 775 h 10000"/>
                <a:gd name="connsiteX74" fmla="*/ 1014 w 10280"/>
                <a:gd name="connsiteY74" fmla="*/ 910 h 10000"/>
                <a:gd name="connsiteX75" fmla="*/ 935 w 10280"/>
                <a:gd name="connsiteY75" fmla="*/ 1043 h 10000"/>
                <a:gd name="connsiteX76" fmla="*/ 867 w 10280"/>
                <a:gd name="connsiteY76" fmla="*/ 1166 h 10000"/>
                <a:gd name="connsiteX77" fmla="*/ 796 w 10280"/>
                <a:gd name="connsiteY77" fmla="*/ 1304 h 10000"/>
                <a:gd name="connsiteX78" fmla="*/ 725 w 10280"/>
                <a:gd name="connsiteY78" fmla="*/ 1432 h 10000"/>
                <a:gd name="connsiteX79" fmla="*/ 655 w 10280"/>
                <a:gd name="connsiteY79" fmla="*/ 1572 h 10000"/>
                <a:gd name="connsiteX80" fmla="*/ 595 w 10280"/>
                <a:gd name="connsiteY80" fmla="*/ 1699 h 10000"/>
                <a:gd name="connsiteX81" fmla="*/ 533 w 10280"/>
                <a:gd name="connsiteY81" fmla="*/ 1833 h 10000"/>
                <a:gd name="connsiteX82" fmla="*/ 482 w 10280"/>
                <a:gd name="connsiteY82" fmla="*/ 1968 h 10000"/>
                <a:gd name="connsiteX83" fmla="*/ 428 w 10280"/>
                <a:gd name="connsiteY83" fmla="*/ 2104 h 10000"/>
                <a:gd name="connsiteX84" fmla="*/ 375 w 10280"/>
                <a:gd name="connsiteY84" fmla="*/ 2248 h 10000"/>
                <a:gd name="connsiteX85" fmla="*/ 335 w 10280"/>
                <a:gd name="connsiteY85" fmla="*/ 2384 h 10000"/>
                <a:gd name="connsiteX86" fmla="*/ 278 w 10280"/>
                <a:gd name="connsiteY86" fmla="*/ 2526 h 10000"/>
                <a:gd name="connsiteX87" fmla="*/ 245 w 10280"/>
                <a:gd name="connsiteY87" fmla="*/ 2666 h 10000"/>
                <a:gd name="connsiteX88" fmla="*/ 202 w 10280"/>
                <a:gd name="connsiteY88" fmla="*/ 2809 h 10000"/>
                <a:gd name="connsiteX89" fmla="*/ 173 w 10280"/>
                <a:gd name="connsiteY89" fmla="*/ 2953 h 10000"/>
                <a:gd name="connsiteX90" fmla="*/ 138 w 10280"/>
                <a:gd name="connsiteY90" fmla="*/ 3095 h 10000"/>
                <a:gd name="connsiteX91" fmla="*/ 114 w 10280"/>
                <a:gd name="connsiteY91" fmla="*/ 3235 h 10000"/>
                <a:gd name="connsiteX92" fmla="*/ 89 w 10280"/>
                <a:gd name="connsiteY92" fmla="*/ 3382 h 10000"/>
                <a:gd name="connsiteX93" fmla="*/ 59 w 10280"/>
                <a:gd name="connsiteY93" fmla="*/ 3534 h 10000"/>
                <a:gd name="connsiteX94" fmla="*/ 42 w 10280"/>
                <a:gd name="connsiteY94" fmla="*/ 3678 h 10000"/>
                <a:gd name="connsiteX95" fmla="*/ 23 w 10280"/>
                <a:gd name="connsiteY95" fmla="*/ 3822 h 10000"/>
                <a:gd name="connsiteX96" fmla="*/ 16 w 10280"/>
                <a:gd name="connsiteY96" fmla="*/ 3966 h 10000"/>
                <a:gd name="connsiteX97" fmla="*/ 7 w 10280"/>
                <a:gd name="connsiteY97" fmla="*/ 4116 h 10000"/>
                <a:gd name="connsiteX98" fmla="*/ 0 w 10280"/>
                <a:gd name="connsiteY98" fmla="*/ 4261 h 10000"/>
                <a:gd name="connsiteX99" fmla="*/ 0 w 10280"/>
                <a:gd name="connsiteY99" fmla="*/ 4413 h 10000"/>
                <a:gd name="connsiteX100" fmla="*/ 7 w 10280"/>
                <a:gd name="connsiteY100" fmla="*/ 4606 h 10000"/>
                <a:gd name="connsiteX101" fmla="*/ 7 w 10280"/>
                <a:gd name="connsiteY101" fmla="*/ 4798 h 10000"/>
                <a:gd name="connsiteX102" fmla="*/ 23 w 10280"/>
                <a:gd name="connsiteY102" fmla="*/ 4977 h 10000"/>
                <a:gd name="connsiteX103" fmla="*/ 42 w 10280"/>
                <a:gd name="connsiteY103" fmla="*/ 5166 h 10000"/>
                <a:gd name="connsiteX104" fmla="*/ 72 w 10280"/>
                <a:gd name="connsiteY104" fmla="*/ 5353 h 10000"/>
                <a:gd name="connsiteX105" fmla="*/ 107 w 10280"/>
                <a:gd name="connsiteY105" fmla="*/ 5540 h 10000"/>
                <a:gd name="connsiteX106" fmla="*/ 138 w 10280"/>
                <a:gd name="connsiteY106" fmla="*/ 5725 h 10000"/>
                <a:gd name="connsiteX107" fmla="*/ 173 w 10280"/>
                <a:gd name="connsiteY107" fmla="*/ 5909 h 10000"/>
                <a:gd name="connsiteX108" fmla="*/ 229 w 10280"/>
                <a:gd name="connsiteY108" fmla="*/ 6093 h 10000"/>
                <a:gd name="connsiteX109" fmla="*/ 278 w 10280"/>
                <a:gd name="connsiteY109" fmla="*/ 6273 h 10000"/>
                <a:gd name="connsiteX110" fmla="*/ 335 w 10280"/>
                <a:gd name="connsiteY110" fmla="*/ 6456 h 10000"/>
                <a:gd name="connsiteX111" fmla="*/ 393 w 10280"/>
                <a:gd name="connsiteY111" fmla="*/ 6633 h 10000"/>
                <a:gd name="connsiteX112" fmla="*/ 464 w 10280"/>
                <a:gd name="connsiteY112" fmla="*/ 6805 h 10000"/>
                <a:gd name="connsiteX113" fmla="*/ 533 w 10280"/>
                <a:gd name="connsiteY113" fmla="*/ 6984 h 10000"/>
                <a:gd name="connsiteX114" fmla="*/ 611 w 10280"/>
                <a:gd name="connsiteY114" fmla="*/ 7156 h 10000"/>
                <a:gd name="connsiteX115" fmla="*/ 691 w 10280"/>
                <a:gd name="connsiteY115" fmla="*/ 7336 h 10000"/>
                <a:gd name="connsiteX116" fmla="*/ 777 w 10280"/>
                <a:gd name="connsiteY116" fmla="*/ 7502 h 10000"/>
                <a:gd name="connsiteX117" fmla="*/ 875 w 10280"/>
                <a:gd name="connsiteY117" fmla="*/ 7665 h 10000"/>
                <a:gd name="connsiteX118" fmla="*/ 971 w 10280"/>
                <a:gd name="connsiteY118" fmla="*/ 7844 h 10000"/>
                <a:gd name="connsiteX119" fmla="*/ 1065 w 10280"/>
                <a:gd name="connsiteY119" fmla="*/ 8007 h 10000"/>
                <a:gd name="connsiteX120" fmla="*/ 1171 w 10280"/>
                <a:gd name="connsiteY120" fmla="*/ 8168 h 10000"/>
                <a:gd name="connsiteX121" fmla="*/ 1286 w 10280"/>
                <a:gd name="connsiteY121" fmla="*/ 8323 h 10000"/>
                <a:gd name="connsiteX122" fmla="*/ 1398 w 10280"/>
                <a:gd name="connsiteY122" fmla="*/ 8490 h 10000"/>
                <a:gd name="connsiteX123" fmla="*/ 1520 w 10280"/>
                <a:gd name="connsiteY123" fmla="*/ 8651 h 10000"/>
                <a:gd name="connsiteX124" fmla="*/ 1633 w 10280"/>
                <a:gd name="connsiteY124" fmla="*/ 8808 h 10000"/>
                <a:gd name="connsiteX125" fmla="*/ 1766 w 10280"/>
                <a:gd name="connsiteY125" fmla="*/ 8966 h 10000"/>
                <a:gd name="connsiteX126" fmla="*/ 1898 w 10280"/>
                <a:gd name="connsiteY126" fmla="*/ 9114 h 10000"/>
                <a:gd name="connsiteX127" fmla="*/ 2037 w 10280"/>
                <a:gd name="connsiteY127" fmla="*/ 9273 h 10000"/>
                <a:gd name="connsiteX128" fmla="*/ 2175 w 10280"/>
                <a:gd name="connsiteY128" fmla="*/ 9420 h 10000"/>
                <a:gd name="connsiteX129" fmla="*/ 2315 w 10280"/>
                <a:gd name="connsiteY129" fmla="*/ 9566 h 10000"/>
                <a:gd name="connsiteX130" fmla="*/ 2464 w 10280"/>
                <a:gd name="connsiteY130" fmla="*/ 9706 h 10000"/>
                <a:gd name="connsiteX131" fmla="*/ 2623 w 10280"/>
                <a:gd name="connsiteY131" fmla="*/ 9855 h 10000"/>
                <a:gd name="connsiteX132" fmla="*/ 2769 w 10280"/>
                <a:gd name="connsiteY132" fmla="*/ 10000 h 10000"/>
                <a:gd name="connsiteX133" fmla="*/ 5127 w 10280"/>
                <a:gd name="connsiteY133" fmla="*/ 7469 h 10000"/>
                <a:gd name="connsiteX0" fmla="*/ 5127 w 9668"/>
                <a:gd name="connsiteY0" fmla="*/ 7469 h 10000"/>
                <a:gd name="connsiteX1" fmla="*/ 9668 w 9668"/>
                <a:gd name="connsiteY1" fmla="*/ 7266 h 10000"/>
                <a:gd name="connsiteX2" fmla="*/ 9500 w 9668"/>
                <a:gd name="connsiteY2" fmla="*/ 7161 h 10000"/>
                <a:gd name="connsiteX3" fmla="*/ 9344 w 9668"/>
                <a:gd name="connsiteY3" fmla="*/ 7056 h 10000"/>
                <a:gd name="connsiteX4" fmla="*/ 9196 w 9668"/>
                <a:gd name="connsiteY4" fmla="*/ 6942 h 10000"/>
                <a:gd name="connsiteX5" fmla="*/ 9047 w 9668"/>
                <a:gd name="connsiteY5" fmla="*/ 6833 h 10000"/>
                <a:gd name="connsiteX6" fmla="*/ 8907 w 9668"/>
                <a:gd name="connsiteY6" fmla="*/ 6719 h 10000"/>
                <a:gd name="connsiteX7" fmla="*/ 8785 w 9668"/>
                <a:gd name="connsiteY7" fmla="*/ 6593 h 10000"/>
                <a:gd name="connsiteX8" fmla="*/ 8662 w 9668"/>
                <a:gd name="connsiteY8" fmla="*/ 6467 h 10000"/>
                <a:gd name="connsiteX9" fmla="*/ 8550 w 9668"/>
                <a:gd name="connsiteY9" fmla="*/ 6338 h 10000"/>
                <a:gd name="connsiteX10" fmla="*/ 8445 w 9668"/>
                <a:gd name="connsiteY10" fmla="*/ 6209 h 10000"/>
                <a:gd name="connsiteX11" fmla="*/ 8338 w 9668"/>
                <a:gd name="connsiteY11" fmla="*/ 6073 h 10000"/>
                <a:gd name="connsiteX12" fmla="*/ 8241 w 9668"/>
                <a:gd name="connsiteY12" fmla="*/ 5928 h 10000"/>
                <a:gd name="connsiteX13" fmla="*/ 8199 w 9668"/>
                <a:gd name="connsiteY13" fmla="*/ 5865 h 10000"/>
                <a:gd name="connsiteX14" fmla="*/ 8155 w 9668"/>
                <a:gd name="connsiteY14" fmla="*/ 5789 h 10000"/>
                <a:gd name="connsiteX15" fmla="*/ 8120 w 9668"/>
                <a:gd name="connsiteY15" fmla="*/ 5721 h 10000"/>
                <a:gd name="connsiteX16" fmla="*/ 8076 w 9668"/>
                <a:gd name="connsiteY16" fmla="*/ 5646 h 10000"/>
                <a:gd name="connsiteX17" fmla="*/ 8042 w 9668"/>
                <a:gd name="connsiteY17" fmla="*/ 5575 h 10000"/>
                <a:gd name="connsiteX18" fmla="*/ 8006 w 9668"/>
                <a:gd name="connsiteY18" fmla="*/ 5501 h 10000"/>
                <a:gd name="connsiteX19" fmla="*/ 7981 w 9668"/>
                <a:gd name="connsiteY19" fmla="*/ 5424 h 10000"/>
                <a:gd name="connsiteX20" fmla="*/ 7946 w 9668"/>
                <a:gd name="connsiteY20" fmla="*/ 5353 h 10000"/>
                <a:gd name="connsiteX21" fmla="*/ 7927 w 9668"/>
                <a:gd name="connsiteY21" fmla="*/ 5274 h 10000"/>
                <a:gd name="connsiteX22" fmla="*/ 7892 w 9668"/>
                <a:gd name="connsiteY22" fmla="*/ 5200 h 10000"/>
                <a:gd name="connsiteX23" fmla="*/ 7875 w 9668"/>
                <a:gd name="connsiteY23" fmla="*/ 5122 h 10000"/>
                <a:gd name="connsiteX24" fmla="*/ 7859 w 9668"/>
                <a:gd name="connsiteY24" fmla="*/ 5048 h 10000"/>
                <a:gd name="connsiteX25" fmla="*/ 7839 w 9668"/>
                <a:gd name="connsiteY25" fmla="*/ 4966 h 10000"/>
                <a:gd name="connsiteX26" fmla="*/ 7824 w 9668"/>
                <a:gd name="connsiteY26" fmla="*/ 4893 h 10000"/>
                <a:gd name="connsiteX27" fmla="*/ 7807 w 9668"/>
                <a:gd name="connsiteY27" fmla="*/ 4815 h 10000"/>
                <a:gd name="connsiteX28" fmla="*/ 7796 w 9668"/>
                <a:gd name="connsiteY28" fmla="*/ 4739 h 10000"/>
                <a:gd name="connsiteX29" fmla="*/ 7787 w 9668"/>
                <a:gd name="connsiteY29" fmla="*/ 4656 h 10000"/>
                <a:gd name="connsiteX30" fmla="*/ 7777 w 9668"/>
                <a:gd name="connsiteY30" fmla="*/ 4573 h 10000"/>
                <a:gd name="connsiteX31" fmla="*/ 7777 w 9668"/>
                <a:gd name="connsiteY31" fmla="*/ 4497 h 10000"/>
                <a:gd name="connsiteX32" fmla="*/ 7769 w 9668"/>
                <a:gd name="connsiteY32" fmla="*/ 4413 h 10000"/>
                <a:gd name="connsiteX33" fmla="*/ 7777 w 9668"/>
                <a:gd name="connsiteY33" fmla="*/ 4334 h 10000"/>
                <a:gd name="connsiteX34" fmla="*/ 7787 w 9668"/>
                <a:gd name="connsiteY34" fmla="*/ 4248 h 10000"/>
                <a:gd name="connsiteX35" fmla="*/ 7787 w 9668"/>
                <a:gd name="connsiteY35" fmla="*/ 4160 h 10000"/>
                <a:gd name="connsiteX36" fmla="*/ 7796 w 9668"/>
                <a:gd name="connsiteY36" fmla="*/ 4075 h 10000"/>
                <a:gd name="connsiteX37" fmla="*/ 7807 w 9668"/>
                <a:gd name="connsiteY37" fmla="*/ 3990 h 10000"/>
                <a:gd name="connsiteX38" fmla="*/ 7824 w 9668"/>
                <a:gd name="connsiteY38" fmla="*/ 3915 h 10000"/>
                <a:gd name="connsiteX39" fmla="*/ 7839 w 9668"/>
                <a:gd name="connsiteY39" fmla="*/ 3830 h 10000"/>
                <a:gd name="connsiteX40" fmla="*/ 7859 w 9668"/>
                <a:gd name="connsiteY40" fmla="*/ 3750 h 10000"/>
                <a:gd name="connsiteX41" fmla="*/ 7883 w 9668"/>
                <a:gd name="connsiteY41" fmla="*/ 3665 h 10000"/>
                <a:gd name="connsiteX42" fmla="*/ 7910 w 9668"/>
                <a:gd name="connsiteY42" fmla="*/ 3589 h 10000"/>
                <a:gd name="connsiteX43" fmla="*/ 7938 w 9668"/>
                <a:gd name="connsiteY43" fmla="*/ 3508 h 10000"/>
                <a:gd name="connsiteX44" fmla="*/ 7962 w 9668"/>
                <a:gd name="connsiteY44" fmla="*/ 3424 h 10000"/>
                <a:gd name="connsiteX45" fmla="*/ 7997 w 9668"/>
                <a:gd name="connsiteY45" fmla="*/ 3355 h 10000"/>
                <a:gd name="connsiteX46" fmla="*/ 8033 w 9668"/>
                <a:gd name="connsiteY46" fmla="*/ 3275 h 10000"/>
                <a:gd name="connsiteX47" fmla="*/ 8068 w 9668"/>
                <a:gd name="connsiteY47" fmla="*/ 3194 h 10000"/>
                <a:gd name="connsiteX48" fmla="*/ 8111 w 9668"/>
                <a:gd name="connsiteY48" fmla="*/ 3118 h 10000"/>
                <a:gd name="connsiteX49" fmla="*/ 8148 w 9668"/>
                <a:gd name="connsiteY49" fmla="*/ 3046 h 10000"/>
                <a:gd name="connsiteX50" fmla="*/ 8190 w 9668"/>
                <a:gd name="connsiteY50" fmla="*/ 2964 h 10000"/>
                <a:gd name="connsiteX51" fmla="*/ 8241 w 9668"/>
                <a:gd name="connsiteY51" fmla="*/ 2898 h 10000"/>
                <a:gd name="connsiteX52" fmla="*/ 8285 w 9668"/>
                <a:gd name="connsiteY52" fmla="*/ 2823 h 10000"/>
                <a:gd name="connsiteX53" fmla="*/ 8338 w 9668"/>
                <a:gd name="connsiteY53" fmla="*/ 2754 h 10000"/>
                <a:gd name="connsiteX54" fmla="*/ 8384 w 9668"/>
                <a:gd name="connsiteY54" fmla="*/ 2676 h 10000"/>
                <a:gd name="connsiteX55" fmla="*/ 8445 w 9668"/>
                <a:gd name="connsiteY55" fmla="*/ 2613 h 10000"/>
                <a:gd name="connsiteX56" fmla="*/ 8506 w 9668"/>
                <a:gd name="connsiteY56" fmla="*/ 2538 h 10000"/>
                <a:gd name="connsiteX57" fmla="*/ 8558 w 9668"/>
                <a:gd name="connsiteY57" fmla="*/ 2471 h 10000"/>
                <a:gd name="connsiteX58" fmla="*/ 8617 w 9668"/>
                <a:gd name="connsiteY58" fmla="*/ 2404 h 10000"/>
                <a:gd name="connsiteX59" fmla="*/ 8681 w 9668"/>
                <a:gd name="connsiteY59" fmla="*/ 2331 h 10000"/>
                <a:gd name="connsiteX60" fmla="*/ 8741 w 9668"/>
                <a:gd name="connsiteY60" fmla="*/ 2269 h 10000"/>
                <a:gd name="connsiteX61" fmla="*/ 8812 w 9668"/>
                <a:gd name="connsiteY61" fmla="*/ 2203 h 10000"/>
                <a:gd name="connsiteX62" fmla="*/ 8872 w 9668"/>
                <a:gd name="connsiteY62" fmla="*/ 2145 h 10000"/>
                <a:gd name="connsiteX63" fmla="*/ 8941 w 9668"/>
                <a:gd name="connsiteY63" fmla="*/ 2077 h 10000"/>
                <a:gd name="connsiteX64" fmla="*/ 8973 w 9668"/>
                <a:gd name="connsiteY64" fmla="*/ 2042 h 10000"/>
                <a:gd name="connsiteX65" fmla="*/ 6356 w 9668"/>
                <a:gd name="connsiteY65" fmla="*/ 6 h 10000"/>
                <a:gd name="connsiteX66" fmla="*/ 1652 w 9668"/>
                <a:gd name="connsiteY66" fmla="*/ 0 h 10000"/>
                <a:gd name="connsiteX67" fmla="*/ 1539 w 9668"/>
                <a:gd name="connsiteY67" fmla="*/ 154 h 10000"/>
                <a:gd name="connsiteX68" fmla="*/ 1443 w 9668"/>
                <a:gd name="connsiteY68" fmla="*/ 269 h 10000"/>
                <a:gd name="connsiteX69" fmla="*/ 1354 w 9668"/>
                <a:gd name="connsiteY69" fmla="*/ 397 h 10000"/>
                <a:gd name="connsiteX70" fmla="*/ 1258 w 9668"/>
                <a:gd name="connsiteY70" fmla="*/ 523 h 10000"/>
                <a:gd name="connsiteX71" fmla="*/ 1179 w 9668"/>
                <a:gd name="connsiteY71" fmla="*/ 650 h 10000"/>
                <a:gd name="connsiteX72" fmla="*/ 1093 w 9668"/>
                <a:gd name="connsiteY72" fmla="*/ 775 h 10000"/>
                <a:gd name="connsiteX73" fmla="*/ 1014 w 9668"/>
                <a:gd name="connsiteY73" fmla="*/ 910 h 10000"/>
                <a:gd name="connsiteX74" fmla="*/ 935 w 9668"/>
                <a:gd name="connsiteY74" fmla="*/ 1043 h 10000"/>
                <a:gd name="connsiteX75" fmla="*/ 867 w 9668"/>
                <a:gd name="connsiteY75" fmla="*/ 1166 h 10000"/>
                <a:gd name="connsiteX76" fmla="*/ 796 w 9668"/>
                <a:gd name="connsiteY76" fmla="*/ 1304 h 10000"/>
                <a:gd name="connsiteX77" fmla="*/ 725 w 9668"/>
                <a:gd name="connsiteY77" fmla="*/ 1432 h 10000"/>
                <a:gd name="connsiteX78" fmla="*/ 655 w 9668"/>
                <a:gd name="connsiteY78" fmla="*/ 1572 h 10000"/>
                <a:gd name="connsiteX79" fmla="*/ 595 w 9668"/>
                <a:gd name="connsiteY79" fmla="*/ 1699 h 10000"/>
                <a:gd name="connsiteX80" fmla="*/ 533 w 9668"/>
                <a:gd name="connsiteY80" fmla="*/ 1833 h 10000"/>
                <a:gd name="connsiteX81" fmla="*/ 482 w 9668"/>
                <a:gd name="connsiteY81" fmla="*/ 1968 h 10000"/>
                <a:gd name="connsiteX82" fmla="*/ 428 w 9668"/>
                <a:gd name="connsiteY82" fmla="*/ 2104 h 10000"/>
                <a:gd name="connsiteX83" fmla="*/ 375 w 9668"/>
                <a:gd name="connsiteY83" fmla="*/ 2248 h 10000"/>
                <a:gd name="connsiteX84" fmla="*/ 335 w 9668"/>
                <a:gd name="connsiteY84" fmla="*/ 2384 h 10000"/>
                <a:gd name="connsiteX85" fmla="*/ 278 w 9668"/>
                <a:gd name="connsiteY85" fmla="*/ 2526 h 10000"/>
                <a:gd name="connsiteX86" fmla="*/ 245 w 9668"/>
                <a:gd name="connsiteY86" fmla="*/ 2666 h 10000"/>
                <a:gd name="connsiteX87" fmla="*/ 202 w 9668"/>
                <a:gd name="connsiteY87" fmla="*/ 2809 h 10000"/>
                <a:gd name="connsiteX88" fmla="*/ 173 w 9668"/>
                <a:gd name="connsiteY88" fmla="*/ 2953 h 10000"/>
                <a:gd name="connsiteX89" fmla="*/ 138 w 9668"/>
                <a:gd name="connsiteY89" fmla="*/ 3095 h 10000"/>
                <a:gd name="connsiteX90" fmla="*/ 114 w 9668"/>
                <a:gd name="connsiteY90" fmla="*/ 3235 h 10000"/>
                <a:gd name="connsiteX91" fmla="*/ 89 w 9668"/>
                <a:gd name="connsiteY91" fmla="*/ 3382 h 10000"/>
                <a:gd name="connsiteX92" fmla="*/ 59 w 9668"/>
                <a:gd name="connsiteY92" fmla="*/ 3534 h 10000"/>
                <a:gd name="connsiteX93" fmla="*/ 42 w 9668"/>
                <a:gd name="connsiteY93" fmla="*/ 3678 h 10000"/>
                <a:gd name="connsiteX94" fmla="*/ 23 w 9668"/>
                <a:gd name="connsiteY94" fmla="*/ 3822 h 10000"/>
                <a:gd name="connsiteX95" fmla="*/ 16 w 9668"/>
                <a:gd name="connsiteY95" fmla="*/ 3966 h 10000"/>
                <a:gd name="connsiteX96" fmla="*/ 7 w 9668"/>
                <a:gd name="connsiteY96" fmla="*/ 4116 h 10000"/>
                <a:gd name="connsiteX97" fmla="*/ 0 w 9668"/>
                <a:gd name="connsiteY97" fmla="*/ 4261 h 10000"/>
                <a:gd name="connsiteX98" fmla="*/ 0 w 9668"/>
                <a:gd name="connsiteY98" fmla="*/ 4413 h 10000"/>
                <a:gd name="connsiteX99" fmla="*/ 7 w 9668"/>
                <a:gd name="connsiteY99" fmla="*/ 4606 h 10000"/>
                <a:gd name="connsiteX100" fmla="*/ 7 w 9668"/>
                <a:gd name="connsiteY100" fmla="*/ 4798 h 10000"/>
                <a:gd name="connsiteX101" fmla="*/ 23 w 9668"/>
                <a:gd name="connsiteY101" fmla="*/ 4977 h 10000"/>
                <a:gd name="connsiteX102" fmla="*/ 42 w 9668"/>
                <a:gd name="connsiteY102" fmla="*/ 5166 h 10000"/>
                <a:gd name="connsiteX103" fmla="*/ 72 w 9668"/>
                <a:gd name="connsiteY103" fmla="*/ 5353 h 10000"/>
                <a:gd name="connsiteX104" fmla="*/ 107 w 9668"/>
                <a:gd name="connsiteY104" fmla="*/ 5540 h 10000"/>
                <a:gd name="connsiteX105" fmla="*/ 138 w 9668"/>
                <a:gd name="connsiteY105" fmla="*/ 5725 h 10000"/>
                <a:gd name="connsiteX106" fmla="*/ 173 w 9668"/>
                <a:gd name="connsiteY106" fmla="*/ 5909 h 10000"/>
                <a:gd name="connsiteX107" fmla="*/ 229 w 9668"/>
                <a:gd name="connsiteY107" fmla="*/ 6093 h 10000"/>
                <a:gd name="connsiteX108" fmla="*/ 278 w 9668"/>
                <a:gd name="connsiteY108" fmla="*/ 6273 h 10000"/>
                <a:gd name="connsiteX109" fmla="*/ 335 w 9668"/>
                <a:gd name="connsiteY109" fmla="*/ 6456 h 10000"/>
                <a:gd name="connsiteX110" fmla="*/ 393 w 9668"/>
                <a:gd name="connsiteY110" fmla="*/ 6633 h 10000"/>
                <a:gd name="connsiteX111" fmla="*/ 464 w 9668"/>
                <a:gd name="connsiteY111" fmla="*/ 6805 h 10000"/>
                <a:gd name="connsiteX112" fmla="*/ 533 w 9668"/>
                <a:gd name="connsiteY112" fmla="*/ 6984 h 10000"/>
                <a:gd name="connsiteX113" fmla="*/ 611 w 9668"/>
                <a:gd name="connsiteY113" fmla="*/ 7156 h 10000"/>
                <a:gd name="connsiteX114" fmla="*/ 691 w 9668"/>
                <a:gd name="connsiteY114" fmla="*/ 7336 h 10000"/>
                <a:gd name="connsiteX115" fmla="*/ 777 w 9668"/>
                <a:gd name="connsiteY115" fmla="*/ 7502 h 10000"/>
                <a:gd name="connsiteX116" fmla="*/ 875 w 9668"/>
                <a:gd name="connsiteY116" fmla="*/ 7665 h 10000"/>
                <a:gd name="connsiteX117" fmla="*/ 971 w 9668"/>
                <a:gd name="connsiteY117" fmla="*/ 7844 h 10000"/>
                <a:gd name="connsiteX118" fmla="*/ 1065 w 9668"/>
                <a:gd name="connsiteY118" fmla="*/ 8007 h 10000"/>
                <a:gd name="connsiteX119" fmla="*/ 1171 w 9668"/>
                <a:gd name="connsiteY119" fmla="*/ 8168 h 10000"/>
                <a:gd name="connsiteX120" fmla="*/ 1286 w 9668"/>
                <a:gd name="connsiteY120" fmla="*/ 8323 h 10000"/>
                <a:gd name="connsiteX121" fmla="*/ 1398 w 9668"/>
                <a:gd name="connsiteY121" fmla="*/ 8490 h 10000"/>
                <a:gd name="connsiteX122" fmla="*/ 1520 w 9668"/>
                <a:gd name="connsiteY122" fmla="*/ 8651 h 10000"/>
                <a:gd name="connsiteX123" fmla="*/ 1633 w 9668"/>
                <a:gd name="connsiteY123" fmla="*/ 8808 h 10000"/>
                <a:gd name="connsiteX124" fmla="*/ 1766 w 9668"/>
                <a:gd name="connsiteY124" fmla="*/ 8966 h 10000"/>
                <a:gd name="connsiteX125" fmla="*/ 1898 w 9668"/>
                <a:gd name="connsiteY125" fmla="*/ 9114 h 10000"/>
                <a:gd name="connsiteX126" fmla="*/ 2037 w 9668"/>
                <a:gd name="connsiteY126" fmla="*/ 9273 h 10000"/>
                <a:gd name="connsiteX127" fmla="*/ 2175 w 9668"/>
                <a:gd name="connsiteY127" fmla="*/ 9420 h 10000"/>
                <a:gd name="connsiteX128" fmla="*/ 2315 w 9668"/>
                <a:gd name="connsiteY128" fmla="*/ 9566 h 10000"/>
                <a:gd name="connsiteX129" fmla="*/ 2464 w 9668"/>
                <a:gd name="connsiteY129" fmla="*/ 9706 h 10000"/>
                <a:gd name="connsiteX130" fmla="*/ 2623 w 9668"/>
                <a:gd name="connsiteY130" fmla="*/ 9855 h 10000"/>
                <a:gd name="connsiteX131" fmla="*/ 2769 w 9668"/>
                <a:gd name="connsiteY131" fmla="*/ 10000 h 10000"/>
                <a:gd name="connsiteX132" fmla="*/ 5127 w 9668"/>
                <a:gd name="connsiteY132" fmla="*/ 7469 h 10000"/>
                <a:gd name="connsiteX0" fmla="*/ 5303 w 9826"/>
                <a:gd name="connsiteY0" fmla="*/ 7469 h 10000"/>
                <a:gd name="connsiteX1" fmla="*/ 9826 w 9826"/>
                <a:gd name="connsiteY1" fmla="*/ 7161 h 10000"/>
                <a:gd name="connsiteX2" fmla="*/ 9665 w 9826"/>
                <a:gd name="connsiteY2" fmla="*/ 7056 h 10000"/>
                <a:gd name="connsiteX3" fmla="*/ 9512 w 9826"/>
                <a:gd name="connsiteY3" fmla="*/ 6942 h 10000"/>
                <a:gd name="connsiteX4" fmla="*/ 9358 w 9826"/>
                <a:gd name="connsiteY4" fmla="*/ 6833 h 10000"/>
                <a:gd name="connsiteX5" fmla="*/ 9213 w 9826"/>
                <a:gd name="connsiteY5" fmla="*/ 6719 h 10000"/>
                <a:gd name="connsiteX6" fmla="*/ 9087 w 9826"/>
                <a:gd name="connsiteY6" fmla="*/ 6593 h 10000"/>
                <a:gd name="connsiteX7" fmla="*/ 8959 w 9826"/>
                <a:gd name="connsiteY7" fmla="*/ 6467 h 10000"/>
                <a:gd name="connsiteX8" fmla="*/ 8844 w 9826"/>
                <a:gd name="connsiteY8" fmla="*/ 6338 h 10000"/>
                <a:gd name="connsiteX9" fmla="*/ 8735 w 9826"/>
                <a:gd name="connsiteY9" fmla="*/ 6209 h 10000"/>
                <a:gd name="connsiteX10" fmla="*/ 8624 w 9826"/>
                <a:gd name="connsiteY10" fmla="*/ 6073 h 10000"/>
                <a:gd name="connsiteX11" fmla="*/ 8524 w 9826"/>
                <a:gd name="connsiteY11" fmla="*/ 5928 h 10000"/>
                <a:gd name="connsiteX12" fmla="*/ 8481 w 9826"/>
                <a:gd name="connsiteY12" fmla="*/ 5865 h 10000"/>
                <a:gd name="connsiteX13" fmla="*/ 8435 w 9826"/>
                <a:gd name="connsiteY13" fmla="*/ 5789 h 10000"/>
                <a:gd name="connsiteX14" fmla="*/ 8399 w 9826"/>
                <a:gd name="connsiteY14" fmla="*/ 5721 h 10000"/>
                <a:gd name="connsiteX15" fmla="*/ 8353 w 9826"/>
                <a:gd name="connsiteY15" fmla="*/ 5646 h 10000"/>
                <a:gd name="connsiteX16" fmla="*/ 8318 w 9826"/>
                <a:gd name="connsiteY16" fmla="*/ 5575 h 10000"/>
                <a:gd name="connsiteX17" fmla="*/ 8281 w 9826"/>
                <a:gd name="connsiteY17" fmla="*/ 5501 h 10000"/>
                <a:gd name="connsiteX18" fmla="*/ 8255 w 9826"/>
                <a:gd name="connsiteY18" fmla="*/ 5424 h 10000"/>
                <a:gd name="connsiteX19" fmla="*/ 8219 w 9826"/>
                <a:gd name="connsiteY19" fmla="*/ 5353 h 10000"/>
                <a:gd name="connsiteX20" fmla="*/ 8199 w 9826"/>
                <a:gd name="connsiteY20" fmla="*/ 5274 h 10000"/>
                <a:gd name="connsiteX21" fmla="*/ 8163 w 9826"/>
                <a:gd name="connsiteY21" fmla="*/ 5200 h 10000"/>
                <a:gd name="connsiteX22" fmla="*/ 8145 w 9826"/>
                <a:gd name="connsiteY22" fmla="*/ 5122 h 10000"/>
                <a:gd name="connsiteX23" fmla="*/ 8129 w 9826"/>
                <a:gd name="connsiteY23" fmla="*/ 5048 h 10000"/>
                <a:gd name="connsiteX24" fmla="*/ 8108 w 9826"/>
                <a:gd name="connsiteY24" fmla="*/ 4966 h 10000"/>
                <a:gd name="connsiteX25" fmla="*/ 8093 w 9826"/>
                <a:gd name="connsiteY25" fmla="*/ 4893 h 10000"/>
                <a:gd name="connsiteX26" fmla="*/ 8075 w 9826"/>
                <a:gd name="connsiteY26" fmla="*/ 4815 h 10000"/>
                <a:gd name="connsiteX27" fmla="*/ 8064 w 9826"/>
                <a:gd name="connsiteY27" fmla="*/ 4739 h 10000"/>
                <a:gd name="connsiteX28" fmla="*/ 8054 w 9826"/>
                <a:gd name="connsiteY28" fmla="*/ 4656 h 10000"/>
                <a:gd name="connsiteX29" fmla="*/ 8044 w 9826"/>
                <a:gd name="connsiteY29" fmla="*/ 4573 h 10000"/>
                <a:gd name="connsiteX30" fmla="*/ 8044 w 9826"/>
                <a:gd name="connsiteY30" fmla="*/ 4497 h 10000"/>
                <a:gd name="connsiteX31" fmla="*/ 8036 w 9826"/>
                <a:gd name="connsiteY31" fmla="*/ 4413 h 10000"/>
                <a:gd name="connsiteX32" fmla="*/ 8044 w 9826"/>
                <a:gd name="connsiteY32" fmla="*/ 4334 h 10000"/>
                <a:gd name="connsiteX33" fmla="*/ 8054 w 9826"/>
                <a:gd name="connsiteY33" fmla="*/ 4248 h 10000"/>
                <a:gd name="connsiteX34" fmla="*/ 8054 w 9826"/>
                <a:gd name="connsiteY34" fmla="*/ 4160 h 10000"/>
                <a:gd name="connsiteX35" fmla="*/ 8064 w 9826"/>
                <a:gd name="connsiteY35" fmla="*/ 4075 h 10000"/>
                <a:gd name="connsiteX36" fmla="*/ 8075 w 9826"/>
                <a:gd name="connsiteY36" fmla="*/ 3990 h 10000"/>
                <a:gd name="connsiteX37" fmla="*/ 8093 w 9826"/>
                <a:gd name="connsiteY37" fmla="*/ 3915 h 10000"/>
                <a:gd name="connsiteX38" fmla="*/ 8108 w 9826"/>
                <a:gd name="connsiteY38" fmla="*/ 3830 h 10000"/>
                <a:gd name="connsiteX39" fmla="*/ 8129 w 9826"/>
                <a:gd name="connsiteY39" fmla="*/ 3750 h 10000"/>
                <a:gd name="connsiteX40" fmla="*/ 8154 w 9826"/>
                <a:gd name="connsiteY40" fmla="*/ 3665 h 10000"/>
                <a:gd name="connsiteX41" fmla="*/ 8182 w 9826"/>
                <a:gd name="connsiteY41" fmla="*/ 3589 h 10000"/>
                <a:gd name="connsiteX42" fmla="*/ 8211 w 9826"/>
                <a:gd name="connsiteY42" fmla="*/ 3508 h 10000"/>
                <a:gd name="connsiteX43" fmla="*/ 8235 w 9826"/>
                <a:gd name="connsiteY43" fmla="*/ 3424 h 10000"/>
                <a:gd name="connsiteX44" fmla="*/ 8272 w 9826"/>
                <a:gd name="connsiteY44" fmla="*/ 3355 h 10000"/>
                <a:gd name="connsiteX45" fmla="*/ 8309 w 9826"/>
                <a:gd name="connsiteY45" fmla="*/ 3275 h 10000"/>
                <a:gd name="connsiteX46" fmla="*/ 8345 w 9826"/>
                <a:gd name="connsiteY46" fmla="*/ 3194 h 10000"/>
                <a:gd name="connsiteX47" fmla="*/ 8390 w 9826"/>
                <a:gd name="connsiteY47" fmla="*/ 3118 h 10000"/>
                <a:gd name="connsiteX48" fmla="*/ 8428 w 9826"/>
                <a:gd name="connsiteY48" fmla="*/ 3046 h 10000"/>
                <a:gd name="connsiteX49" fmla="*/ 8471 w 9826"/>
                <a:gd name="connsiteY49" fmla="*/ 2964 h 10000"/>
                <a:gd name="connsiteX50" fmla="*/ 8524 w 9826"/>
                <a:gd name="connsiteY50" fmla="*/ 2898 h 10000"/>
                <a:gd name="connsiteX51" fmla="*/ 8570 w 9826"/>
                <a:gd name="connsiteY51" fmla="*/ 2823 h 10000"/>
                <a:gd name="connsiteX52" fmla="*/ 8624 w 9826"/>
                <a:gd name="connsiteY52" fmla="*/ 2754 h 10000"/>
                <a:gd name="connsiteX53" fmla="*/ 8672 w 9826"/>
                <a:gd name="connsiteY53" fmla="*/ 2676 h 10000"/>
                <a:gd name="connsiteX54" fmla="*/ 8735 w 9826"/>
                <a:gd name="connsiteY54" fmla="*/ 2613 h 10000"/>
                <a:gd name="connsiteX55" fmla="*/ 8798 w 9826"/>
                <a:gd name="connsiteY55" fmla="*/ 2538 h 10000"/>
                <a:gd name="connsiteX56" fmla="*/ 8852 w 9826"/>
                <a:gd name="connsiteY56" fmla="*/ 2471 h 10000"/>
                <a:gd name="connsiteX57" fmla="*/ 8913 w 9826"/>
                <a:gd name="connsiteY57" fmla="*/ 2404 h 10000"/>
                <a:gd name="connsiteX58" fmla="*/ 8979 w 9826"/>
                <a:gd name="connsiteY58" fmla="*/ 2331 h 10000"/>
                <a:gd name="connsiteX59" fmla="*/ 9041 w 9826"/>
                <a:gd name="connsiteY59" fmla="*/ 2269 h 10000"/>
                <a:gd name="connsiteX60" fmla="*/ 9115 w 9826"/>
                <a:gd name="connsiteY60" fmla="*/ 2203 h 10000"/>
                <a:gd name="connsiteX61" fmla="*/ 9177 w 9826"/>
                <a:gd name="connsiteY61" fmla="*/ 2145 h 10000"/>
                <a:gd name="connsiteX62" fmla="*/ 9248 w 9826"/>
                <a:gd name="connsiteY62" fmla="*/ 2077 h 10000"/>
                <a:gd name="connsiteX63" fmla="*/ 9281 w 9826"/>
                <a:gd name="connsiteY63" fmla="*/ 2042 h 10000"/>
                <a:gd name="connsiteX64" fmla="*/ 6574 w 9826"/>
                <a:gd name="connsiteY64" fmla="*/ 6 h 10000"/>
                <a:gd name="connsiteX65" fmla="*/ 1709 w 9826"/>
                <a:gd name="connsiteY65" fmla="*/ 0 h 10000"/>
                <a:gd name="connsiteX66" fmla="*/ 1592 w 9826"/>
                <a:gd name="connsiteY66" fmla="*/ 154 h 10000"/>
                <a:gd name="connsiteX67" fmla="*/ 1493 w 9826"/>
                <a:gd name="connsiteY67" fmla="*/ 269 h 10000"/>
                <a:gd name="connsiteX68" fmla="*/ 1400 w 9826"/>
                <a:gd name="connsiteY68" fmla="*/ 397 h 10000"/>
                <a:gd name="connsiteX69" fmla="*/ 1301 w 9826"/>
                <a:gd name="connsiteY69" fmla="*/ 523 h 10000"/>
                <a:gd name="connsiteX70" fmla="*/ 1219 w 9826"/>
                <a:gd name="connsiteY70" fmla="*/ 650 h 10000"/>
                <a:gd name="connsiteX71" fmla="*/ 1131 w 9826"/>
                <a:gd name="connsiteY71" fmla="*/ 775 h 10000"/>
                <a:gd name="connsiteX72" fmla="*/ 1049 w 9826"/>
                <a:gd name="connsiteY72" fmla="*/ 910 h 10000"/>
                <a:gd name="connsiteX73" fmla="*/ 967 w 9826"/>
                <a:gd name="connsiteY73" fmla="*/ 1043 h 10000"/>
                <a:gd name="connsiteX74" fmla="*/ 897 w 9826"/>
                <a:gd name="connsiteY74" fmla="*/ 1166 h 10000"/>
                <a:gd name="connsiteX75" fmla="*/ 823 w 9826"/>
                <a:gd name="connsiteY75" fmla="*/ 1304 h 10000"/>
                <a:gd name="connsiteX76" fmla="*/ 750 w 9826"/>
                <a:gd name="connsiteY76" fmla="*/ 1432 h 10000"/>
                <a:gd name="connsiteX77" fmla="*/ 677 w 9826"/>
                <a:gd name="connsiteY77" fmla="*/ 1572 h 10000"/>
                <a:gd name="connsiteX78" fmla="*/ 615 w 9826"/>
                <a:gd name="connsiteY78" fmla="*/ 1699 h 10000"/>
                <a:gd name="connsiteX79" fmla="*/ 551 w 9826"/>
                <a:gd name="connsiteY79" fmla="*/ 1833 h 10000"/>
                <a:gd name="connsiteX80" fmla="*/ 499 w 9826"/>
                <a:gd name="connsiteY80" fmla="*/ 1968 h 10000"/>
                <a:gd name="connsiteX81" fmla="*/ 443 w 9826"/>
                <a:gd name="connsiteY81" fmla="*/ 2104 h 10000"/>
                <a:gd name="connsiteX82" fmla="*/ 388 w 9826"/>
                <a:gd name="connsiteY82" fmla="*/ 2248 h 10000"/>
                <a:gd name="connsiteX83" fmla="*/ 347 w 9826"/>
                <a:gd name="connsiteY83" fmla="*/ 2384 h 10000"/>
                <a:gd name="connsiteX84" fmla="*/ 288 w 9826"/>
                <a:gd name="connsiteY84" fmla="*/ 2526 h 10000"/>
                <a:gd name="connsiteX85" fmla="*/ 253 w 9826"/>
                <a:gd name="connsiteY85" fmla="*/ 2666 h 10000"/>
                <a:gd name="connsiteX86" fmla="*/ 209 w 9826"/>
                <a:gd name="connsiteY86" fmla="*/ 2809 h 10000"/>
                <a:gd name="connsiteX87" fmla="*/ 179 w 9826"/>
                <a:gd name="connsiteY87" fmla="*/ 2953 h 10000"/>
                <a:gd name="connsiteX88" fmla="*/ 143 w 9826"/>
                <a:gd name="connsiteY88" fmla="*/ 3095 h 10000"/>
                <a:gd name="connsiteX89" fmla="*/ 118 w 9826"/>
                <a:gd name="connsiteY89" fmla="*/ 3235 h 10000"/>
                <a:gd name="connsiteX90" fmla="*/ 92 w 9826"/>
                <a:gd name="connsiteY90" fmla="*/ 3382 h 10000"/>
                <a:gd name="connsiteX91" fmla="*/ 61 w 9826"/>
                <a:gd name="connsiteY91" fmla="*/ 3534 h 10000"/>
                <a:gd name="connsiteX92" fmla="*/ 43 w 9826"/>
                <a:gd name="connsiteY92" fmla="*/ 3678 h 10000"/>
                <a:gd name="connsiteX93" fmla="*/ 24 w 9826"/>
                <a:gd name="connsiteY93" fmla="*/ 3822 h 10000"/>
                <a:gd name="connsiteX94" fmla="*/ 17 w 9826"/>
                <a:gd name="connsiteY94" fmla="*/ 3966 h 10000"/>
                <a:gd name="connsiteX95" fmla="*/ 7 w 9826"/>
                <a:gd name="connsiteY95" fmla="*/ 4116 h 10000"/>
                <a:gd name="connsiteX96" fmla="*/ 0 w 9826"/>
                <a:gd name="connsiteY96" fmla="*/ 4261 h 10000"/>
                <a:gd name="connsiteX97" fmla="*/ 0 w 9826"/>
                <a:gd name="connsiteY97" fmla="*/ 4413 h 10000"/>
                <a:gd name="connsiteX98" fmla="*/ 7 w 9826"/>
                <a:gd name="connsiteY98" fmla="*/ 4606 h 10000"/>
                <a:gd name="connsiteX99" fmla="*/ 7 w 9826"/>
                <a:gd name="connsiteY99" fmla="*/ 4798 h 10000"/>
                <a:gd name="connsiteX100" fmla="*/ 24 w 9826"/>
                <a:gd name="connsiteY100" fmla="*/ 4977 h 10000"/>
                <a:gd name="connsiteX101" fmla="*/ 43 w 9826"/>
                <a:gd name="connsiteY101" fmla="*/ 5166 h 10000"/>
                <a:gd name="connsiteX102" fmla="*/ 74 w 9826"/>
                <a:gd name="connsiteY102" fmla="*/ 5353 h 10000"/>
                <a:gd name="connsiteX103" fmla="*/ 111 w 9826"/>
                <a:gd name="connsiteY103" fmla="*/ 5540 h 10000"/>
                <a:gd name="connsiteX104" fmla="*/ 143 w 9826"/>
                <a:gd name="connsiteY104" fmla="*/ 5725 h 10000"/>
                <a:gd name="connsiteX105" fmla="*/ 179 w 9826"/>
                <a:gd name="connsiteY105" fmla="*/ 5909 h 10000"/>
                <a:gd name="connsiteX106" fmla="*/ 237 w 9826"/>
                <a:gd name="connsiteY106" fmla="*/ 6093 h 10000"/>
                <a:gd name="connsiteX107" fmla="*/ 288 w 9826"/>
                <a:gd name="connsiteY107" fmla="*/ 6273 h 10000"/>
                <a:gd name="connsiteX108" fmla="*/ 347 w 9826"/>
                <a:gd name="connsiteY108" fmla="*/ 6456 h 10000"/>
                <a:gd name="connsiteX109" fmla="*/ 406 w 9826"/>
                <a:gd name="connsiteY109" fmla="*/ 6633 h 10000"/>
                <a:gd name="connsiteX110" fmla="*/ 480 w 9826"/>
                <a:gd name="connsiteY110" fmla="*/ 6805 h 10000"/>
                <a:gd name="connsiteX111" fmla="*/ 551 w 9826"/>
                <a:gd name="connsiteY111" fmla="*/ 6984 h 10000"/>
                <a:gd name="connsiteX112" fmla="*/ 632 w 9826"/>
                <a:gd name="connsiteY112" fmla="*/ 7156 h 10000"/>
                <a:gd name="connsiteX113" fmla="*/ 715 w 9826"/>
                <a:gd name="connsiteY113" fmla="*/ 7336 h 10000"/>
                <a:gd name="connsiteX114" fmla="*/ 804 w 9826"/>
                <a:gd name="connsiteY114" fmla="*/ 7502 h 10000"/>
                <a:gd name="connsiteX115" fmla="*/ 905 w 9826"/>
                <a:gd name="connsiteY115" fmla="*/ 7665 h 10000"/>
                <a:gd name="connsiteX116" fmla="*/ 1004 w 9826"/>
                <a:gd name="connsiteY116" fmla="*/ 7844 h 10000"/>
                <a:gd name="connsiteX117" fmla="*/ 1102 w 9826"/>
                <a:gd name="connsiteY117" fmla="*/ 8007 h 10000"/>
                <a:gd name="connsiteX118" fmla="*/ 1211 w 9826"/>
                <a:gd name="connsiteY118" fmla="*/ 8168 h 10000"/>
                <a:gd name="connsiteX119" fmla="*/ 1330 w 9826"/>
                <a:gd name="connsiteY119" fmla="*/ 8323 h 10000"/>
                <a:gd name="connsiteX120" fmla="*/ 1446 w 9826"/>
                <a:gd name="connsiteY120" fmla="*/ 8490 h 10000"/>
                <a:gd name="connsiteX121" fmla="*/ 1572 w 9826"/>
                <a:gd name="connsiteY121" fmla="*/ 8651 h 10000"/>
                <a:gd name="connsiteX122" fmla="*/ 1689 w 9826"/>
                <a:gd name="connsiteY122" fmla="*/ 8808 h 10000"/>
                <a:gd name="connsiteX123" fmla="*/ 1827 w 9826"/>
                <a:gd name="connsiteY123" fmla="*/ 8966 h 10000"/>
                <a:gd name="connsiteX124" fmla="*/ 1963 w 9826"/>
                <a:gd name="connsiteY124" fmla="*/ 9114 h 10000"/>
                <a:gd name="connsiteX125" fmla="*/ 2107 w 9826"/>
                <a:gd name="connsiteY125" fmla="*/ 9273 h 10000"/>
                <a:gd name="connsiteX126" fmla="*/ 2250 w 9826"/>
                <a:gd name="connsiteY126" fmla="*/ 9420 h 10000"/>
                <a:gd name="connsiteX127" fmla="*/ 2394 w 9826"/>
                <a:gd name="connsiteY127" fmla="*/ 9566 h 10000"/>
                <a:gd name="connsiteX128" fmla="*/ 2549 w 9826"/>
                <a:gd name="connsiteY128" fmla="*/ 9706 h 10000"/>
                <a:gd name="connsiteX129" fmla="*/ 2713 w 9826"/>
                <a:gd name="connsiteY129" fmla="*/ 9855 h 10000"/>
                <a:gd name="connsiteX130" fmla="*/ 2864 w 9826"/>
                <a:gd name="connsiteY130" fmla="*/ 10000 h 10000"/>
                <a:gd name="connsiteX131" fmla="*/ 5303 w 9826"/>
                <a:gd name="connsiteY131" fmla="*/ 7469 h 10000"/>
                <a:gd name="connsiteX0" fmla="*/ 5397 w 9836"/>
                <a:gd name="connsiteY0" fmla="*/ 7469 h 10000"/>
                <a:gd name="connsiteX1" fmla="*/ 9836 w 9836"/>
                <a:gd name="connsiteY1" fmla="*/ 7056 h 10000"/>
                <a:gd name="connsiteX2" fmla="*/ 9680 w 9836"/>
                <a:gd name="connsiteY2" fmla="*/ 6942 h 10000"/>
                <a:gd name="connsiteX3" fmla="*/ 9524 w 9836"/>
                <a:gd name="connsiteY3" fmla="*/ 6833 h 10000"/>
                <a:gd name="connsiteX4" fmla="*/ 9376 w 9836"/>
                <a:gd name="connsiteY4" fmla="*/ 6719 h 10000"/>
                <a:gd name="connsiteX5" fmla="*/ 9248 w 9836"/>
                <a:gd name="connsiteY5" fmla="*/ 6593 h 10000"/>
                <a:gd name="connsiteX6" fmla="*/ 9118 w 9836"/>
                <a:gd name="connsiteY6" fmla="*/ 6467 h 10000"/>
                <a:gd name="connsiteX7" fmla="*/ 9001 w 9836"/>
                <a:gd name="connsiteY7" fmla="*/ 6338 h 10000"/>
                <a:gd name="connsiteX8" fmla="*/ 8890 w 9836"/>
                <a:gd name="connsiteY8" fmla="*/ 6209 h 10000"/>
                <a:gd name="connsiteX9" fmla="*/ 8777 w 9836"/>
                <a:gd name="connsiteY9" fmla="*/ 6073 h 10000"/>
                <a:gd name="connsiteX10" fmla="*/ 8675 w 9836"/>
                <a:gd name="connsiteY10" fmla="*/ 5928 h 10000"/>
                <a:gd name="connsiteX11" fmla="*/ 8631 w 9836"/>
                <a:gd name="connsiteY11" fmla="*/ 5865 h 10000"/>
                <a:gd name="connsiteX12" fmla="*/ 8584 w 9836"/>
                <a:gd name="connsiteY12" fmla="*/ 5789 h 10000"/>
                <a:gd name="connsiteX13" fmla="*/ 8548 w 9836"/>
                <a:gd name="connsiteY13" fmla="*/ 5721 h 10000"/>
                <a:gd name="connsiteX14" fmla="*/ 8501 w 9836"/>
                <a:gd name="connsiteY14" fmla="*/ 5646 h 10000"/>
                <a:gd name="connsiteX15" fmla="*/ 8465 w 9836"/>
                <a:gd name="connsiteY15" fmla="*/ 5575 h 10000"/>
                <a:gd name="connsiteX16" fmla="*/ 8428 w 9836"/>
                <a:gd name="connsiteY16" fmla="*/ 5501 h 10000"/>
                <a:gd name="connsiteX17" fmla="*/ 8401 w 9836"/>
                <a:gd name="connsiteY17" fmla="*/ 5424 h 10000"/>
                <a:gd name="connsiteX18" fmla="*/ 8365 w 9836"/>
                <a:gd name="connsiteY18" fmla="*/ 5353 h 10000"/>
                <a:gd name="connsiteX19" fmla="*/ 8344 w 9836"/>
                <a:gd name="connsiteY19" fmla="*/ 5274 h 10000"/>
                <a:gd name="connsiteX20" fmla="*/ 8308 w 9836"/>
                <a:gd name="connsiteY20" fmla="*/ 5200 h 10000"/>
                <a:gd name="connsiteX21" fmla="*/ 8289 w 9836"/>
                <a:gd name="connsiteY21" fmla="*/ 5122 h 10000"/>
                <a:gd name="connsiteX22" fmla="*/ 8273 w 9836"/>
                <a:gd name="connsiteY22" fmla="*/ 5048 h 10000"/>
                <a:gd name="connsiteX23" fmla="*/ 8252 w 9836"/>
                <a:gd name="connsiteY23" fmla="*/ 4966 h 10000"/>
                <a:gd name="connsiteX24" fmla="*/ 8236 w 9836"/>
                <a:gd name="connsiteY24" fmla="*/ 4893 h 10000"/>
                <a:gd name="connsiteX25" fmla="*/ 8218 w 9836"/>
                <a:gd name="connsiteY25" fmla="*/ 4815 h 10000"/>
                <a:gd name="connsiteX26" fmla="*/ 8207 w 9836"/>
                <a:gd name="connsiteY26" fmla="*/ 4739 h 10000"/>
                <a:gd name="connsiteX27" fmla="*/ 8197 w 9836"/>
                <a:gd name="connsiteY27" fmla="*/ 4656 h 10000"/>
                <a:gd name="connsiteX28" fmla="*/ 8186 w 9836"/>
                <a:gd name="connsiteY28" fmla="*/ 4573 h 10000"/>
                <a:gd name="connsiteX29" fmla="*/ 8186 w 9836"/>
                <a:gd name="connsiteY29" fmla="*/ 4497 h 10000"/>
                <a:gd name="connsiteX30" fmla="*/ 8178 w 9836"/>
                <a:gd name="connsiteY30" fmla="*/ 4413 h 10000"/>
                <a:gd name="connsiteX31" fmla="*/ 8186 w 9836"/>
                <a:gd name="connsiteY31" fmla="*/ 4334 h 10000"/>
                <a:gd name="connsiteX32" fmla="*/ 8197 w 9836"/>
                <a:gd name="connsiteY32" fmla="*/ 4248 h 10000"/>
                <a:gd name="connsiteX33" fmla="*/ 8197 w 9836"/>
                <a:gd name="connsiteY33" fmla="*/ 4160 h 10000"/>
                <a:gd name="connsiteX34" fmla="*/ 8207 w 9836"/>
                <a:gd name="connsiteY34" fmla="*/ 4075 h 10000"/>
                <a:gd name="connsiteX35" fmla="*/ 8218 w 9836"/>
                <a:gd name="connsiteY35" fmla="*/ 3990 h 10000"/>
                <a:gd name="connsiteX36" fmla="*/ 8236 w 9836"/>
                <a:gd name="connsiteY36" fmla="*/ 3915 h 10000"/>
                <a:gd name="connsiteX37" fmla="*/ 8252 w 9836"/>
                <a:gd name="connsiteY37" fmla="*/ 3830 h 10000"/>
                <a:gd name="connsiteX38" fmla="*/ 8273 w 9836"/>
                <a:gd name="connsiteY38" fmla="*/ 3750 h 10000"/>
                <a:gd name="connsiteX39" fmla="*/ 8298 w 9836"/>
                <a:gd name="connsiteY39" fmla="*/ 3665 h 10000"/>
                <a:gd name="connsiteX40" fmla="*/ 8327 w 9836"/>
                <a:gd name="connsiteY40" fmla="*/ 3589 h 10000"/>
                <a:gd name="connsiteX41" fmla="*/ 8356 w 9836"/>
                <a:gd name="connsiteY41" fmla="*/ 3508 h 10000"/>
                <a:gd name="connsiteX42" fmla="*/ 8381 w 9836"/>
                <a:gd name="connsiteY42" fmla="*/ 3424 h 10000"/>
                <a:gd name="connsiteX43" fmla="*/ 8418 w 9836"/>
                <a:gd name="connsiteY43" fmla="*/ 3355 h 10000"/>
                <a:gd name="connsiteX44" fmla="*/ 8456 w 9836"/>
                <a:gd name="connsiteY44" fmla="*/ 3275 h 10000"/>
                <a:gd name="connsiteX45" fmla="*/ 8493 w 9836"/>
                <a:gd name="connsiteY45" fmla="*/ 3194 h 10000"/>
                <a:gd name="connsiteX46" fmla="*/ 8539 w 9836"/>
                <a:gd name="connsiteY46" fmla="*/ 3118 h 10000"/>
                <a:gd name="connsiteX47" fmla="*/ 8577 w 9836"/>
                <a:gd name="connsiteY47" fmla="*/ 3046 h 10000"/>
                <a:gd name="connsiteX48" fmla="*/ 8621 w 9836"/>
                <a:gd name="connsiteY48" fmla="*/ 2964 h 10000"/>
                <a:gd name="connsiteX49" fmla="*/ 8675 w 9836"/>
                <a:gd name="connsiteY49" fmla="*/ 2898 h 10000"/>
                <a:gd name="connsiteX50" fmla="*/ 8722 w 9836"/>
                <a:gd name="connsiteY50" fmla="*/ 2823 h 10000"/>
                <a:gd name="connsiteX51" fmla="*/ 8777 w 9836"/>
                <a:gd name="connsiteY51" fmla="*/ 2754 h 10000"/>
                <a:gd name="connsiteX52" fmla="*/ 8826 w 9836"/>
                <a:gd name="connsiteY52" fmla="*/ 2676 h 10000"/>
                <a:gd name="connsiteX53" fmla="*/ 8890 w 9836"/>
                <a:gd name="connsiteY53" fmla="*/ 2613 h 10000"/>
                <a:gd name="connsiteX54" fmla="*/ 8954 w 9836"/>
                <a:gd name="connsiteY54" fmla="*/ 2538 h 10000"/>
                <a:gd name="connsiteX55" fmla="*/ 9009 w 9836"/>
                <a:gd name="connsiteY55" fmla="*/ 2471 h 10000"/>
                <a:gd name="connsiteX56" fmla="*/ 9071 w 9836"/>
                <a:gd name="connsiteY56" fmla="*/ 2404 h 10000"/>
                <a:gd name="connsiteX57" fmla="*/ 9138 w 9836"/>
                <a:gd name="connsiteY57" fmla="*/ 2331 h 10000"/>
                <a:gd name="connsiteX58" fmla="*/ 9201 w 9836"/>
                <a:gd name="connsiteY58" fmla="*/ 2269 h 10000"/>
                <a:gd name="connsiteX59" fmla="*/ 9276 w 9836"/>
                <a:gd name="connsiteY59" fmla="*/ 2203 h 10000"/>
                <a:gd name="connsiteX60" fmla="*/ 9340 w 9836"/>
                <a:gd name="connsiteY60" fmla="*/ 2145 h 10000"/>
                <a:gd name="connsiteX61" fmla="*/ 9412 w 9836"/>
                <a:gd name="connsiteY61" fmla="*/ 2077 h 10000"/>
                <a:gd name="connsiteX62" fmla="*/ 9445 w 9836"/>
                <a:gd name="connsiteY62" fmla="*/ 2042 h 10000"/>
                <a:gd name="connsiteX63" fmla="*/ 6690 w 9836"/>
                <a:gd name="connsiteY63" fmla="*/ 6 h 10000"/>
                <a:gd name="connsiteX64" fmla="*/ 1739 w 9836"/>
                <a:gd name="connsiteY64" fmla="*/ 0 h 10000"/>
                <a:gd name="connsiteX65" fmla="*/ 1620 w 9836"/>
                <a:gd name="connsiteY65" fmla="*/ 154 h 10000"/>
                <a:gd name="connsiteX66" fmla="*/ 1519 w 9836"/>
                <a:gd name="connsiteY66" fmla="*/ 269 h 10000"/>
                <a:gd name="connsiteX67" fmla="*/ 1425 w 9836"/>
                <a:gd name="connsiteY67" fmla="*/ 397 h 10000"/>
                <a:gd name="connsiteX68" fmla="*/ 1324 w 9836"/>
                <a:gd name="connsiteY68" fmla="*/ 523 h 10000"/>
                <a:gd name="connsiteX69" fmla="*/ 1241 w 9836"/>
                <a:gd name="connsiteY69" fmla="*/ 650 h 10000"/>
                <a:gd name="connsiteX70" fmla="*/ 1151 w 9836"/>
                <a:gd name="connsiteY70" fmla="*/ 775 h 10000"/>
                <a:gd name="connsiteX71" fmla="*/ 1068 w 9836"/>
                <a:gd name="connsiteY71" fmla="*/ 910 h 10000"/>
                <a:gd name="connsiteX72" fmla="*/ 984 w 9836"/>
                <a:gd name="connsiteY72" fmla="*/ 1043 h 10000"/>
                <a:gd name="connsiteX73" fmla="*/ 913 w 9836"/>
                <a:gd name="connsiteY73" fmla="*/ 1166 h 10000"/>
                <a:gd name="connsiteX74" fmla="*/ 838 w 9836"/>
                <a:gd name="connsiteY74" fmla="*/ 1304 h 10000"/>
                <a:gd name="connsiteX75" fmla="*/ 763 w 9836"/>
                <a:gd name="connsiteY75" fmla="*/ 1432 h 10000"/>
                <a:gd name="connsiteX76" fmla="*/ 689 w 9836"/>
                <a:gd name="connsiteY76" fmla="*/ 1572 h 10000"/>
                <a:gd name="connsiteX77" fmla="*/ 626 w 9836"/>
                <a:gd name="connsiteY77" fmla="*/ 1699 h 10000"/>
                <a:gd name="connsiteX78" fmla="*/ 561 w 9836"/>
                <a:gd name="connsiteY78" fmla="*/ 1833 h 10000"/>
                <a:gd name="connsiteX79" fmla="*/ 508 w 9836"/>
                <a:gd name="connsiteY79" fmla="*/ 1968 h 10000"/>
                <a:gd name="connsiteX80" fmla="*/ 451 w 9836"/>
                <a:gd name="connsiteY80" fmla="*/ 2104 h 10000"/>
                <a:gd name="connsiteX81" fmla="*/ 395 w 9836"/>
                <a:gd name="connsiteY81" fmla="*/ 2248 h 10000"/>
                <a:gd name="connsiteX82" fmla="*/ 353 w 9836"/>
                <a:gd name="connsiteY82" fmla="*/ 2384 h 10000"/>
                <a:gd name="connsiteX83" fmla="*/ 293 w 9836"/>
                <a:gd name="connsiteY83" fmla="*/ 2526 h 10000"/>
                <a:gd name="connsiteX84" fmla="*/ 257 w 9836"/>
                <a:gd name="connsiteY84" fmla="*/ 2666 h 10000"/>
                <a:gd name="connsiteX85" fmla="*/ 213 w 9836"/>
                <a:gd name="connsiteY85" fmla="*/ 2809 h 10000"/>
                <a:gd name="connsiteX86" fmla="*/ 182 w 9836"/>
                <a:gd name="connsiteY86" fmla="*/ 2953 h 10000"/>
                <a:gd name="connsiteX87" fmla="*/ 146 w 9836"/>
                <a:gd name="connsiteY87" fmla="*/ 3095 h 10000"/>
                <a:gd name="connsiteX88" fmla="*/ 120 w 9836"/>
                <a:gd name="connsiteY88" fmla="*/ 3235 h 10000"/>
                <a:gd name="connsiteX89" fmla="*/ 94 w 9836"/>
                <a:gd name="connsiteY89" fmla="*/ 3382 h 10000"/>
                <a:gd name="connsiteX90" fmla="*/ 62 w 9836"/>
                <a:gd name="connsiteY90" fmla="*/ 3534 h 10000"/>
                <a:gd name="connsiteX91" fmla="*/ 44 w 9836"/>
                <a:gd name="connsiteY91" fmla="*/ 3678 h 10000"/>
                <a:gd name="connsiteX92" fmla="*/ 24 w 9836"/>
                <a:gd name="connsiteY92" fmla="*/ 3822 h 10000"/>
                <a:gd name="connsiteX93" fmla="*/ 17 w 9836"/>
                <a:gd name="connsiteY93" fmla="*/ 3966 h 10000"/>
                <a:gd name="connsiteX94" fmla="*/ 7 w 9836"/>
                <a:gd name="connsiteY94" fmla="*/ 4116 h 10000"/>
                <a:gd name="connsiteX95" fmla="*/ 0 w 9836"/>
                <a:gd name="connsiteY95" fmla="*/ 4261 h 10000"/>
                <a:gd name="connsiteX96" fmla="*/ 0 w 9836"/>
                <a:gd name="connsiteY96" fmla="*/ 4413 h 10000"/>
                <a:gd name="connsiteX97" fmla="*/ 7 w 9836"/>
                <a:gd name="connsiteY97" fmla="*/ 4606 h 10000"/>
                <a:gd name="connsiteX98" fmla="*/ 7 w 9836"/>
                <a:gd name="connsiteY98" fmla="*/ 4798 h 10000"/>
                <a:gd name="connsiteX99" fmla="*/ 24 w 9836"/>
                <a:gd name="connsiteY99" fmla="*/ 4977 h 10000"/>
                <a:gd name="connsiteX100" fmla="*/ 44 w 9836"/>
                <a:gd name="connsiteY100" fmla="*/ 5166 h 10000"/>
                <a:gd name="connsiteX101" fmla="*/ 75 w 9836"/>
                <a:gd name="connsiteY101" fmla="*/ 5353 h 10000"/>
                <a:gd name="connsiteX102" fmla="*/ 113 w 9836"/>
                <a:gd name="connsiteY102" fmla="*/ 5540 h 10000"/>
                <a:gd name="connsiteX103" fmla="*/ 146 w 9836"/>
                <a:gd name="connsiteY103" fmla="*/ 5725 h 10000"/>
                <a:gd name="connsiteX104" fmla="*/ 182 w 9836"/>
                <a:gd name="connsiteY104" fmla="*/ 5909 h 10000"/>
                <a:gd name="connsiteX105" fmla="*/ 241 w 9836"/>
                <a:gd name="connsiteY105" fmla="*/ 6093 h 10000"/>
                <a:gd name="connsiteX106" fmla="*/ 293 w 9836"/>
                <a:gd name="connsiteY106" fmla="*/ 6273 h 10000"/>
                <a:gd name="connsiteX107" fmla="*/ 353 w 9836"/>
                <a:gd name="connsiteY107" fmla="*/ 6456 h 10000"/>
                <a:gd name="connsiteX108" fmla="*/ 413 w 9836"/>
                <a:gd name="connsiteY108" fmla="*/ 6633 h 10000"/>
                <a:gd name="connsiteX109" fmla="*/ 488 w 9836"/>
                <a:gd name="connsiteY109" fmla="*/ 6805 h 10000"/>
                <a:gd name="connsiteX110" fmla="*/ 561 w 9836"/>
                <a:gd name="connsiteY110" fmla="*/ 6984 h 10000"/>
                <a:gd name="connsiteX111" fmla="*/ 643 w 9836"/>
                <a:gd name="connsiteY111" fmla="*/ 7156 h 10000"/>
                <a:gd name="connsiteX112" fmla="*/ 728 w 9836"/>
                <a:gd name="connsiteY112" fmla="*/ 7336 h 10000"/>
                <a:gd name="connsiteX113" fmla="*/ 818 w 9836"/>
                <a:gd name="connsiteY113" fmla="*/ 7502 h 10000"/>
                <a:gd name="connsiteX114" fmla="*/ 921 w 9836"/>
                <a:gd name="connsiteY114" fmla="*/ 7665 h 10000"/>
                <a:gd name="connsiteX115" fmla="*/ 1022 w 9836"/>
                <a:gd name="connsiteY115" fmla="*/ 7844 h 10000"/>
                <a:gd name="connsiteX116" fmla="*/ 1122 w 9836"/>
                <a:gd name="connsiteY116" fmla="*/ 8007 h 10000"/>
                <a:gd name="connsiteX117" fmla="*/ 1232 w 9836"/>
                <a:gd name="connsiteY117" fmla="*/ 8168 h 10000"/>
                <a:gd name="connsiteX118" fmla="*/ 1354 w 9836"/>
                <a:gd name="connsiteY118" fmla="*/ 8323 h 10000"/>
                <a:gd name="connsiteX119" fmla="*/ 1472 w 9836"/>
                <a:gd name="connsiteY119" fmla="*/ 8490 h 10000"/>
                <a:gd name="connsiteX120" fmla="*/ 1600 w 9836"/>
                <a:gd name="connsiteY120" fmla="*/ 8651 h 10000"/>
                <a:gd name="connsiteX121" fmla="*/ 1719 w 9836"/>
                <a:gd name="connsiteY121" fmla="*/ 8808 h 10000"/>
                <a:gd name="connsiteX122" fmla="*/ 1859 w 9836"/>
                <a:gd name="connsiteY122" fmla="*/ 8966 h 10000"/>
                <a:gd name="connsiteX123" fmla="*/ 1998 w 9836"/>
                <a:gd name="connsiteY123" fmla="*/ 9114 h 10000"/>
                <a:gd name="connsiteX124" fmla="*/ 2144 w 9836"/>
                <a:gd name="connsiteY124" fmla="*/ 9273 h 10000"/>
                <a:gd name="connsiteX125" fmla="*/ 2290 w 9836"/>
                <a:gd name="connsiteY125" fmla="*/ 9420 h 10000"/>
                <a:gd name="connsiteX126" fmla="*/ 2436 w 9836"/>
                <a:gd name="connsiteY126" fmla="*/ 9566 h 10000"/>
                <a:gd name="connsiteX127" fmla="*/ 2594 w 9836"/>
                <a:gd name="connsiteY127" fmla="*/ 9706 h 10000"/>
                <a:gd name="connsiteX128" fmla="*/ 2761 w 9836"/>
                <a:gd name="connsiteY128" fmla="*/ 9855 h 10000"/>
                <a:gd name="connsiteX129" fmla="*/ 2915 w 9836"/>
                <a:gd name="connsiteY129" fmla="*/ 10000 h 10000"/>
                <a:gd name="connsiteX130" fmla="*/ 5397 w 9836"/>
                <a:gd name="connsiteY130" fmla="*/ 7469 h 10000"/>
                <a:gd name="connsiteX0" fmla="*/ 5487 w 9841"/>
                <a:gd name="connsiteY0" fmla="*/ 7469 h 10000"/>
                <a:gd name="connsiteX1" fmla="*/ 9841 w 9841"/>
                <a:gd name="connsiteY1" fmla="*/ 6942 h 10000"/>
                <a:gd name="connsiteX2" fmla="*/ 9683 w 9841"/>
                <a:gd name="connsiteY2" fmla="*/ 6833 h 10000"/>
                <a:gd name="connsiteX3" fmla="*/ 9532 w 9841"/>
                <a:gd name="connsiteY3" fmla="*/ 6719 h 10000"/>
                <a:gd name="connsiteX4" fmla="*/ 9402 w 9841"/>
                <a:gd name="connsiteY4" fmla="*/ 6593 h 10000"/>
                <a:gd name="connsiteX5" fmla="*/ 9270 w 9841"/>
                <a:gd name="connsiteY5" fmla="*/ 6467 h 10000"/>
                <a:gd name="connsiteX6" fmla="*/ 9151 w 9841"/>
                <a:gd name="connsiteY6" fmla="*/ 6338 h 10000"/>
                <a:gd name="connsiteX7" fmla="*/ 9038 w 9841"/>
                <a:gd name="connsiteY7" fmla="*/ 6209 h 10000"/>
                <a:gd name="connsiteX8" fmla="*/ 8923 w 9841"/>
                <a:gd name="connsiteY8" fmla="*/ 6073 h 10000"/>
                <a:gd name="connsiteX9" fmla="*/ 8820 w 9841"/>
                <a:gd name="connsiteY9" fmla="*/ 5928 h 10000"/>
                <a:gd name="connsiteX10" fmla="*/ 8775 w 9841"/>
                <a:gd name="connsiteY10" fmla="*/ 5865 h 10000"/>
                <a:gd name="connsiteX11" fmla="*/ 8727 w 9841"/>
                <a:gd name="connsiteY11" fmla="*/ 5789 h 10000"/>
                <a:gd name="connsiteX12" fmla="*/ 8691 w 9841"/>
                <a:gd name="connsiteY12" fmla="*/ 5721 h 10000"/>
                <a:gd name="connsiteX13" fmla="*/ 8643 w 9841"/>
                <a:gd name="connsiteY13" fmla="*/ 5646 h 10000"/>
                <a:gd name="connsiteX14" fmla="*/ 8606 w 9841"/>
                <a:gd name="connsiteY14" fmla="*/ 5575 h 10000"/>
                <a:gd name="connsiteX15" fmla="*/ 8569 w 9841"/>
                <a:gd name="connsiteY15" fmla="*/ 5501 h 10000"/>
                <a:gd name="connsiteX16" fmla="*/ 8541 w 9841"/>
                <a:gd name="connsiteY16" fmla="*/ 5424 h 10000"/>
                <a:gd name="connsiteX17" fmla="*/ 8504 w 9841"/>
                <a:gd name="connsiteY17" fmla="*/ 5353 h 10000"/>
                <a:gd name="connsiteX18" fmla="*/ 8483 w 9841"/>
                <a:gd name="connsiteY18" fmla="*/ 5274 h 10000"/>
                <a:gd name="connsiteX19" fmla="*/ 8447 w 9841"/>
                <a:gd name="connsiteY19" fmla="*/ 5200 h 10000"/>
                <a:gd name="connsiteX20" fmla="*/ 8427 w 9841"/>
                <a:gd name="connsiteY20" fmla="*/ 5122 h 10000"/>
                <a:gd name="connsiteX21" fmla="*/ 8411 w 9841"/>
                <a:gd name="connsiteY21" fmla="*/ 5048 h 10000"/>
                <a:gd name="connsiteX22" fmla="*/ 8390 w 9841"/>
                <a:gd name="connsiteY22" fmla="*/ 4966 h 10000"/>
                <a:gd name="connsiteX23" fmla="*/ 8373 w 9841"/>
                <a:gd name="connsiteY23" fmla="*/ 4893 h 10000"/>
                <a:gd name="connsiteX24" fmla="*/ 8355 w 9841"/>
                <a:gd name="connsiteY24" fmla="*/ 4815 h 10000"/>
                <a:gd name="connsiteX25" fmla="*/ 8344 w 9841"/>
                <a:gd name="connsiteY25" fmla="*/ 4739 h 10000"/>
                <a:gd name="connsiteX26" fmla="*/ 8334 w 9841"/>
                <a:gd name="connsiteY26" fmla="*/ 4656 h 10000"/>
                <a:gd name="connsiteX27" fmla="*/ 8322 w 9841"/>
                <a:gd name="connsiteY27" fmla="*/ 4573 h 10000"/>
                <a:gd name="connsiteX28" fmla="*/ 8322 w 9841"/>
                <a:gd name="connsiteY28" fmla="*/ 4497 h 10000"/>
                <a:gd name="connsiteX29" fmla="*/ 8314 w 9841"/>
                <a:gd name="connsiteY29" fmla="*/ 4413 h 10000"/>
                <a:gd name="connsiteX30" fmla="*/ 8322 w 9841"/>
                <a:gd name="connsiteY30" fmla="*/ 4334 h 10000"/>
                <a:gd name="connsiteX31" fmla="*/ 8334 w 9841"/>
                <a:gd name="connsiteY31" fmla="*/ 4248 h 10000"/>
                <a:gd name="connsiteX32" fmla="*/ 8334 w 9841"/>
                <a:gd name="connsiteY32" fmla="*/ 4160 h 10000"/>
                <a:gd name="connsiteX33" fmla="*/ 8344 w 9841"/>
                <a:gd name="connsiteY33" fmla="*/ 4075 h 10000"/>
                <a:gd name="connsiteX34" fmla="*/ 8355 w 9841"/>
                <a:gd name="connsiteY34" fmla="*/ 3990 h 10000"/>
                <a:gd name="connsiteX35" fmla="*/ 8373 w 9841"/>
                <a:gd name="connsiteY35" fmla="*/ 3915 h 10000"/>
                <a:gd name="connsiteX36" fmla="*/ 8390 w 9841"/>
                <a:gd name="connsiteY36" fmla="*/ 3830 h 10000"/>
                <a:gd name="connsiteX37" fmla="*/ 8411 w 9841"/>
                <a:gd name="connsiteY37" fmla="*/ 3750 h 10000"/>
                <a:gd name="connsiteX38" fmla="*/ 8436 w 9841"/>
                <a:gd name="connsiteY38" fmla="*/ 3665 h 10000"/>
                <a:gd name="connsiteX39" fmla="*/ 8466 w 9841"/>
                <a:gd name="connsiteY39" fmla="*/ 3589 h 10000"/>
                <a:gd name="connsiteX40" fmla="*/ 8495 w 9841"/>
                <a:gd name="connsiteY40" fmla="*/ 3508 h 10000"/>
                <a:gd name="connsiteX41" fmla="*/ 8521 w 9841"/>
                <a:gd name="connsiteY41" fmla="*/ 3424 h 10000"/>
                <a:gd name="connsiteX42" fmla="*/ 8558 w 9841"/>
                <a:gd name="connsiteY42" fmla="*/ 3355 h 10000"/>
                <a:gd name="connsiteX43" fmla="*/ 8597 w 9841"/>
                <a:gd name="connsiteY43" fmla="*/ 3275 h 10000"/>
                <a:gd name="connsiteX44" fmla="*/ 8635 w 9841"/>
                <a:gd name="connsiteY44" fmla="*/ 3194 h 10000"/>
                <a:gd name="connsiteX45" fmla="*/ 8681 w 9841"/>
                <a:gd name="connsiteY45" fmla="*/ 3118 h 10000"/>
                <a:gd name="connsiteX46" fmla="*/ 8720 w 9841"/>
                <a:gd name="connsiteY46" fmla="*/ 3046 h 10000"/>
                <a:gd name="connsiteX47" fmla="*/ 8765 w 9841"/>
                <a:gd name="connsiteY47" fmla="*/ 2964 h 10000"/>
                <a:gd name="connsiteX48" fmla="*/ 8820 w 9841"/>
                <a:gd name="connsiteY48" fmla="*/ 2898 h 10000"/>
                <a:gd name="connsiteX49" fmla="*/ 8867 w 9841"/>
                <a:gd name="connsiteY49" fmla="*/ 2823 h 10000"/>
                <a:gd name="connsiteX50" fmla="*/ 8923 w 9841"/>
                <a:gd name="connsiteY50" fmla="*/ 2754 h 10000"/>
                <a:gd name="connsiteX51" fmla="*/ 8973 w 9841"/>
                <a:gd name="connsiteY51" fmla="*/ 2676 h 10000"/>
                <a:gd name="connsiteX52" fmla="*/ 9038 w 9841"/>
                <a:gd name="connsiteY52" fmla="*/ 2613 h 10000"/>
                <a:gd name="connsiteX53" fmla="*/ 9103 w 9841"/>
                <a:gd name="connsiteY53" fmla="*/ 2538 h 10000"/>
                <a:gd name="connsiteX54" fmla="*/ 9159 w 9841"/>
                <a:gd name="connsiteY54" fmla="*/ 2471 h 10000"/>
                <a:gd name="connsiteX55" fmla="*/ 9222 w 9841"/>
                <a:gd name="connsiteY55" fmla="*/ 2404 h 10000"/>
                <a:gd name="connsiteX56" fmla="*/ 9290 w 9841"/>
                <a:gd name="connsiteY56" fmla="*/ 2331 h 10000"/>
                <a:gd name="connsiteX57" fmla="*/ 9354 w 9841"/>
                <a:gd name="connsiteY57" fmla="*/ 2269 h 10000"/>
                <a:gd name="connsiteX58" fmla="*/ 9431 w 9841"/>
                <a:gd name="connsiteY58" fmla="*/ 2203 h 10000"/>
                <a:gd name="connsiteX59" fmla="*/ 9496 w 9841"/>
                <a:gd name="connsiteY59" fmla="*/ 2145 h 10000"/>
                <a:gd name="connsiteX60" fmla="*/ 9569 w 9841"/>
                <a:gd name="connsiteY60" fmla="*/ 2077 h 10000"/>
                <a:gd name="connsiteX61" fmla="*/ 9602 w 9841"/>
                <a:gd name="connsiteY61" fmla="*/ 2042 h 10000"/>
                <a:gd name="connsiteX62" fmla="*/ 6802 w 9841"/>
                <a:gd name="connsiteY62" fmla="*/ 6 h 10000"/>
                <a:gd name="connsiteX63" fmla="*/ 1768 w 9841"/>
                <a:gd name="connsiteY63" fmla="*/ 0 h 10000"/>
                <a:gd name="connsiteX64" fmla="*/ 1647 w 9841"/>
                <a:gd name="connsiteY64" fmla="*/ 154 h 10000"/>
                <a:gd name="connsiteX65" fmla="*/ 1544 w 9841"/>
                <a:gd name="connsiteY65" fmla="*/ 269 h 10000"/>
                <a:gd name="connsiteX66" fmla="*/ 1449 w 9841"/>
                <a:gd name="connsiteY66" fmla="*/ 397 h 10000"/>
                <a:gd name="connsiteX67" fmla="*/ 1346 w 9841"/>
                <a:gd name="connsiteY67" fmla="*/ 523 h 10000"/>
                <a:gd name="connsiteX68" fmla="*/ 1262 w 9841"/>
                <a:gd name="connsiteY68" fmla="*/ 650 h 10000"/>
                <a:gd name="connsiteX69" fmla="*/ 1170 w 9841"/>
                <a:gd name="connsiteY69" fmla="*/ 775 h 10000"/>
                <a:gd name="connsiteX70" fmla="*/ 1086 w 9841"/>
                <a:gd name="connsiteY70" fmla="*/ 910 h 10000"/>
                <a:gd name="connsiteX71" fmla="*/ 1000 w 9841"/>
                <a:gd name="connsiteY71" fmla="*/ 1043 h 10000"/>
                <a:gd name="connsiteX72" fmla="*/ 928 w 9841"/>
                <a:gd name="connsiteY72" fmla="*/ 1166 h 10000"/>
                <a:gd name="connsiteX73" fmla="*/ 852 w 9841"/>
                <a:gd name="connsiteY73" fmla="*/ 1304 h 10000"/>
                <a:gd name="connsiteX74" fmla="*/ 776 w 9841"/>
                <a:gd name="connsiteY74" fmla="*/ 1432 h 10000"/>
                <a:gd name="connsiteX75" fmla="*/ 700 w 9841"/>
                <a:gd name="connsiteY75" fmla="*/ 1572 h 10000"/>
                <a:gd name="connsiteX76" fmla="*/ 636 w 9841"/>
                <a:gd name="connsiteY76" fmla="*/ 1699 h 10000"/>
                <a:gd name="connsiteX77" fmla="*/ 570 w 9841"/>
                <a:gd name="connsiteY77" fmla="*/ 1833 h 10000"/>
                <a:gd name="connsiteX78" fmla="*/ 516 w 9841"/>
                <a:gd name="connsiteY78" fmla="*/ 1968 h 10000"/>
                <a:gd name="connsiteX79" fmla="*/ 459 w 9841"/>
                <a:gd name="connsiteY79" fmla="*/ 2104 h 10000"/>
                <a:gd name="connsiteX80" fmla="*/ 402 w 9841"/>
                <a:gd name="connsiteY80" fmla="*/ 2248 h 10000"/>
                <a:gd name="connsiteX81" fmla="*/ 359 w 9841"/>
                <a:gd name="connsiteY81" fmla="*/ 2384 h 10000"/>
                <a:gd name="connsiteX82" fmla="*/ 298 w 9841"/>
                <a:gd name="connsiteY82" fmla="*/ 2526 h 10000"/>
                <a:gd name="connsiteX83" fmla="*/ 261 w 9841"/>
                <a:gd name="connsiteY83" fmla="*/ 2666 h 10000"/>
                <a:gd name="connsiteX84" fmla="*/ 217 w 9841"/>
                <a:gd name="connsiteY84" fmla="*/ 2809 h 10000"/>
                <a:gd name="connsiteX85" fmla="*/ 185 w 9841"/>
                <a:gd name="connsiteY85" fmla="*/ 2953 h 10000"/>
                <a:gd name="connsiteX86" fmla="*/ 148 w 9841"/>
                <a:gd name="connsiteY86" fmla="*/ 3095 h 10000"/>
                <a:gd name="connsiteX87" fmla="*/ 122 w 9841"/>
                <a:gd name="connsiteY87" fmla="*/ 3235 h 10000"/>
                <a:gd name="connsiteX88" fmla="*/ 96 w 9841"/>
                <a:gd name="connsiteY88" fmla="*/ 3382 h 10000"/>
                <a:gd name="connsiteX89" fmla="*/ 63 w 9841"/>
                <a:gd name="connsiteY89" fmla="*/ 3534 h 10000"/>
                <a:gd name="connsiteX90" fmla="*/ 45 w 9841"/>
                <a:gd name="connsiteY90" fmla="*/ 3678 h 10000"/>
                <a:gd name="connsiteX91" fmla="*/ 24 w 9841"/>
                <a:gd name="connsiteY91" fmla="*/ 3822 h 10000"/>
                <a:gd name="connsiteX92" fmla="*/ 17 w 9841"/>
                <a:gd name="connsiteY92" fmla="*/ 3966 h 10000"/>
                <a:gd name="connsiteX93" fmla="*/ 7 w 9841"/>
                <a:gd name="connsiteY93" fmla="*/ 4116 h 10000"/>
                <a:gd name="connsiteX94" fmla="*/ 0 w 9841"/>
                <a:gd name="connsiteY94" fmla="*/ 4261 h 10000"/>
                <a:gd name="connsiteX95" fmla="*/ 0 w 9841"/>
                <a:gd name="connsiteY95" fmla="*/ 4413 h 10000"/>
                <a:gd name="connsiteX96" fmla="*/ 7 w 9841"/>
                <a:gd name="connsiteY96" fmla="*/ 4606 h 10000"/>
                <a:gd name="connsiteX97" fmla="*/ 7 w 9841"/>
                <a:gd name="connsiteY97" fmla="*/ 4798 h 10000"/>
                <a:gd name="connsiteX98" fmla="*/ 24 w 9841"/>
                <a:gd name="connsiteY98" fmla="*/ 4977 h 10000"/>
                <a:gd name="connsiteX99" fmla="*/ 45 w 9841"/>
                <a:gd name="connsiteY99" fmla="*/ 5166 h 10000"/>
                <a:gd name="connsiteX100" fmla="*/ 76 w 9841"/>
                <a:gd name="connsiteY100" fmla="*/ 5353 h 10000"/>
                <a:gd name="connsiteX101" fmla="*/ 115 w 9841"/>
                <a:gd name="connsiteY101" fmla="*/ 5540 h 10000"/>
                <a:gd name="connsiteX102" fmla="*/ 148 w 9841"/>
                <a:gd name="connsiteY102" fmla="*/ 5725 h 10000"/>
                <a:gd name="connsiteX103" fmla="*/ 185 w 9841"/>
                <a:gd name="connsiteY103" fmla="*/ 5909 h 10000"/>
                <a:gd name="connsiteX104" fmla="*/ 245 w 9841"/>
                <a:gd name="connsiteY104" fmla="*/ 6093 h 10000"/>
                <a:gd name="connsiteX105" fmla="*/ 298 w 9841"/>
                <a:gd name="connsiteY105" fmla="*/ 6273 h 10000"/>
                <a:gd name="connsiteX106" fmla="*/ 359 w 9841"/>
                <a:gd name="connsiteY106" fmla="*/ 6456 h 10000"/>
                <a:gd name="connsiteX107" fmla="*/ 420 w 9841"/>
                <a:gd name="connsiteY107" fmla="*/ 6633 h 10000"/>
                <a:gd name="connsiteX108" fmla="*/ 496 w 9841"/>
                <a:gd name="connsiteY108" fmla="*/ 6805 h 10000"/>
                <a:gd name="connsiteX109" fmla="*/ 570 w 9841"/>
                <a:gd name="connsiteY109" fmla="*/ 6984 h 10000"/>
                <a:gd name="connsiteX110" fmla="*/ 654 w 9841"/>
                <a:gd name="connsiteY110" fmla="*/ 7156 h 10000"/>
                <a:gd name="connsiteX111" fmla="*/ 740 w 9841"/>
                <a:gd name="connsiteY111" fmla="*/ 7336 h 10000"/>
                <a:gd name="connsiteX112" fmla="*/ 832 w 9841"/>
                <a:gd name="connsiteY112" fmla="*/ 7502 h 10000"/>
                <a:gd name="connsiteX113" fmla="*/ 936 w 9841"/>
                <a:gd name="connsiteY113" fmla="*/ 7665 h 10000"/>
                <a:gd name="connsiteX114" fmla="*/ 1039 w 9841"/>
                <a:gd name="connsiteY114" fmla="*/ 7844 h 10000"/>
                <a:gd name="connsiteX115" fmla="*/ 1141 w 9841"/>
                <a:gd name="connsiteY115" fmla="*/ 8007 h 10000"/>
                <a:gd name="connsiteX116" fmla="*/ 1253 w 9841"/>
                <a:gd name="connsiteY116" fmla="*/ 8168 h 10000"/>
                <a:gd name="connsiteX117" fmla="*/ 1377 w 9841"/>
                <a:gd name="connsiteY117" fmla="*/ 8323 h 10000"/>
                <a:gd name="connsiteX118" fmla="*/ 1497 w 9841"/>
                <a:gd name="connsiteY118" fmla="*/ 8490 h 10000"/>
                <a:gd name="connsiteX119" fmla="*/ 1627 w 9841"/>
                <a:gd name="connsiteY119" fmla="*/ 8651 h 10000"/>
                <a:gd name="connsiteX120" fmla="*/ 1748 w 9841"/>
                <a:gd name="connsiteY120" fmla="*/ 8808 h 10000"/>
                <a:gd name="connsiteX121" fmla="*/ 1890 w 9841"/>
                <a:gd name="connsiteY121" fmla="*/ 8966 h 10000"/>
                <a:gd name="connsiteX122" fmla="*/ 2031 w 9841"/>
                <a:gd name="connsiteY122" fmla="*/ 9114 h 10000"/>
                <a:gd name="connsiteX123" fmla="*/ 2180 w 9841"/>
                <a:gd name="connsiteY123" fmla="*/ 9273 h 10000"/>
                <a:gd name="connsiteX124" fmla="*/ 2328 w 9841"/>
                <a:gd name="connsiteY124" fmla="*/ 9420 h 10000"/>
                <a:gd name="connsiteX125" fmla="*/ 2477 w 9841"/>
                <a:gd name="connsiteY125" fmla="*/ 9566 h 10000"/>
                <a:gd name="connsiteX126" fmla="*/ 2637 w 9841"/>
                <a:gd name="connsiteY126" fmla="*/ 9706 h 10000"/>
                <a:gd name="connsiteX127" fmla="*/ 2807 w 9841"/>
                <a:gd name="connsiteY127" fmla="*/ 9855 h 10000"/>
                <a:gd name="connsiteX128" fmla="*/ 2964 w 9841"/>
                <a:gd name="connsiteY128" fmla="*/ 10000 h 10000"/>
                <a:gd name="connsiteX129" fmla="*/ 5487 w 9841"/>
                <a:gd name="connsiteY129" fmla="*/ 7469 h 10000"/>
                <a:gd name="connsiteX0" fmla="*/ 5576 w 9839"/>
                <a:gd name="connsiteY0" fmla="*/ 7469 h 10000"/>
                <a:gd name="connsiteX1" fmla="*/ 9839 w 9839"/>
                <a:gd name="connsiteY1" fmla="*/ 6833 h 10000"/>
                <a:gd name="connsiteX2" fmla="*/ 9686 w 9839"/>
                <a:gd name="connsiteY2" fmla="*/ 6719 h 10000"/>
                <a:gd name="connsiteX3" fmla="*/ 9554 w 9839"/>
                <a:gd name="connsiteY3" fmla="*/ 6593 h 10000"/>
                <a:gd name="connsiteX4" fmla="*/ 9420 w 9839"/>
                <a:gd name="connsiteY4" fmla="*/ 6467 h 10000"/>
                <a:gd name="connsiteX5" fmla="*/ 9299 w 9839"/>
                <a:gd name="connsiteY5" fmla="*/ 6338 h 10000"/>
                <a:gd name="connsiteX6" fmla="*/ 9184 w 9839"/>
                <a:gd name="connsiteY6" fmla="*/ 6209 h 10000"/>
                <a:gd name="connsiteX7" fmla="*/ 9067 w 9839"/>
                <a:gd name="connsiteY7" fmla="*/ 6073 h 10000"/>
                <a:gd name="connsiteX8" fmla="*/ 8963 w 9839"/>
                <a:gd name="connsiteY8" fmla="*/ 5928 h 10000"/>
                <a:gd name="connsiteX9" fmla="*/ 8917 w 9839"/>
                <a:gd name="connsiteY9" fmla="*/ 5865 h 10000"/>
                <a:gd name="connsiteX10" fmla="*/ 8868 w 9839"/>
                <a:gd name="connsiteY10" fmla="*/ 5789 h 10000"/>
                <a:gd name="connsiteX11" fmla="*/ 8831 w 9839"/>
                <a:gd name="connsiteY11" fmla="*/ 5721 h 10000"/>
                <a:gd name="connsiteX12" fmla="*/ 8783 w 9839"/>
                <a:gd name="connsiteY12" fmla="*/ 5646 h 10000"/>
                <a:gd name="connsiteX13" fmla="*/ 8745 w 9839"/>
                <a:gd name="connsiteY13" fmla="*/ 5575 h 10000"/>
                <a:gd name="connsiteX14" fmla="*/ 8707 w 9839"/>
                <a:gd name="connsiteY14" fmla="*/ 5501 h 10000"/>
                <a:gd name="connsiteX15" fmla="*/ 8679 w 9839"/>
                <a:gd name="connsiteY15" fmla="*/ 5424 h 10000"/>
                <a:gd name="connsiteX16" fmla="*/ 8641 w 9839"/>
                <a:gd name="connsiteY16" fmla="*/ 5353 h 10000"/>
                <a:gd name="connsiteX17" fmla="*/ 8620 w 9839"/>
                <a:gd name="connsiteY17" fmla="*/ 5274 h 10000"/>
                <a:gd name="connsiteX18" fmla="*/ 8583 w 9839"/>
                <a:gd name="connsiteY18" fmla="*/ 5200 h 10000"/>
                <a:gd name="connsiteX19" fmla="*/ 8563 w 9839"/>
                <a:gd name="connsiteY19" fmla="*/ 5122 h 10000"/>
                <a:gd name="connsiteX20" fmla="*/ 8547 w 9839"/>
                <a:gd name="connsiteY20" fmla="*/ 5048 h 10000"/>
                <a:gd name="connsiteX21" fmla="*/ 8526 w 9839"/>
                <a:gd name="connsiteY21" fmla="*/ 4966 h 10000"/>
                <a:gd name="connsiteX22" fmla="*/ 8508 w 9839"/>
                <a:gd name="connsiteY22" fmla="*/ 4893 h 10000"/>
                <a:gd name="connsiteX23" fmla="*/ 8490 w 9839"/>
                <a:gd name="connsiteY23" fmla="*/ 4815 h 10000"/>
                <a:gd name="connsiteX24" fmla="*/ 8479 w 9839"/>
                <a:gd name="connsiteY24" fmla="*/ 4739 h 10000"/>
                <a:gd name="connsiteX25" fmla="*/ 8469 w 9839"/>
                <a:gd name="connsiteY25" fmla="*/ 4656 h 10000"/>
                <a:gd name="connsiteX26" fmla="*/ 8456 w 9839"/>
                <a:gd name="connsiteY26" fmla="*/ 4573 h 10000"/>
                <a:gd name="connsiteX27" fmla="*/ 8456 w 9839"/>
                <a:gd name="connsiteY27" fmla="*/ 4497 h 10000"/>
                <a:gd name="connsiteX28" fmla="*/ 8448 w 9839"/>
                <a:gd name="connsiteY28" fmla="*/ 4413 h 10000"/>
                <a:gd name="connsiteX29" fmla="*/ 8456 w 9839"/>
                <a:gd name="connsiteY29" fmla="*/ 4334 h 10000"/>
                <a:gd name="connsiteX30" fmla="*/ 8469 w 9839"/>
                <a:gd name="connsiteY30" fmla="*/ 4248 h 10000"/>
                <a:gd name="connsiteX31" fmla="*/ 8469 w 9839"/>
                <a:gd name="connsiteY31" fmla="*/ 4160 h 10000"/>
                <a:gd name="connsiteX32" fmla="*/ 8479 w 9839"/>
                <a:gd name="connsiteY32" fmla="*/ 4075 h 10000"/>
                <a:gd name="connsiteX33" fmla="*/ 8490 w 9839"/>
                <a:gd name="connsiteY33" fmla="*/ 3990 h 10000"/>
                <a:gd name="connsiteX34" fmla="*/ 8508 w 9839"/>
                <a:gd name="connsiteY34" fmla="*/ 3915 h 10000"/>
                <a:gd name="connsiteX35" fmla="*/ 8526 w 9839"/>
                <a:gd name="connsiteY35" fmla="*/ 3830 h 10000"/>
                <a:gd name="connsiteX36" fmla="*/ 8547 w 9839"/>
                <a:gd name="connsiteY36" fmla="*/ 3750 h 10000"/>
                <a:gd name="connsiteX37" fmla="*/ 8572 w 9839"/>
                <a:gd name="connsiteY37" fmla="*/ 3665 h 10000"/>
                <a:gd name="connsiteX38" fmla="*/ 8603 w 9839"/>
                <a:gd name="connsiteY38" fmla="*/ 3589 h 10000"/>
                <a:gd name="connsiteX39" fmla="*/ 8632 w 9839"/>
                <a:gd name="connsiteY39" fmla="*/ 3508 h 10000"/>
                <a:gd name="connsiteX40" fmla="*/ 8659 w 9839"/>
                <a:gd name="connsiteY40" fmla="*/ 3424 h 10000"/>
                <a:gd name="connsiteX41" fmla="*/ 8696 w 9839"/>
                <a:gd name="connsiteY41" fmla="*/ 3355 h 10000"/>
                <a:gd name="connsiteX42" fmla="*/ 8736 w 9839"/>
                <a:gd name="connsiteY42" fmla="*/ 3275 h 10000"/>
                <a:gd name="connsiteX43" fmla="*/ 8775 w 9839"/>
                <a:gd name="connsiteY43" fmla="*/ 3194 h 10000"/>
                <a:gd name="connsiteX44" fmla="*/ 8821 w 9839"/>
                <a:gd name="connsiteY44" fmla="*/ 3118 h 10000"/>
                <a:gd name="connsiteX45" fmla="*/ 8861 w 9839"/>
                <a:gd name="connsiteY45" fmla="*/ 3046 h 10000"/>
                <a:gd name="connsiteX46" fmla="*/ 8907 w 9839"/>
                <a:gd name="connsiteY46" fmla="*/ 2964 h 10000"/>
                <a:gd name="connsiteX47" fmla="*/ 8963 w 9839"/>
                <a:gd name="connsiteY47" fmla="*/ 2898 h 10000"/>
                <a:gd name="connsiteX48" fmla="*/ 9010 w 9839"/>
                <a:gd name="connsiteY48" fmla="*/ 2823 h 10000"/>
                <a:gd name="connsiteX49" fmla="*/ 9067 w 9839"/>
                <a:gd name="connsiteY49" fmla="*/ 2754 h 10000"/>
                <a:gd name="connsiteX50" fmla="*/ 9118 w 9839"/>
                <a:gd name="connsiteY50" fmla="*/ 2676 h 10000"/>
                <a:gd name="connsiteX51" fmla="*/ 9184 w 9839"/>
                <a:gd name="connsiteY51" fmla="*/ 2613 h 10000"/>
                <a:gd name="connsiteX52" fmla="*/ 9250 w 9839"/>
                <a:gd name="connsiteY52" fmla="*/ 2538 h 10000"/>
                <a:gd name="connsiteX53" fmla="*/ 9307 w 9839"/>
                <a:gd name="connsiteY53" fmla="*/ 2471 h 10000"/>
                <a:gd name="connsiteX54" fmla="*/ 9371 w 9839"/>
                <a:gd name="connsiteY54" fmla="*/ 2404 h 10000"/>
                <a:gd name="connsiteX55" fmla="*/ 9440 w 9839"/>
                <a:gd name="connsiteY55" fmla="*/ 2331 h 10000"/>
                <a:gd name="connsiteX56" fmla="*/ 9505 w 9839"/>
                <a:gd name="connsiteY56" fmla="*/ 2269 h 10000"/>
                <a:gd name="connsiteX57" fmla="*/ 9583 w 9839"/>
                <a:gd name="connsiteY57" fmla="*/ 2203 h 10000"/>
                <a:gd name="connsiteX58" fmla="*/ 9649 w 9839"/>
                <a:gd name="connsiteY58" fmla="*/ 2145 h 10000"/>
                <a:gd name="connsiteX59" fmla="*/ 9724 w 9839"/>
                <a:gd name="connsiteY59" fmla="*/ 2077 h 10000"/>
                <a:gd name="connsiteX60" fmla="*/ 9757 w 9839"/>
                <a:gd name="connsiteY60" fmla="*/ 2042 h 10000"/>
                <a:gd name="connsiteX61" fmla="*/ 6912 w 9839"/>
                <a:gd name="connsiteY61" fmla="*/ 6 h 10000"/>
                <a:gd name="connsiteX62" fmla="*/ 1797 w 9839"/>
                <a:gd name="connsiteY62" fmla="*/ 0 h 10000"/>
                <a:gd name="connsiteX63" fmla="*/ 1674 w 9839"/>
                <a:gd name="connsiteY63" fmla="*/ 154 h 10000"/>
                <a:gd name="connsiteX64" fmla="*/ 1569 w 9839"/>
                <a:gd name="connsiteY64" fmla="*/ 269 h 10000"/>
                <a:gd name="connsiteX65" fmla="*/ 1472 w 9839"/>
                <a:gd name="connsiteY65" fmla="*/ 397 h 10000"/>
                <a:gd name="connsiteX66" fmla="*/ 1368 w 9839"/>
                <a:gd name="connsiteY66" fmla="*/ 523 h 10000"/>
                <a:gd name="connsiteX67" fmla="*/ 1282 w 9839"/>
                <a:gd name="connsiteY67" fmla="*/ 650 h 10000"/>
                <a:gd name="connsiteX68" fmla="*/ 1189 w 9839"/>
                <a:gd name="connsiteY68" fmla="*/ 775 h 10000"/>
                <a:gd name="connsiteX69" fmla="*/ 1104 w 9839"/>
                <a:gd name="connsiteY69" fmla="*/ 910 h 10000"/>
                <a:gd name="connsiteX70" fmla="*/ 1016 w 9839"/>
                <a:gd name="connsiteY70" fmla="*/ 1043 h 10000"/>
                <a:gd name="connsiteX71" fmla="*/ 943 w 9839"/>
                <a:gd name="connsiteY71" fmla="*/ 1166 h 10000"/>
                <a:gd name="connsiteX72" fmla="*/ 866 w 9839"/>
                <a:gd name="connsiteY72" fmla="*/ 1304 h 10000"/>
                <a:gd name="connsiteX73" fmla="*/ 789 w 9839"/>
                <a:gd name="connsiteY73" fmla="*/ 1432 h 10000"/>
                <a:gd name="connsiteX74" fmla="*/ 711 w 9839"/>
                <a:gd name="connsiteY74" fmla="*/ 1572 h 10000"/>
                <a:gd name="connsiteX75" fmla="*/ 646 w 9839"/>
                <a:gd name="connsiteY75" fmla="*/ 1699 h 10000"/>
                <a:gd name="connsiteX76" fmla="*/ 579 w 9839"/>
                <a:gd name="connsiteY76" fmla="*/ 1833 h 10000"/>
                <a:gd name="connsiteX77" fmla="*/ 524 w 9839"/>
                <a:gd name="connsiteY77" fmla="*/ 1968 h 10000"/>
                <a:gd name="connsiteX78" fmla="*/ 466 w 9839"/>
                <a:gd name="connsiteY78" fmla="*/ 2104 h 10000"/>
                <a:gd name="connsiteX79" fmla="*/ 408 w 9839"/>
                <a:gd name="connsiteY79" fmla="*/ 2248 h 10000"/>
                <a:gd name="connsiteX80" fmla="*/ 365 w 9839"/>
                <a:gd name="connsiteY80" fmla="*/ 2384 h 10000"/>
                <a:gd name="connsiteX81" fmla="*/ 303 w 9839"/>
                <a:gd name="connsiteY81" fmla="*/ 2526 h 10000"/>
                <a:gd name="connsiteX82" fmla="*/ 265 w 9839"/>
                <a:gd name="connsiteY82" fmla="*/ 2666 h 10000"/>
                <a:gd name="connsiteX83" fmla="*/ 221 w 9839"/>
                <a:gd name="connsiteY83" fmla="*/ 2809 h 10000"/>
                <a:gd name="connsiteX84" fmla="*/ 188 w 9839"/>
                <a:gd name="connsiteY84" fmla="*/ 2953 h 10000"/>
                <a:gd name="connsiteX85" fmla="*/ 150 w 9839"/>
                <a:gd name="connsiteY85" fmla="*/ 3095 h 10000"/>
                <a:gd name="connsiteX86" fmla="*/ 124 w 9839"/>
                <a:gd name="connsiteY86" fmla="*/ 3235 h 10000"/>
                <a:gd name="connsiteX87" fmla="*/ 98 w 9839"/>
                <a:gd name="connsiteY87" fmla="*/ 3382 h 10000"/>
                <a:gd name="connsiteX88" fmla="*/ 64 w 9839"/>
                <a:gd name="connsiteY88" fmla="*/ 3534 h 10000"/>
                <a:gd name="connsiteX89" fmla="*/ 46 w 9839"/>
                <a:gd name="connsiteY89" fmla="*/ 3678 h 10000"/>
                <a:gd name="connsiteX90" fmla="*/ 24 w 9839"/>
                <a:gd name="connsiteY90" fmla="*/ 3822 h 10000"/>
                <a:gd name="connsiteX91" fmla="*/ 17 w 9839"/>
                <a:gd name="connsiteY91" fmla="*/ 3966 h 10000"/>
                <a:gd name="connsiteX92" fmla="*/ 7 w 9839"/>
                <a:gd name="connsiteY92" fmla="*/ 4116 h 10000"/>
                <a:gd name="connsiteX93" fmla="*/ 0 w 9839"/>
                <a:gd name="connsiteY93" fmla="*/ 4261 h 10000"/>
                <a:gd name="connsiteX94" fmla="*/ 0 w 9839"/>
                <a:gd name="connsiteY94" fmla="*/ 4413 h 10000"/>
                <a:gd name="connsiteX95" fmla="*/ 7 w 9839"/>
                <a:gd name="connsiteY95" fmla="*/ 4606 h 10000"/>
                <a:gd name="connsiteX96" fmla="*/ 7 w 9839"/>
                <a:gd name="connsiteY96" fmla="*/ 4798 h 10000"/>
                <a:gd name="connsiteX97" fmla="*/ 24 w 9839"/>
                <a:gd name="connsiteY97" fmla="*/ 4977 h 10000"/>
                <a:gd name="connsiteX98" fmla="*/ 46 w 9839"/>
                <a:gd name="connsiteY98" fmla="*/ 5166 h 10000"/>
                <a:gd name="connsiteX99" fmla="*/ 77 w 9839"/>
                <a:gd name="connsiteY99" fmla="*/ 5353 h 10000"/>
                <a:gd name="connsiteX100" fmla="*/ 117 w 9839"/>
                <a:gd name="connsiteY100" fmla="*/ 5540 h 10000"/>
                <a:gd name="connsiteX101" fmla="*/ 150 w 9839"/>
                <a:gd name="connsiteY101" fmla="*/ 5725 h 10000"/>
                <a:gd name="connsiteX102" fmla="*/ 188 w 9839"/>
                <a:gd name="connsiteY102" fmla="*/ 5909 h 10000"/>
                <a:gd name="connsiteX103" fmla="*/ 249 w 9839"/>
                <a:gd name="connsiteY103" fmla="*/ 6093 h 10000"/>
                <a:gd name="connsiteX104" fmla="*/ 303 w 9839"/>
                <a:gd name="connsiteY104" fmla="*/ 6273 h 10000"/>
                <a:gd name="connsiteX105" fmla="*/ 365 w 9839"/>
                <a:gd name="connsiteY105" fmla="*/ 6456 h 10000"/>
                <a:gd name="connsiteX106" fmla="*/ 427 w 9839"/>
                <a:gd name="connsiteY106" fmla="*/ 6633 h 10000"/>
                <a:gd name="connsiteX107" fmla="*/ 504 w 9839"/>
                <a:gd name="connsiteY107" fmla="*/ 6805 h 10000"/>
                <a:gd name="connsiteX108" fmla="*/ 579 w 9839"/>
                <a:gd name="connsiteY108" fmla="*/ 6984 h 10000"/>
                <a:gd name="connsiteX109" fmla="*/ 665 w 9839"/>
                <a:gd name="connsiteY109" fmla="*/ 7156 h 10000"/>
                <a:gd name="connsiteX110" fmla="*/ 752 w 9839"/>
                <a:gd name="connsiteY110" fmla="*/ 7336 h 10000"/>
                <a:gd name="connsiteX111" fmla="*/ 845 w 9839"/>
                <a:gd name="connsiteY111" fmla="*/ 7502 h 10000"/>
                <a:gd name="connsiteX112" fmla="*/ 951 w 9839"/>
                <a:gd name="connsiteY112" fmla="*/ 7665 h 10000"/>
                <a:gd name="connsiteX113" fmla="*/ 1056 w 9839"/>
                <a:gd name="connsiteY113" fmla="*/ 7844 h 10000"/>
                <a:gd name="connsiteX114" fmla="*/ 1159 w 9839"/>
                <a:gd name="connsiteY114" fmla="*/ 8007 h 10000"/>
                <a:gd name="connsiteX115" fmla="*/ 1273 w 9839"/>
                <a:gd name="connsiteY115" fmla="*/ 8168 h 10000"/>
                <a:gd name="connsiteX116" fmla="*/ 1399 w 9839"/>
                <a:gd name="connsiteY116" fmla="*/ 8323 h 10000"/>
                <a:gd name="connsiteX117" fmla="*/ 1521 w 9839"/>
                <a:gd name="connsiteY117" fmla="*/ 8490 h 10000"/>
                <a:gd name="connsiteX118" fmla="*/ 1653 w 9839"/>
                <a:gd name="connsiteY118" fmla="*/ 8651 h 10000"/>
                <a:gd name="connsiteX119" fmla="*/ 1776 w 9839"/>
                <a:gd name="connsiteY119" fmla="*/ 8808 h 10000"/>
                <a:gd name="connsiteX120" fmla="*/ 1921 w 9839"/>
                <a:gd name="connsiteY120" fmla="*/ 8966 h 10000"/>
                <a:gd name="connsiteX121" fmla="*/ 2064 w 9839"/>
                <a:gd name="connsiteY121" fmla="*/ 9114 h 10000"/>
                <a:gd name="connsiteX122" fmla="*/ 2215 w 9839"/>
                <a:gd name="connsiteY122" fmla="*/ 9273 h 10000"/>
                <a:gd name="connsiteX123" fmla="*/ 2366 w 9839"/>
                <a:gd name="connsiteY123" fmla="*/ 9420 h 10000"/>
                <a:gd name="connsiteX124" fmla="*/ 2517 w 9839"/>
                <a:gd name="connsiteY124" fmla="*/ 9566 h 10000"/>
                <a:gd name="connsiteX125" fmla="*/ 2680 w 9839"/>
                <a:gd name="connsiteY125" fmla="*/ 9706 h 10000"/>
                <a:gd name="connsiteX126" fmla="*/ 2852 w 9839"/>
                <a:gd name="connsiteY126" fmla="*/ 9855 h 10000"/>
                <a:gd name="connsiteX127" fmla="*/ 3012 w 9839"/>
                <a:gd name="connsiteY127" fmla="*/ 10000 h 10000"/>
                <a:gd name="connsiteX128" fmla="*/ 5576 w 9839"/>
                <a:gd name="connsiteY128" fmla="*/ 7469 h 10000"/>
                <a:gd name="connsiteX0" fmla="*/ 5667 w 10000"/>
                <a:gd name="connsiteY0" fmla="*/ 7469 h 9999"/>
                <a:gd name="connsiteX1" fmla="*/ 10000 w 10000"/>
                <a:gd name="connsiteY1" fmla="*/ 6833 h 9999"/>
                <a:gd name="connsiteX2" fmla="*/ 9844 w 10000"/>
                <a:gd name="connsiteY2" fmla="*/ 6719 h 9999"/>
                <a:gd name="connsiteX3" fmla="*/ 9710 w 10000"/>
                <a:gd name="connsiteY3" fmla="*/ 6593 h 9999"/>
                <a:gd name="connsiteX4" fmla="*/ 9574 w 10000"/>
                <a:gd name="connsiteY4" fmla="*/ 6467 h 9999"/>
                <a:gd name="connsiteX5" fmla="*/ 9451 w 10000"/>
                <a:gd name="connsiteY5" fmla="*/ 6338 h 9999"/>
                <a:gd name="connsiteX6" fmla="*/ 9334 w 10000"/>
                <a:gd name="connsiteY6" fmla="*/ 6209 h 9999"/>
                <a:gd name="connsiteX7" fmla="*/ 9215 w 10000"/>
                <a:gd name="connsiteY7" fmla="*/ 6073 h 9999"/>
                <a:gd name="connsiteX8" fmla="*/ 9110 w 10000"/>
                <a:gd name="connsiteY8" fmla="*/ 5928 h 9999"/>
                <a:gd name="connsiteX9" fmla="*/ 9063 w 10000"/>
                <a:gd name="connsiteY9" fmla="*/ 5865 h 9999"/>
                <a:gd name="connsiteX10" fmla="*/ 9013 w 10000"/>
                <a:gd name="connsiteY10" fmla="*/ 5789 h 9999"/>
                <a:gd name="connsiteX11" fmla="*/ 8976 w 10000"/>
                <a:gd name="connsiteY11" fmla="*/ 5721 h 9999"/>
                <a:gd name="connsiteX12" fmla="*/ 8927 w 10000"/>
                <a:gd name="connsiteY12" fmla="*/ 5646 h 9999"/>
                <a:gd name="connsiteX13" fmla="*/ 8888 w 10000"/>
                <a:gd name="connsiteY13" fmla="*/ 5575 h 9999"/>
                <a:gd name="connsiteX14" fmla="*/ 8849 w 10000"/>
                <a:gd name="connsiteY14" fmla="*/ 5501 h 9999"/>
                <a:gd name="connsiteX15" fmla="*/ 8821 w 10000"/>
                <a:gd name="connsiteY15" fmla="*/ 5424 h 9999"/>
                <a:gd name="connsiteX16" fmla="*/ 8782 w 10000"/>
                <a:gd name="connsiteY16" fmla="*/ 5353 h 9999"/>
                <a:gd name="connsiteX17" fmla="*/ 8761 w 10000"/>
                <a:gd name="connsiteY17" fmla="*/ 5274 h 9999"/>
                <a:gd name="connsiteX18" fmla="*/ 8723 w 10000"/>
                <a:gd name="connsiteY18" fmla="*/ 5200 h 9999"/>
                <a:gd name="connsiteX19" fmla="*/ 8703 w 10000"/>
                <a:gd name="connsiteY19" fmla="*/ 5122 h 9999"/>
                <a:gd name="connsiteX20" fmla="*/ 8687 w 10000"/>
                <a:gd name="connsiteY20" fmla="*/ 5048 h 9999"/>
                <a:gd name="connsiteX21" fmla="*/ 8666 w 10000"/>
                <a:gd name="connsiteY21" fmla="*/ 4966 h 9999"/>
                <a:gd name="connsiteX22" fmla="*/ 8647 w 10000"/>
                <a:gd name="connsiteY22" fmla="*/ 4893 h 9999"/>
                <a:gd name="connsiteX23" fmla="*/ 8629 w 10000"/>
                <a:gd name="connsiteY23" fmla="*/ 4815 h 9999"/>
                <a:gd name="connsiteX24" fmla="*/ 8618 w 10000"/>
                <a:gd name="connsiteY24" fmla="*/ 4739 h 9999"/>
                <a:gd name="connsiteX25" fmla="*/ 8608 w 10000"/>
                <a:gd name="connsiteY25" fmla="*/ 4656 h 9999"/>
                <a:gd name="connsiteX26" fmla="*/ 8594 w 10000"/>
                <a:gd name="connsiteY26" fmla="*/ 4573 h 9999"/>
                <a:gd name="connsiteX27" fmla="*/ 8594 w 10000"/>
                <a:gd name="connsiteY27" fmla="*/ 4497 h 9999"/>
                <a:gd name="connsiteX28" fmla="*/ 8586 w 10000"/>
                <a:gd name="connsiteY28" fmla="*/ 4413 h 9999"/>
                <a:gd name="connsiteX29" fmla="*/ 8594 w 10000"/>
                <a:gd name="connsiteY29" fmla="*/ 4334 h 9999"/>
                <a:gd name="connsiteX30" fmla="*/ 8608 w 10000"/>
                <a:gd name="connsiteY30" fmla="*/ 4248 h 9999"/>
                <a:gd name="connsiteX31" fmla="*/ 8608 w 10000"/>
                <a:gd name="connsiteY31" fmla="*/ 4160 h 9999"/>
                <a:gd name="connsiteX32" fmla="*/ 8618 w 10000"/>
                <a:gd name="connsiteY32" fmla="*/ 4075 h 9999"/>
                <a:gd name="connsiteX33" fmla="*/ 8629 w 10000"/>
                <a:gd name="connsiteY33" fmla="*/ 3990 h 9999"/>
                <a:gd name="connsiteX34" fmla="*/ 8647 w 10000"/>
                <a:gd name="connsiteY34" fmla="*/ 3915 h 9999"/>
                <a:gd name="connsiteX35" fmla="*/ 8666 w 10000"/>
                <a:gd name="connsiteY35" fmla="*/ 3830 h 9999"/>
                <a:gd name="connsiteX36" fmla="*/ 8687 w 10000"/>
                <a:gd name="connsiteY36" fmla="*/ 3750 h 9999"/>
                <a:gd name="connsiteX37" fmla="*/ 8712 w 10000"/>
                <a:gd name="connsiteY37" fmla="*/ 3665 h 9999"/>
                <a:gd name="connsiteX38" fmla="*/ 8744 w 10000"/>
                <a:gd name="connsiteY38" fmla="*/ 3589 h 9999"/>
                <a:gd name="connsiteX39" fmla="*/ 8773 w 10000"/>
                <a:gd name="connsiteY39" fmla="*/ 3508 h 9999"/>
                <a:gd name="connsiteX40" fmla="*/ 8801 w 10000"/>
                <a:gd name="connsiteY40" fmla="*/ 3424 h 9999"/>
                <a:gd name="connsiteX41" fmla="*/ 8838 w 10000"/>
                <a:gd name="connsiteY41" fmla="*/ 3355 h 9999"/>
                <a:gd name="connsiteX42" fmla="*/ 8879 w 10000"/>
                <a:gd name="connsiteY42" fmla="*/ 3275 h 9999"/>
                <a:gd name="connsiteX43" fmla="*/ 8919 w 10000"/>
                <a:gd name="connsiteY43" fmla="*/ 3194 h 9999"/>
                <a:gd name="connsiteX44" fmla="*/ 8965 w 10000"/>
                <a:gd name="connsiteY44" fmla="*/ 3118 h 9999"/>
                <a:gd name="connsiteX45" fmla="*/ 9006 w 10000"/>
                <a:gd name="connsiteY45" fmla="*/ 3046 h 9999"/>
                <a:gd name="connsiteX46" fmla="*/ 9053 w 10000"/>
                <a:gd name="connsiteY46" fmla="*/ 2964 h 9999"/>
                <a:gd name="connsiteX47" fmla="*/ 9110 w 10000"/>
                <a:gd name="connsiteY47" fmla="*/ 2898 h 9999"/>
                <a:gd name="connsiteX48" fmla="*/ 9157 w 10000"/>
                <a:gd name="connsiteY48" fmla="*/ 2823 h 9999"/>
                <a:gd name="connsiteX49" fmla="*/ 9215 w 10000"/>
                <a:gd name="connsiteY49" fmla="*/ 2754 h 9999"/>
                <a:gd name="connsiteX50" fmla="*/ 9267 w 10000"/>
                <a:gd name="connsiteY50" fmla="*/ 2676 h 9999"/>
                <a:gd name="connsiteX51" fmla="*/ 9334 w 10000"/>
                <a:gd name="connsiteY51" fmla="*/ 2613 h 9999"/>
                <a:gd name="connsiteX52" fmla="*/ 9401 w 10000"/>
                <a:gd name="connsiteY52" fmla="*/ 2538 h 9999"/>
                <a:gd name="connsiteX53" fmla="*/ 9459 w 10000"/>
                <a:gd name="connsiteY53" fmla="*/ 2471 h 9999"/>
                <a:gd name="connsiteX54" fmla="*/ 9524 w 10000"/>
                <a:gd name="connsiteY54" fmla="*/ 2404 h 9999"/>
                <a:gd name="connsiteX55" fmla="*/ 9594 w 10000"/>
                <a:gd name="connsiteY55" fmla="*/ 2331 h 9999"/>
                <a:gd name="connsiteX56" fmla="*/ 9661 w 10000"/>
                <a:gd name="connsiteY56" fmla="*/ 2269 h 9999"/>
                <a:gd name="connsiteX57" fmla="*/ 9740 w 10000"/>
                <a:gd name="connsiteY57" fmla="*/ 2203 h 9999"/>
                <a:gd name="connsiteX58" fmla="*/ 9807 w 10000"/>
                <a:gd name="connsiteY58" fmla="*/ 2145 h 9999"/>
                <a:gd name="connsiteX59" fmla="*/ 9883 w 10000"/>
                <a:gd name="connsiteY59" fmla="*/ 2077 h 9999"/>
                <a:gd name="connsiteX60" fmla="*/ 9917 w 10000"/>
                <a:gd name="connsiteY60" fmla="*/ 2042 h 9999"/>
                <a:gd name="connsiteX61" fmla="*/ 7025 w 10000"/>
                <a:gd name="connsiteY61" fmla="*/ 6 h 9999"/>
                <a:gd name="connsiteX62" fmla="*/ 1826 w 10000"/>
                <a:gd name="connsiteY62" fmla="*/ 0 h 9999"/>
                <a:gd name="connsiteX63" fmla="*/ 1701 w 10000"/>
                <a:gd name="connsiteY63" fmla="*/ 154 h 9999"/>
                <a:gd name="connsiteX64" fmla="*/ 1595 w 10000"/>
                <a:gd name="connsiteY64" fmla="*/ 269 h 9999"/>
                <a:gd name="connsiteX65" fmla="*/ 1496 w 10000"/>
                <a:gd name="connsiteY65" fmla="*/ 397 h 9999"/>
                <a:gd name="connsiteX66" fmla="*/ 1390 w 10000"/>
                <a:gd name="connsiteY66" fmla="*/ 523 h 9999"/>
                <a:gd name="connsiteX67" fmla="*/ 1303 w 10000"/>
                <a:gd name="connsiteY67" fmla="*/ 650 h 9999"/>
                <a:gd name="connsiteX68" fmla="*/ 1208 w 10000"/>
                <a:gd name="connsiteY68" fmla="*/ 775 h 9999"/>
                <a:gd name="connsiteX69" fmla="*/ 1122 w 10000"/>
                <a:gd name="connsiteY69" fmla="*/ 910 h 9999"/>
                <a:gd name="connsiteX70" fmla="*/ 1033 w 10000"/>
                <a:gd name="connsiteY70" fmla="*/ 1043 h 9999"/>
                <a:gd name="connsiteX71" fmla="*/ 958 w 10000"/>
                <a:gd name="connsiteY71" fmla="*/ 1166 h 9999"/>
                <a:gd name="connsiteX72" fmla="*/ 880 w 10000"/>
                <a:gd name="connsiteY72" fmla="*/ 1304 h 9999"/>
                <a:gd name="connsiteX73" fmla="*/ 802 w 10000"/>
                <a:gd name="connsiteY73" fmla="*/ 1432 h 9999"/>
                <a:gd name="connsiteX74" fmla="*/ 723 w 10000"/>
                <a:gd name="connsiteY74" fmla="*/ 1572 h 9999"/>
                <a:gd name="connsiteX75" fmla="*/ 657 w 10000"/>
                <a:gd name="connsiteY75" fmla="*/ 1699 h 9999"/>
                <a:gd name="connsiteX76" fmla="*/ 588 w 10000"/>
                <a:gd name="connsiteY76" fmla="*/ 1833 h 9999"/>
                <a:gd name="connsiteX77" fmla="*/ 533 w 10000"/>
                <a:gd name="connsiteY77" fmla="*/ 1968 h 9999"/>
                <a:gd name="connsiteX78" fmla="*/ 474 w 10000"/>
                <a:gd name="connsiteY78" fmla="*/ 2104 h 9999"/>
                <a:gd name="connsiteX79" fmla="*/ 415 w 10000"/>
                <a:gd name="connsiteY79" fmla="*/ 2248 h 9999"/>
                <a:gd name="connsiteX80" fmla="*/ 371 w 10000"/>
                <a:gd name="connsiteY80" fmla="*/ 2384 h 9999"/>
                <a:gd name="connsiteX81" fmla="*/ 308 w 10000"/>
                <a:gd name="connsiteY81" fmla="*/ 2526 h 9999"/>
                <a:gd name="connsiteX82" fmla="*/ 269 w 10000"/>
                <a:gd name="connsiteY82" fmla="*/ 2666 h 9999"/>
                <a:gd name="connsiteX83" fmla="*/ 225 w 10000"/>
                <a:gd name="connsiteY83" fmla="*/ 2809 h 9999"/>
                <a:gd name="connsiteX84" fmla="*/ 191 w 10000"/>
                <a:gd name="connsiteY84" fmla="*/ 2953 h 9999"/>
                <a:gd name="connsiteX85" fmla="*/ 152 w 10000"/>
                <a:gd name="connsiteY85" fmla="*/ 3095 h 9999"/>
                <a:gd name="connsiteX86" fmla="*/ 126 w 10000"/>
                <a:gd name="connsiteY86" fmla="*/ 3235 h 9999"/>
                <a:gd name="connsiteX87" fmla="*/ 100 w 10000"/>
                <a:gd name="connsiteY87" fmla="*/ 3382 h 9999"/>
                <a:gd name="connsiteX88" fmla="*/ 65 w 10000"/>
                <a:gd name="connsiteY88" fmla="*/ 3534 h 9999"/>
                <a:gd name="connsiteX89" fmla="*/ 47 w 10000"/>
                <a:gd name="connsiteY89" fmla="*/ 3678 h 9999"/>
                <a:gd name="connsiteX90" fmla="*/ 24 w 10000"/>
                <a:gd name="connsiteY90" fmla="*/ 3822 h 9999"/>
                <a:gd name="connsiteX91" fmla="*/ 17 w 10000"/>
                <a:gd name="connsiteY91" fmla="*/ 3966 h 9999"/>
                <a:gd name="connsiteX92" fmla="*/ 7 w 10000"/>
                <a:gd name="connsiteY92" fmla="*/ 4116 h 9999"/>
                <a:gd name="connsiteX93" fmla="*/ 0 w 10000"/>
                <a:gd name="connsiteY93" fmla="*/ 4261 h 9999"/>
                <a:gd name="connsiteX94" fmla="*/ 0 w 10000"/>
                <a:gd name="connsiteY94" fmla="*/ 4413 h 9999"/>
                <a:gd name="connsiteX95" fmla="*/ 7 w 10000"/>
                <a:gd name="connsiteY95" fmla="*/ 4606 h 9999"/>
                <a:gd name="connsiteX96" fmla="*/ 7 w 10000"/>
                <a:gd name="connsiteY96" fmla="*/ 4798 h 9999"/>
                <a:gd name="connsiteX97" fmla="*/ 24 w 10000"/>
                <a:gd name="connsiteY97" fmla="*/ 4977 h 9999"/>
                <a:gd name="connsiteX98" fmla="*/ 47 w 10000"/>
                <a:gd name="connsiteY98" fmla="*/ 5166 h 9999"/>
                <a:gd name="connsiteX99" fmla="*/ 78 w 10000"/>
                <a:gd name="connsiteY99" fmla="*/ 5353 h 9999"/>
                <a:gd name="connsiteX100" fmla="*/ 119 w 10000"/>
                <a:gd name="connsiteY100" fmla="*/ 5540 h 9999"/>
                <a:gd name="connsiteX101" fmla="*/ 152 w 10000"/>
                <a:gd name="connsiteY101" fmla="*/ 5725 h 9999"/>
                <a:gd name="connsiteX102" fmla="*/ 191 w 10000"/>
                <a:gd name="connsiteY102" fmla="*/ 5909 h 9999"/>
                <a:gd name="connsiteX103" fmla="*/ 253 w 10000"/>
                <a:gd name="connsiteY103" fmla="*/ 6093 h 9999"/>
                <a:gd name="connsiteX104" fmla="*/ 308 w 10000"/>
                <a:gd name="connsiteY104" fmla="*/ 6273 h 9999"/>
                <a:gd name="connsiteX105" fmla="*/ 371 w 10000"/>
                <a:gd name="connsiteY105" fmla="*/ 6456 h 9999"/>
                <a:gd name="connsiteX106" fmla="*/ 434 w 10000"/>
                <a:gd name="connsiteY106" fmla="*/ 6633 h 9999"/>
                <a:gd name="connsiteX107" fmla="*/ 512 w 10000"/>
                <a:gd name="connsiteY107" fmla="*/ 6805 h 9999"/>
                <a:gd name="connsiteX108" fmla="*/ 588 w 10000"/>
                <a:gd name="connsiteY108" fmla="*/ 6984 h 9999"/>
                <a:gd name="connsiteX109" fmla="*/ 676 w 10000"/>
                <a:gd name="connsiteY109" fmla="*/ 7156 h 9999"/>
                <a:gd name="connsiteX110" fmla="*/ 764 w 10000"/>
                <a:gd name="connsiteY110" fmla="*/ 7336 h 9999"/>
                <a:gd name="connsiteX111" fmla="*/ 859 w 10000"/>
                <a:gd name="connsiteY111" fmla="*/ 7502 h 9999"/>
                <a:gd name="connsiteX112" fmla="*/ 967 w 10000"/>
                <a:gd name="connsiteY112" fmla="*/ 7665 h 9999"/>
                <a:gd name="connsiteX113" fmla="*/ 1073 w 10000"/>
                <a:gd name="connsiteY113" fmla="*/ 7844 h 9999"/>
                <a:gd name="connsiteX114" fmla="*/ 1178 w 10000"/>
                <a:gd name="connsiteY114" fmla="*/ 8007 h 9999"/>
                <a:gd name="connsiteX115" fmla="*/ 1294 w 10000"/>
                <a:gd name="connsiteY115" fmla="*/ 8168 h 9999"/>
                <a:gd name="connsiteX116" fmla="*/ 1422 w 10000"/>
                <a:gd name="connsiteY116" fmla="*/ 8323 h 9999"/>
                <a:gd name="connsiteX117" fmla="*/ 1546 w 10000"/>
                <a:gd name="connsiteY117" fmla="*/ 8490 h 9999"/>
                <a:gd name="connsiteX118" fmla="*/ 1680 w 10000"/>
                <a:gd name="connsiteY118" fmla="*/ 8651 h 9999"/>
                <a:gd name="connsiteX119" fmla="*/ 1805 w 10000"/>
                <a:gd name="connsiteY119" fmla="*/ 8808 h 9999"/>
                <a:gd name="connsiteX120" fmla="*/ 1952 w 10000"/>
                <a:gd name="connsiteY120" fmla="*/ 8966 h 9999"/>
                <a:gd name="connsiteX121" fmla="*/ 2098 w 10000"/>
                <a:gd name="connsiteY121" fmla="*/ 9114 h 9999"/>
                <a:gd name="connsiteX122" fmla="*/ 2251 w 10000"/>
                <a:gd name="connsiteY122" fmla="*/ 9273 h 9999"/>
                <a:gd name="connsiteX123" fmla="*/ 2405 w 10000"/>
                <a:gd name="connsiteY123" fmla="*/ 9420 h 9999"/>
                <a:gd name="connsiteX124" fmla="*/ 2558 w 10000"/>
                <a:gd name="connsiteY124" fmla="*/ 9566 h 9999"/>
                <a:gd name="connsiteX125" fmla="*/ 2724 w 10000"/>
                <a:gd name="connsiteY125" fmla="*/ 9706 h 9999"/>
                <a:gd name="connsiteX126" fmla="*/ 2899 w 10000"/>
                <a:gd name="connsiteY126" fmla="*/ 9855 h 9999"/>
                <a:gd name="connsiteX127" fmla="*/ 3062 w 10000"/>
                <a:gd name="connsiteY127" fmla="*/ 9999 h 9999"/>
                <a:gd name="connsiteX128" fmla="*/ 5667 w 10000"/>
                <a:gd name="connsiteY128" fmla="*/ 7469 h 9999"/>
                <a:gd name="connsiteX0" fmla="*/ 5667 w 10000"/>
                <a:gd name="connsiteY0" fmla="*/ 7470 h 10001"/>
                <a:gd name="connsiteX1" fmla="*/ 10000 w 10000"/>
                <a:gd name="connsiteY1" fmla="*/ 6834 h 10001"/>
                <a:gd name="connsiteX2" fmla="*/ 9844 w 10000"/>
                <a:gd name="connsiteY2" fmla="*/ 6720 h 10001"/>
                <a:gd name="connsiteX3" fmla="*/ 9710 w 10000"/>
                <a:gd name="connsiteY3" fmla="*/ 6594 h 10001"/>
                <a:gd name="connsiteX4" fmla="*/ 9574 w 10000"/>
                <a:gd name="connsiteY4" fmla="*/ 6468 h 10001"/>
                <a:gd name="connsiteX5" fmla="*/ 9451 w 10000"/>
                <a:gd name="connsiteY5" fmla="*/ 6339 h 10001"/>
                <a:gd name="connsiteX6" fmla="*/ 9334 w 10000"/>
                <a:gd name="connsiteY6" fmla="*/ 6210 h 10001"/>
                <a:gd name="connsiteX7" fmla="*/ 9215 w 10000"/>
                <a:gd name="connsiteY7" fmla="*/ 6074 h 10001"/>
                <a:gd name="connsiteX8" fmla="*/ 9110 w 10000"/>
                <a:gd name="connsiteY8" fmla="*/ 5929 h 10001"/>
                <a:gd name="connsiteX9" fmla="*/ 9063 w 10000"/>
                <a:gd name="connsiteY9" fmla="*/ 5866 h 10001"/>
                <a:gd name="connsiteX10" fmla="*/ 9013 w 10000"/>
                <a:gd name="connsiteY10" fmla="*/ 5790 h 10001"/>
                <a:gd name="connsiteX11" fmla="*/ 8976 w 10000"/>
                <a:gd name="connsiteY11" fmla="*/ 5722 h 10001"/>
                <a:gd name="connsiteX12" fmla="*/ 8927 w 10000"/>
                <a:gd name="connsiteY12" fmla="*/ 5647 h 10001"/>
                <a:gd name="connsiteX13" fmla="*/ 8888 w 10000"/>
                <a:gd name="connsiteY13" fmla="*/ 5576 h 10001"/>
                <a:gd name="connsiteX14" fmla="*/ 8849 w 10000"/>
                <a:gd name="connsiteY14" fmla="*/ 5502 h 10001"/>
                <a:gd name="connsiteX15" fmla="*/ 8821 w 10000"/>
                <a:gd name="connsiteY15" fmla="*/ 5425 h 10001"/>
                <a:gd name="connsiteX16" fmla="*/ 8782 w 10000"/>
                <a:gd name="connsiteY16" fmla="*/ 5354 h 10001"/>
                <a:gd name="connsiteX17" fmla="*/ 8761 w 10000"/>
                <a:gd name="connsiteY17" fmla="*/ 5275 h 10001"/>
                <a:gd name="connsiteX18" fmla="*/ 8723 w 10000"/>
                <a:gd name="connsiteY18" fmla="*/ 5201 h 10001"/>
                <a:gd name="connsiteX19" fmla="*/ 8703 w 10000"/>
                <a:gd name="connsiteY19" fmla="*/ 5123 h 10001"/>
                <a:gd name="connsiteX20" fmla="*/ 8687 w 10000"/>
                <a:gd name="connsiteY20" fmla="*/ 5049 h 10001"/>
                <a:gd name="connsiteX21" fmla="*/ 8666 w 10000"/>
                <a:gd name="connsiteY21" fmla="*/ 4966 h 10001"/>
                <a:gd name="connsiteX22" fmla="*/ 8647 w 10000"/>
                <a:gd name="connsiteY22" fmla="*/ 4893 h 10001"/>
                <a:gd name="connsiteX23" fmla="*/ 8629 w 10000"/>
                <a:gd name="connsiteY23" fmla="*/ 4815 h 10001"/>
                <a:gd name="connsiteX24" fmla="*/ 8618 w 10000"/>
                <a:gd name="connsiteY24" fmla="*/ 4739 h 10001"/>
                <a:gd name="connsiteX25" fmla="*/ 8608 w 10000"/>
                <a:gd name="connsiteY25" fmla="*/ 4656 h 10001"/>
                <a:gd name="connsiteX26" fmla="*/ 8594 w 10000"/>
                <a:gd name="connsiteY26" fmla="*/ 4573 h 10001"/>
                <a:gd name="connsiteX27" fmla="*/ 8594 w 10000"/>
                <a:gd name="connsiteY27" fmla="*/ 4497 h 10001"/>
                <a:gd name="connsiteX28" fmla="*/ 8586 w 10000"/>
                <a:gd name="connsiteY28" fmla="*/ 4413 h 10001"/>
                <a:gd name="connsiteX29" fmla="*/ 8594 w 10000"/>
                <a:gd name="connsiteY29" fmla="*/ 4334 h 10001"/>
                <a:gd name="connsiteX30" fmla="*/ 8608 w 10000"/>
                <a:gd name="connsiteY30" fmla="*/ 4248 h 10001"/>
                <a:gd name="connsiteX31" fmla="*/ 8608 w 10000"/>
                <a:gd name="connsiteY31" fmla="*/ 4160 h 10001"/>
                <a:gd name="connsiteX32" fmla="*/ 8618 w 10000"/>
                <a:gd name="connsiteY32" fmla="*/ 4075 h 10001"/>
                <a:gd name="connsiteX33" fmla="*/ 8629 w 10000"/>
                <a:gd name="connsiteY33" fmla="*/ 3990 h 10001"/>
                <a:gd name="connsiteX34" fmla="*/ 8647 w 10000"/>
                <a:gd name="connsiteY34" fmla="*/ 3915 h 10001"/>
                <a:gd name="connsiteX35" fmla="*/ 8666 w 10000"/>
                <a:gd name="connsiteY35" fmla="*/ 3830 h 10001"/>
                <a:gd name="connsiteX36" fmla="*/ 8687 w 10000"/>
                <a:gd name="connsiteY36" fmla="*/ 3750 h 10001"/>
                <a:gd name="connsiteX37" fmla="*/ 8712 w 10000"/>
                <a:gd name="connsiteY37" fmla="*/ 3665 h 10001"/>
                <a:gd name="connsiteX38" fmla="*/ 8744 w 10000"/>
                <a:gd name="connsiteY38" fmla="*/ 3589 h 10001"/>
                <a:gd name="connsiteX39" fmla="*/ 8773 w 10000"/>
                <a:gd name="connsiteY39" fmla="*/ 3508 h 10001"/>
                <a:gd name="connsiteX40" fmla="*/ 8801 w 10000"/>
                <a:gd name="connsiteY40" fmla="*/ 3424 h 10001"/>
                <a:gd name="connsiteX41" fmla="*/ 8838 w 10000"/>
                <a:gd name="connsiteY41" fmla="*/ 3355 h 10001"/>
                <a:gd name="connsiteX42" fmla="*/ 8879 w 10000"/>
                <a:gd name="connsiteY42" fmla="*/ 3275 h 10001"/>
                <a:gd name="connsiteX43" fmla="*/ 8919 w 10000"/>
                <a:gd name="connsiteY43" fmla="*/ 3194 h 10001"/>
                <a:gd name="connsiteX44" fmla="*/ 8965 w 10000"/>
                <a:gd name="connsiteY44" fmla="*/ 3118 h 10001"/>
                <a:gd name="connsiteX45" fmla="*/ 9006 w 10000"/>
                <a:gd name="connsiteY45" fmla="*/ 3046 h 10001"/>
                <a:gd name="connsiteX46" fmla="*/ 9053 w 10000"/>
                <a:gd name="connsiteY46" fmla="*/ 2964 h 10001"/>
                <a:gd name="connsiteX47" fmla="*/ 9110 w 10000"/>
                <a:gd name="connsiteY47" fmla="*/ 2898 h 10001"/>
                <a:gd name="connsiteX48" fmla="*/ 9157 w 10000"/>
                <a:gd name="connsiteY48" fmla="*/ 2823 h 10001"/>
                <a:gd name="connsiteX49" fmla="*/ 9215 w 10000"/>
                <a:gd name="connsiteY49" fmla="*/ 2754 h 10001"/>
                <a:gd name="connsiteX50" fmla="*/ 9267 w 10000"/>
                <a:gd name="connsiteY50" fmla="*/ 2676 h 10001"/>
                <a:gd name="connsiteX51" fmla="*/ 9334 w 10000"/>
                <a:gd name="connsiteY51" fmla="*/ 2613 h 10001"/>
                <a:gd name="connsiteX52" fmla="*/ 9401 w 10000"/>
                <a:gd name="connsiteY52" fmla="*/ 2538 h 10001"/>
                <a:gd name="connsiteX53" fmla="*/ 9459 w 10000"/>
                <a:gd name="connsiteY53" fmla="*/ 2471 h 10001"/>
                <a:gd name="connsiteX54" fmla="*/ 9524 w 10000"/>
                <a:gd name="connsiteY54" fmla="*/ 2404 h 10001"/>
                <a:gd name="connsiteX55" fmla="*/ 9594 w 10000"/>
                <a:gd name="connsiteY55" fmla="*/ 2331 h 10001"/>
                <a:gd name="connsiteX56" fmla="*/ 9661 w 10000"/>
                <a:gd name="connsiteY56" fmla="*/ 2269 h 10001"/>
                <a:gd name="connsiteX57" fmla="*/ 9740 w 10000"/>
                <a:gd name="connsiteY57" fmla="*/ 2203 h 10001"/>
                <a:gd name="connsiteX58" fmla="*/ 9807 w 10000"/>
                <a:gd name="connsiteY58" fmla="*/ 2145 h 10001"/>
                <a:gd name="connsiteX59" fmla="*/ 9883 w 10000"/>
                <a:gd name="connsiteY59" fmla="*/ 2077 h 10001"/>
                <a:gd name="connsiteX60" fmla="*/ 9917 w 10000"/>
                <a:gd name="connsiteY60" fmla="*/ 2042 h 10001"/>
                <a:gd name="connsiteX61" fmla="*/ 7025 w 10000"/>
                <a:gd name="connsiteY61" fmla="*/ 6 h 10001"/>
                <a:gd name="connsiteX62" fmla="*/ 1826 w 10000"/>
                <a:gd name="connsiteY62" fmla="*/ 0 h 10001"/>
                <a:gd name="connsiteX63" fmla="*/ 1701 w 10000"/>
                <a:gd name="connsiteY63" fmla="*/ 154 h 10001"/>
                <a:gd name="connsiteX64" fmla="*/ 1595 w 10000"/>
                <a:gd name="connsiteY64" fmla="*/ 269 h 10001"/>
                <a:gd name="connsiteX65" fmla="*/ 1496 w 10000"/>
                <a:gd name="connsiteY65" fmla="*/ 397 h 10001"/>
                <a:gd name="connsiteX66" fmla="*/ 1390 w 10000"/>
                <a:gd name="connsiteY66" fmla="*/ 523 h 10001"/>
                <a:gd name="connsiteX67" fmla="*/ 1303 w 10000"/>
                <a:gd name="connsiteY67" fmla="*/ 650 h 10001"/>
                <a:gd name="connsiteX68" fmla="*/ 1208 w 10000"/>
                <a:gd name="connsiteY68" fmla="*/ 775 h 10001"/>
                <a:gd name="connsiteX69" fmla="*/ 1122 w 10000"/>
                <a:gd name="connsiteY69" fmla="*/ 910 h 10001"/>
                <a:gd name="connsiteX70" fmla="*/ 1033 w 10000"/>
                <a:gd name="connsiteY70" fmla="*/ 1043 h 10001"/>
                <a:gd name="connsiteX71" fmla="*/ 958 w 10000"/>
                <a:gd name="connsiteY71" fmla="*/ 1166 h 10001"/>
                <a:gd name="connsiteX72" fmla="*/ 880 w 10000"/>
                <a:gd name="connsiteY72" fmla="*/ 1304 h 10001"/>
                <a:gd name="connsiteX73" fmla="*/ 802 w 10000"/>
                <a:gd name="connsiteY73" fmla="*/ 1432 h 10001"/>
                <a:gd name="connsiteX74" fmla="*/ 723 w 10000"/>
                <a:gd name="connsiteY74" fmla="*/ 1572 h 10001"/>
                <a:gd name="connsiteX75" fmla="*/ 657 w 10000"/>
                <a:gd name="connsiteY75" fmla="*/ 1699 h 10001"/>
                <a:gd name="connsiteX76" fmla="*/ 588 w 10000"/>
                <a:gd name="connsiteY76" fmla="*/ 1833 h 10001"/>
                <a:gd name="connsiteX77" fmla="*/ 533 w 10000"/>
                <a:gd name="connsiteY77" fmla="*/ 1968 h 10001"/>
                <a:gd name="connsiteX78" fmla="*/ 474 w 10000"/>
                <a:gd name="connsiteY78" fmla="*/ 2104 h 10001"/>
                <a:gd name="connsiteX79" fmla="*/ 415 w 10000"/>
                <a:gd name="connsiteY79" fmla="*/ 2248 h 10001"/>
                <a:gd name="connsiteX80" fmla="*/ 371 w 10000"/>
                <a:gd name="connsiteY80" fmla="*/ 2384 h 10001"/>
                <a:gd name="connsiteX81" fmla="*/ 308 w 10000"/>
                <a:gd name="connsiteY81" fmla="*/ 2526 h 10001"/>
                <a:gd name="connsiteX82" fmla="*/ 269 w 10000"/>
                <a:gd name="connsiteY82" fmla="*/ 2666 h 10001"/>
                <a:gd name="connsiteX83" fmla="*/ 225 w 10000"/>
                <a:gd name="connsiteY83" fmla="*/ 2809 h 10001"/>
                <a:gd name="connsiteX84" fmla="*/ 191 w 10000"/>
                <a:gd name="connsiteY84" fmla="*/ 2953 h 10001"/>
                <a:gd name="connsiteX85" fmla="*/ 152 w 10000"/>
                <a:gd name="connsiteY85" fmla="*/ 3095 h 10001"/>
                <a:gd name="connsiteX86" fmla="*/ 126 w 10000"/>
                <a:gd name="connsiteY86" fmla="*/ 3235 h 10001"/>
                <a:gd name="connsiteX87" fmla="*/ 100 w 10000"/>
                <a:gd name="connsiteY87" fmla="*/ 3382 h 10001"/>
                <a:gd name="connsiteX88" fmla="*/ 65 w 10000"/>
                <a:gd name="connsiteY88" fmla="*/ 3534 h 10001"/>
                <a:gd name="connsiteX89" fmla="*/ 47 w 10000"/>
                <a:gd name="connsiteY89" fmla="*/ 3678 h 10001"/>
                <a:gd name="connsiteX90" fmla="*/ 24 w 10000"/>
                <a:gd name="connsiteY90" fmla="*/ 3822 h 10001"/>
                <a:gd name="connsiteX91" fmla="*/ 17 w 10000"/>
                <a:gd name="connsiteY91" fmla="*/ 3966 h 10001"/>
                <a:gd name="connsiteX92" fmla="*/ 7 w 10000"/>
                <a:gd name="connsiteY92" fmla="*/ 4116 h 10001"/>
                <a:gd name="connsiteX93" fmla="*/ 0 w 10000"/>
                <a:gd name="connsiteY93" fmla="*/ 4261 h 10001"/>
                <a:gd name="connsiteX94" fmla="*/ 0 w 10000"/>
                <a:gd name="connsiteY94" fmla="*/ 4413 h 10001"/>
                <a:gd name="connsiteX95" fmla="*/ 7 w 10000"/>
                <a:gd name="connsiteY95" fmla="*/ 4606 h 10001"/>
                <a:gd name="connsiteX96" fmla="*/ 7 w 10000"/>
                <a:gd name="connsiteY96" fmla="*/ 4798 h 10001"/>
                <a:gd name="connsiteX97" fmla="*/ 24 w 10000"/>
                <a:gd name="connsiteY97" fmla="*/ 4977 h 10001"/>
                <a:gd name="connsiteX98" fmla="*/ 47 w 10000"/>
                <a:gd name="connsiteY98" fmla="*/ 5167 h 10001"/>
                <a:gd name="connsiteX99" fmla="*/ 78 w 10000"/>
                <a:gd name="connsiteY99" fmla="*/ 5354 h 10001"/>
                <a:gd name="connsiteX100" fmla="*/ 119 w 10000"/>
                <a:gd name="connsiteY100" fmla="*/ 5541 h 10001"/>
                <a:gd name="connsiteX101" fmla="*/ 152 w 10000"/>
                <a:gd name="connsiteY101" fmla="*/ 5726 h 10001"/>
                <a:gd name="connsiteX102" fmla="*/ 191 w 10000"/>
                <a:gd name="connsiteY102" fmla="*/ 5910 h 10001"/>
                <a:gd name="connsiteX103" fmla="*/ 253 w 10000"/>
                <a:gd name="connsiteY103" fmla="*/ 6094 h 10001"/>
                <a:gd name="connsiteX104" fmla="*/ 308 w 10000"/>
                <a:gd name="connsiteY104" fmla="*/ 6274 h 10001"/>
                <a:gd name="connsiteX105" fmla="*/ 371 w 10000"/>
                <a:gd name="connsiteY105" fmla="*/ 6457 h 10001"/>
                <a:gd name="connsiteX106" fmla="*/ 434 w 10000"/>
                <a:gd name="connsiteY106" fmla="*/ 6634 h 10001"/>
                <a:gd name="connsiteX107" fmla="*/ 512 w 10000"/>
                <a:gd name="connsiteY107" fmla="*/ 6806 h 10001"/>
                <a:gd name="connsiteX108" fmla="*/ 588 w 10000"/>
                <a:gd name="connsiteY108" fmla="*/ 6985 h 10001"/>
                <a:gd name="connsiteX109" fmla="*/ 676 w 10000"/>
                <a:gd name="connsiteY109" fmla="*/ 7157 h 10001"/>
                <a:gd name="connsiteX110" fmla="*/ 764 w 10000"/>
                <a:gd name="connsiteY110" fmla="*/ 7337 h 10001"/>
                <a:gd name="connsiteX111" fmla="*/ 859 w 10000"/>
                <a:gd name="connsiteY111" fmla="*/ 7503 h 10001"/>
                <a:gd name="connsiteX112" fmla="*/ 967 w 10000"/>
                <a:gd name="connsiteY112" fmla="*/ 7666 h 10001"/>
                <a:gd name="connsiteX113" fmla="*/ 1073 w 10000"/>
                <a:gd name="connsiteY113" fmla="*/ 7845 h 10001"/>
                <a:gd name="connsiteX114" fmla="*/ 1178 w 10000"/>
                <a:gd name="connsiteY114" fmla="*/ 8008 h 10001"/>
                <a:gd name="connsiteX115" fmla="*/ 1294 w 10000"/>
                <a:gd name="connsiteY115" fmla="*/ 8169 h 10001"/>
                <a:gd name="connsiteX116" fmla="*/ 1422 w 10000"/>
                <a:gd name="connsiteY116" fmla="*/ 8324 h 10001"/>
                <a:gd name="connsiteX117" fmla="*/ 1546 w 10000"/>
                <a:gd name="connsiteY117" fmla="*/ 8491 h 10001"/>
                <a:gd name="connsiteX118" fmla="*/ 1680 w 10000"/>
                <a:gd name="connsiteY118" fmla="*/ 8652 h 10001"/>
                <a:gd name="connsiteX119" fmla="*/ 1805 w 10000"/>
                <a:gd name="connsiteY119" fmla="*/ 8809 h 10001"/>
                <a:gd name="connsiteX120" fmla="*/ 1952 w 10000"/>
                <a:gd name="connsiteY120" fmla="*/ 8967 h 10001"/>
                <a:gd name="connsiteX121" fmla="*/ 2098 w 10000"/>
                <a:gd name="connsiteY121" fmla="*/ 9115 h 10001"/>
                <a:gd name="connsiteX122" fmla="*/ 2251 w 10000"/>
                <a:gd name="connsiteY122" fmla="*/ 9274 h 10001"/>
                <a:gd name="connsiteX123" fmla="*/ 2405 w 10000"/>
                <a:gd name="connsiteY123" fmla="*/ 9421 h 10001"/>
                <a:gd name="connsiteX124" fmla="*/ 2558 w 10000"/>
                <a:gd name="connsiteY124" fmla="*/ 9567 h 10001"/>
                <a:gd name="connsiteX125" fmla="*/ 2724 w 10000"/>
                <a:gd name="connsiteY125" fmla="*/ 9707 h 10001"/>
                <a:gd name="connsiteX126" fmla="*/ 2899 w 10000"/>
                <a:gd name="connsiteY126" fmla="*/ 9856 h 10001"/>
                <a:gd name="connsiteX127" fmla="*/ 3062 w 10000"/>
                <a:gd name="connsiteY127" fmla="*/ 10001 h 10001"/>
                <a:gd name="connsiteX128" fmla="*/ 5667 w 10000"/>
                <a:gd name="connsiteY128" fmla="*/ 7470 h 10001"/>
                <a:gd name="connsiteX0" fmla="*/ 5667 w 10000"/>
                <a:gd name="connsiteY0" fmla="*/ 7470 h 10001"/>
                <a:gd name="connsiteX1" fmla="*/ 10000 w 10000"/>
                <a:gd name="connsiteY1" fmla="*/ 6834 h 10001"/>
                <a:gd name="connsiteX2" fmla="*/ 9844 w 10000"/>
                <a:gd name="connsiteY2" fmla="*/ 6720 h 10001"/>
                <a:gd name="connsiteX3" fmla="*/ 9710 w 10000"/>
                <a:gd name="connsiteY3" fmla="*/ 6594 h 10001"/>
                <a:gd name="connsiteX4" fmla="*/ 9574 w 10000"/>
                <a:gd name="connsiteY4" fmla="*/ 6468 h 10001"/>
                <a:gd name="connsiteX5" fmla="*/ 9451 w 10000"/>
                <a:gd name="connsiteY5" fmla="*/ 6339 h 10001"/>
                <a:gd name="connsiteX6" fmla="*/ 9334 w 10000"/>
                <a:gd name="connsiteY6" fmla="*/ 6210 h 10001"/>
                <a:gd name="connsiteX7" fmla="*/ 9215 w 10000"/>
                <a:gd name="connsiteY7" fmla="*/ 6074 h 10001"/>
                <a:gd name="connsiteX8" fmla="*/ 9110 w 10000"/>
                <a:gd name="connsiteY8" fmla="*/ 5929 h 10001"/>
                <a:gd name="connsiteX9" fmla="*/ 9063 w 10000"/>
                <a:gd name="connsiteY9" fmla="*/ 5866 h 10001"/>
                <a:gd name="connsiteX10" fmla="*/ 9013 w 10000"/>
                <a:gd name="connsiteY10" fmla="*/ 5790 h 10001"/>
                <a:gd name="connsiteX11" fmla="*/ 8976 w 10000"/>
                <a:gd name="connsiteY11" fmla="*/ 5722 h 10001"/>
                <a:gd name="connsiteX12" fmla="*/ 8927 w 10000"/>
                <a:gd name="connsiteY12" fmla="*/ 5647 h 10001"/>
                <a:gd name="connsiteX13" fmla="*/ 8888 w 10000"/>
                <a:gd name="connsiteY13" fmla="*/ 5576 h 10001"/>
                <a:gd name="connsiteX14" fmla="*/ 8849 w 10000"/>
                <a:gd name="connsiteY14" fmla="*/ 5502 h 10001"/>
                <a:gd name="connsiteX15" fmla="*/ 8821 w 10000"/>
                <a:gd name="connsiteY15" fmla="*/ 5425 h 10001"/>
                <a:gd name="connsiteX16" fmla="*/ 8782 w 10000"/>
                <a:gd name="connsiteY16" fmla="*/ 5354 h 10001"/>
                <a:gd name="connsiteX17" fmla="*/ 8761 w 10000"/>
                <a:gd name="connsiteY17" fmla="*/ 5275 h 10001"/>
                <a:gd name="connsiteX18" fmla="*/ 8723 w 10000"/>
                <a:gd name="connsiteY18" fmla="*/ 5201 h 10001"/>
                <a:gd name="connsiteX19" fmla="*/ 8703 w 10000"/>
                <a:gd name="connsiteY19" fmla="*/ 5123 h 10001"/>
                <a:gd name="connsiteX20" fmla="*/ 8687 w 10000"/>
                <a:gd name="connsiteY20" fmla="*/ 5049 h 10001"/>
                <a:gd name="connsiteX21" fmla="*/ 8666 w 10000"/>
                <a:gd name="connsiteY21" fmla="*/ 4966 h 10001"/>
                <a:gd name="connsiteX22" fmla="*/ 8647 w 10000"/>
                <a:gd name="connsiteY22" fmla="*/ 4893 h 10001"/>
                <a:gd name="connsiteX23" fmla="*/ 8629 w 10000"/>
                <a:gd name="connsiteY23" fmla="*/ 4815 h 10001"/>
                <a:gd name="connsiteX24" fmla="*/ 8618 w 10000"/>
                <a:gd name="connsiteY24" fmla="*/ 4739 h 10001"/>
                <a:gd name="connsiteX25" fmla="*/ 8608 w 10000"/>
                <a:gd name="connsiteY25" fmla="*/ 4656 h 10001"/>
                <a:gd name="connsiteX26" fmla="*/ 8594 w 10000"/>
                <a:gd name="connsiteY26" fmla="*/ 4573 h 10001"/>
                <a:gd name="connsiteX27" fmla="*/ 8594 w 10000"/>
                <a:gd name="connsiteY27" fmla="*/ 4497 h 10001"/>
                <a:gd name="connsiteX28" fmla="*/ 8586 w 10000"/>
                <a:gd name="connsiteY28" fmla="*/ 4413 h 10001"/>
                <a:gd name="connsiteX29" fmla="*/ 8594 w 10000"/>
                <a:gd name="connsiteY29" fmla="*/ 4334 h 10001"/>
                <a:gd name="connsiteX30" fmla="*/ 8608 w 10000"/>
                <a:gd name="connsiteY30" fmla="*/ 4248 h 10001"/>
                <a:gd name="connsiteX31" fmla="*/ 8608 w 10000"/>
                <a:gd name="connsiteY31" fmla="*/ 4160 h 10001"/>
                <a:gd name="connsiteX32" fmla="*/ 8618 w 10000"/>
                <a:gd name="connsiteY32" fmla="*/ 4075 h 10001"/>
                <a:gd name="connsiteX33" fmla="*/ 8629 w 10000"/>
                <a:gd name="connsiteY33" fmla="*/ 3990 h 10001"/>
                <a:gd name="connsiteX34" fmla="*/ 8647 w 10000"/>
                <a:gd name="connsiteY34" fmla="*/ 3915 h 10001"/>
                <a:gd name="connsiteX35" fmla="*/ 8666 w 10000"/>
                <a:gd name="connsiteY35" fmla="*/ 3830 h 10001"/>
                <a:gd name="connsiteX36" fmla="*/ 8687 w 10000"/>
                <a:gd name="connsiteY36" fmla="*/ 3750 h 10001"/>
                <a:gd name="connsiteX37" fmla="*/ 8712 w 10000"/>
                <a:gd name="connsiteY37" fmla="*/ 3665 h 10001"/>
                <a:gd name="connsiteX38" fmla="*/ 8744 w 10000"/>
                <a:gd name="connsiteY38" fmla="*/ 3589 h 10001"/>
                <a:gd name="connsiteX39" fmla="*/ 8773 w 10000"/>
                <a:gd name="connsiteY39" fmla="*/ 3508 h 10001"/>
                <a:gd name="connsiteX40" fmla="*/ 8801 w 10000"/>
                <a:gd name="connsiteY40" fmla="*/ 3424 h 10001"/>
                <a:gd name="connsiteX41" fmla="*/ 8838 w 10000"/>
                <a:gd name="connsiteY41" fmla="*/ 3355 h 10001"/>
                <a:gd name="connsiteX42" fmla="*/ 8879 w 10000"/>
                <a:gd name="connsiteY42" fmla="*/ 3275 h 10001"/>
                <a:gd name="connsiteX43" fmla="*/ 8919 w 10000"/>
                <a:gd name="connsiteY43" fmla="*/ 3194 h 10001"/>
                <a:gd name="connsiteX44" fmla="*/ 8965 w 10000"/>
                <a:gd name="connsiteY44" fmla="*/ 3118 h 10001"/>
                <a:gd name="connsiteX45" fmla="*/ 9006 w 10000"/>
                <a:gd name="connsiteY45" fmla="*/ 3046 h 10001"/>
                <a:gd name="connsiteX46" fmla="*/ 9053 w 10000"/>
                <a:gd name="connsiteY46" fmla="*/ 2964 h 10001"/>
                <a:gd name="connsiteX47" fmla="*/ 9110 w 10000"/>
                <a:gd name="connsiteY47" fmla="*/ 2898 h 10001"/>
                <a:gd name="connsiteX48" fmla="*/ 9157 w 10000"/>
                <a:gd name="connsiteY48" fmla="*/ 2823 h 10001"/>
                <a:gd name="connsiteX49" fmla="*/ 9215 w 10000"/>
                <a:gd name="connsiteY49" fmla="*/ 2754 h 10001"/>
                <a:gd name="connsiteX50" fmla="*/ 9267 w 10000"/>
                <a:gd name="connsiteY50" fmla="*/ 2676 h 10001"/>
                <a:gd name="connsiteX51" fmla="*/ 9334 w 10000"/>
                <a:gd name="connsiteY51" fmla="*/ 2613 h 10001"/>
                <a:gd name="connsiteX52" fmla="*/ 9401 w 10000"/>
                <a:gd name="connsiteY52" fmla="*/ 2538 h 10001"/>
                <a:gd name="connsiteX53" fmla="*/ 9459 w 10000"/>
                <a:gd name="connsiteY53" fmla="*/ 2471 h 10001"/>
                <a:gd name="connsiteX54" fmla="*/ 9524 w 10000"/>
                <a:gd name="connsiteY54" fmla="*/ 2404 h 10001"/>
                <a:gd name="connsiteX55" fmla="*/ 9594 w 10000"/>
                <a:gd name="connsiteY55" fmla="*/ 2331 h 10001"/>
                <a:gd name="connsiteX56" fmla="*/ 9661 w 10000"/>
                <a:gd name="connsiteY56" fmla="*/ 2269 h 10001"/>
                <a:gd name="connsiteX57" fmla="*/ 9740 w 10000"/>
                <a:gd name="connsiteY57" fmla="*/ 2203 h 10001"/>
                <a:gd name="connsiteX58" fmla="*/ 9807 w 10000"/>
                <a:gd name="connsiteY58" fmla="*/ 2145 h 10001"/>
                <a:gd name="connsiteX59" fmla="*/ 9883 w 10000"/>
                <a:gd name="connsiteY59" fmla="*/ 2077 h 10001"/>
                <a:gd name="connsiteX60" fmla="*/ 9917 w 10000"/>
                <a:gd name="connsiteY60" fmla="*/ 2042 h 10001"/>
                <a:gd name="connsiteX61" fmla="*/ 7025 w 10000"/>
                <a:gd name="connsiteY61" fmla="*/ 6 h 10001"/>
                <a:gd name="connsiteX62" fmla="*/ 1826 w 10000"/>
                <a:gd name="connsiteY62" fmla="*/ 0 h 10001"/>
                <a:gd name="connsiteX63" fmla="*/ 1701 w 10000"/>
                <a:gd name="connsiteY63" fmla="*/ 154 h 10001"/>
                <a:gd name="connsiteX64" fmla="*/ 1595 w 10000"/>
                <a:gd name="connsiteY64" fmla="*/ 269 h 10001"/>
                <a:gd name="connsiteX65" fmla="*/ 1496 w 10000"/>
                <a:gd name="connsiteY65" fmla="*/ 397 h 10001"/>
                <a:gd name="connsiteX66" fmla="*/ 1390 w 10000"/>
                <a:gd name="connsiteY66" fmla="*/ 523 h 10001"/>
                <a:gd name="connsiteX67" fmla="*/ 1303 w 10000"/>
                <a:gd name="connsiteY67" fmla="*/ 650 h 10001"/>
                <a:gd name="connsiteX68" fmla="*/ 1208 w 10000"/>
                <a:gd name="connsiteY68" fmla="*/ 775 h 10001"/>
                <a:gd name="connsiteX69" fmla="*/ 1122 w 10000"/>
                <a:gd name="connsiteY69" fmla="*/ 910 h 10001"/>
                <a:gd name="connsiteX70" fmla="*/ 1033 w 10000"/>
                <a:gd name="connsiteY70" fmla="*/ 1043 h 10001"/>
                <a:gd name="connsiteX71" fmla="*/ 958 w 10000"/>
                <a:gd name="connsiteY71" fmla="*/ 1166 h 10001"/>
                <a:gd name="connsiteX72" fmla="*/ 880 w 10000"/>
                <a:gd name="connsiteY72" fmla="*/ 1304 h 10001"/>
                <a:gd name="connsiteX73" fmla="*/ 802 w 10000"/>
                <a:gd name="connsiteY73" fmla="*/ 1432 h 10001"/>
                <a:gd name="connsiteX74" fmla="*/ 723 w 10000"/>
                <a:gd name="connsiteY74" fmla="*/ 1572 h 10001"/>
                <a:gd name="connsiteX75" fmla="*/ 657 w 10000"/>
                <a:gd name="connsiteY75" fmla="*/ 1699 h 10001"/>
                <a:gd name="connsiteX76" fmla="*/ 588 w 10000"/>
                <a:gd name="connsiteY76" fmla="*/ 1833 h 10001"/>
                <a:gd name="connsiteX77" fmla="*/ 533 w 10000"/>
                <a:gd name="connsiteY77" fmla="*/ 1968 h 10001"/>
                <a:gd name="connsiteX78" fmla="*/ 474 w 10000"/>
                <a:gd name="connsiteY78" fmla="*/ 2104 h 10001"/>
                <a:gd name="connsiteX79" fmla="*/ 415 w 10000"/>
                <a:gd name="connsiteY79" fmla="*/ 2248 h 10001"/>
                <a:gd name="connsiteX80" fmla="*/ 371 w 10000"/>
                <a:gd name="connsiteY80" fmla="*/ 2384 h 10001"/>
                <a:gd name="connsiteX81" fmla="*/ 308 w 10000"/>
                <a:gd name="connsiteY81" fmla="*/ 2526 h 10001"/>
                <a:gd name="connsiteX82" fmla="*/ 269 w 10000"/>
                <a:gd name="connsiteY82" fmla="*/ 2666 h 10001"/>
                <a:gd name="connsiteX83" fmla="*/ 225 w 10000"/>
                <a:gd name="connsiteY83" fmla="*/ 2809 h 10001"/>
                <a:gd name="connsiteX84" fmla="*/ 191 w 10000"/>
                <a:gd name="connsiteY84" fmla="*/ 2953 h 10001"/>
                <a:gd name="connsiteX85" fmla="*/ 152 w 10000"/>
                <a:gd name="connsiteY85" fmla="*/ 3095 h 10001"/>
                <a:gd name="connsiteX86" fmla="*/ 126 w 10000"/>
                <a:gd name="connsiteY86" fmla="*/ 3235 h 10001"/>
                <a:gd name="connsiteX87" fmla="*/ 100 w 10000"/>
                <a:gd name="connsiteY87" fmla="*/ 3382 h 10001"/>
                <a:gd name="connsiteX88" fmla="*/ 65 w 10000"/>
                <a:gd name="connsiteY88" fmla="*/ 3534 h 10001"/>
                <a:gd name="connsiteX89" fmla="*/ 47 w 10000"/>
                <a:gd name="connsiteY89" fmla="*/ 3678 h 10001"/>
                <a:gd name="connsiteX90" fmla="*/ 24 w 10000"/>
                <a:gd name="connsiteY90" fmla="*/ 3822 h 10001"/>
                <a:gd name="connsiteX91" fmla="*/ 17 w 10000"/>
                <a:gd name="connsiteY91" fmla="*/ 3966 h 10001"/>
                <a:gd name="connsiteX92" fmla="*/ 7 w 10000"/>
                <a:gd name="connsiteY92" fmla="*/ 4116 h 10001"/>
                <a:gd name="connsiteX93" fmla="*/ 0 w 10000"/>
                <a:gd name="connsiteY93" fmla="*/ 4261 h 10001"/>
                <a:gd name="connsiteX94" fmla="*/ 0 w 10000"/>
                <a:gd name="connsiteY94" fmla="*/ 4413 h 10001"/>
                <a:gd name="connsiteX95" fmla="*/ 7 w 10000"/>
                <a:gd name="connsiteY95" fmla="*/ 4606 h 10001"/>
                <a:gd name="connsiteX96" fmla="*/ 7 w 10000"/>
                <a:gd name="connsiteY96" fmla="*/ 4798 h 10001"/>
                <a:gd name="connsiteX97" fmla="*/ 24 w 10000"/>
                <a:gd name="connsiteY97" fmla="*/ 4977 h 10001"/>
                <a:gd name="connsiteX98" fmla="*/ 47 w 10000"/>
                <a:gd name="connsiteY98" fmla="*/ 5167 h 10001"/>
                <a:gd name="connsiteX99" fmla="*/ 78 w 10000"/>
                <a:gd name="connsiteY99" fmla="*/ 5354 h 10001"/>
                <a:gd name="connsiteX100" fmla="*/ 119 w 10000"/>
                <a:gd name="connsiteY100" fmla="*/ 5541 h 10001"/>
                <a:gd name="connsiteX101" fmla="*/ 152 w 10000"/>
                <a:gd name="connsiteY101" fmla="*/ 5726 h 10001"/>
                <a:gd name="connsiteX102" fmla="*/ 191 w 10000"/>
                <a:gd name="connsiteY102" fmla="*/ 5910 h 10001"/>
                <a:gd name="connsiteX103" fmla="*/ 253 w 10000"/>
                <a:gd name="connsiteY103" fmla="*/ 6094 h 10001"/>
                <a:gd name="connsiteX104" fmla="*/ 308 w 10000"/>
                <a:gd name="connsiteY104" fmla="*/ 6274 h 10001"/>
                <a:gd name="connsiteX105" fmla="*/ 371 w 10000"/>
                <a:gd name="connsiteY105" fmla="*/ 6457 h 10001"/>
                <a:gd name="connsiteX106" fmla="*/ 434 w 10000"/>
                <a:gd name="connsiteY106" fmla="*/ 6634 h 10001"/>
                <a:gd name="connsiteX107" fmla="*/ 512 w 10000"/>
                <a:gd name="connsiteY107" fmla="*/ 6806 h 10001"/>
                <a:gd name="connsiteX108" fmla="*/ 588 w 10000"/>
                <a:gd name="connsiteY108" fmla="*/ 6985 h 10001"/>
                <a:gd name="connsiteX109" fmla="*/ 676 w 10000"/>
                <a:gd name="connsiteY109" fmla="*/ 7157 h 10001"/>
                <a:gd name="connsiteX110" fmla="*/ 764 w 10000"/>
                <a:gd name="connsiteY110" fmla="*/ 7337 h 10001"/>
                <a:gd name="connsiteX111" fmla="*/ 859 w 10000"/>
                <a:gd name="connsiteY111" fmla="*/ 7503 h 10001"/>
                <a:gd name="connsiteX112" fmla="*/ 967 w 10000"/>
                <a:gd name="connsiteY112" fmla="*/ 7666 h 10001"/>
                <a:gd name="connsiteX113" fmla="*/ 1073 w 10000"/>
                <a:gd name="connsiteY113" fmla="*/ 7845 h 10001"/>
                <a:gd name="connsiteX114" fmla="*/ 1178 w 10000"/>
                <a:gd name="connsiteY114" fmla="*/ 8008 h 10001"/>
                <a:gd name="connsiteX115" fmla="*/ 1294 w 10000"/>
                <a:gd name="connsiteY115" fmla="*/ 8169 h 10001"/>
                <a:gd name="connsiteX116" fmla="*/ 1422 w 10000"/>
                <a:gd name="connsiteY116" fmla="*/ 8324 h 10001"/>
                <a:gd name="connsiteX117" fmla="*/ 1546 w 10000"/>
                <a:gd name="connsiteY117" fmla="*/ 8491 h 10001"/>
                <a:gd name="connsiteX118" fmla="*/ 1680 w 10000"/>
                <a:gd name="connsiteY118" fmla="*/ 8652 h 10001"/>
                <a:gd name="connsiteX119" fmla="*/ 1805 w 10000"/>
                <a:gd name="connsiteY119" fmla="*/ 8809 h 10001"/>
                <a:gd name="connsiteX120" fmla="*/ 1952 w 10000"/>
                <a:gd name="connsiteY120" fmla="*/ 8967 h 10001"/>
                <a:gd name="connsiteX121" fmla="*/ 2098 w 10000"/>
                <a:gd name="connsiteY121" fmla="*/ 9115 h 10001"/>
                <a:gd name="connsiteX122" fmla="*/ 2251 w 10000"/>
                <a:gd name="connsiteY122" fmla="*/ 9274 h 10001"/>
                <a:gd name="connsiteX123" fmla="*/ 2405 w 10000"/>
                <a:gd name="connsiteY123" fmla="*/ 9421 h 10001"/>
                <a:gd name="connsiteX124" fmla="*/ 2558 w 10000"/>
                <a:gd name="connsiteY124" fmla="*/ 9567 h 10001"/>
                <a:gd name="connsiteX125" fmla="*/ 2724 w 10000"/>
                <a:gd name="connsiteY125" fmla="*/ 9707 h 10001"/>
                <a:gd name="connsiteX126" fmla="*/ 2899 w 10000"/>
                <a:gd name="connsiteY126" fmla="*/ 9856 h 10001"/>
                <a:gd name="connsiteX127" fmla="*/ 3062 w 10000"/>
                <a:gd name="connsiteY127" fmla="*/ 10001 h 10001"/>
                <a:gd name="connsiteX128" fmla="*/ 5667 w 10000"/>
                <a:gd name="connsiteY128" fmla="*/ 7470 h 10001"/>
                <a:gd name="connsiteX0" fmla="*/ 5667 w 10000"/>
                <a:gd name="connsiteY0" fmla="*/ 7470 h 10001"/>
                <a:gd name="connsiteX1" fmla="*/ 10000 w 10000"/>
                <a:gd name="connsiteY1" fmla="*/ 6834 h 10001"/>
                <a:gd name="connsiteX2" fmla="*/ 9844 w 10000"/>
                <a:gd name="connsiteY2" fmla="*/ 6720 h 10001"/>
                <a:gd name="connsiteX3" fmla="*/ 9710 w 10000"/>
                <a:gd name="connsiteY3" fmla="*/ 6594 h 10001"/>
                <a:gd name="connsiteX4" fmla="*/ 9574 w 10000"/>
                <a:gd name="connsiteY4" fmla="*/ 6468 h 10001"/>
                <a:gd name="connsiteX5" fmla="*/ 9451 w 10000"/>
                <a:gd name="connsiteY5" fmla="*/ 6339 h 10001"/>
                <a:gd name="connsiteX6" fmla="*/ 9334 w 10000"/>
                <a:gd name="connsiteY6" fmla="*/ 6210 h 10001"/>
                <a:gd name="connsiteX7" fmla="*/ 9215 w 10000"/>
                <a:gd name="connsiteY7" fmla="*/ 6074 h 10001"/>
                <a:gd name="connsiteX8" fmla="*/ 9110 w 10000"/>
                <a:gd name="connsiteY8" fmla="*/ 5929 h 10001"/>
                <a:gd name="connsiteX9" fmla="*/ 9063 w 10000"/>
                <a:gd name="connsiteY9" fmla="*/ 5866 h 10001"/>
                <a:gd name="connsiteX10" fmla="*/ 9013 w 10000"/>
                <a:gd name="connsiteY10" fmla="*/ 5790 h 10001"/>
                <a:gd name="connsiteX11" fmla="*/ 8976 w 10000"/>
                <a:gd name="connsiteY11" fmla="*/ 5722 h 10001"/>
                <a:gd name="connsiteX12" fmla="*/ 8927 w 10000"/>
                <a:gd name="connsiteY12" fmla="*/ 5647 h 10001"/>
                <a:gd name="connsiteX13" fmla="*/ 8888 w 10000"/>
                <a:gd name="connsiteY13" fmla="*/ 5576 h 10001"/>
                <a:gd name="connsiteX14" fmla="*/ 8849 w 10000"/>
                <a:gd name="connsiteY14" fmla="*/ 5502 h 10001"/>
                <a:gd name="connsiteX15" fmla="*/ 8821 w 10000"/>
                <a:gd name="connsiteY15" fmla="*/ 5425 h 10001"/>
                <a:gd name="connsiteX16" fmla="*/ 8782 w 10000"/>
                <a:gd name="connsiteY16" fmla="*/ 5354 h 10001"/>
                <a:gd name="connsiteX17" fmla="*/ 8761 w 10000"/>
                <a:gd name="connsiteY17" fmla="*/ 5275 h 10001"/>
                <a:gd name="connsiteX18" fmla="*/ 8723 w 10000"/>
                <a:gd name="connsiteY18" fmla="*/ 5201 h 10001"/>
                <a:gd name="connsiteX19" fmla="*/ 8703 w 10000"/>
                <a:gd name="connsiteY19" fmla="*/ 5123 h 10001"/>
                <a:gd name="connsiteX20" fmla="*/ 8687 w 10000"/>
                <a:gd name="connsiteY20" fmla="*/ 5049 h 10001"/>
                <a:gd name="connsiteX21" fmla="*/ 8666 w 10000"/>
                <a:gd name="connsiteY21" fmla="*/ 4966 h 10001"/>
                <a:gd name="connsiteX22" fmla="*/ 8647 w 10000"/>
                <a:gd name="connsiteY22" fmla="*/ 4893 h 10001"/>
                <a:gd name="connsiteX23" fmla="*/ 8629 w 10000"/>
                <a:gd name="connsiteY23" fmla="*/ 4815 h 10001"/>
                <a:gd name="connsiteX24" fmla="*/ 8618 w 10000"/>
                <a:gd name="connsiteY24" fmla="*/ 4739 h 10001"/>
                <a:gd name="connsiteX25" fmla="*/ 8608 w 10000"/>
                <a:gd name="connsiteY25" fmla="*/ 4656 h 10001"/>
                <a:gd name="connsiteX26" fmla="*/ 8594 w 10000"/>
                <a:gd name="connsiteY26" fmla="*/ 4573 h 10001"/>
                <a:gd name="connsiteX27" fmla="*/ 8594 w 10000"/>
                <a:gd name="connsiteY27" fmla="*/ 4497 h 10001"/>
                <a:gd name="connsiteX28" fmla="*/ 8586 w 10000"/>
                <a:gd name="connsiteY28" fmla="*/ 4413 h 10001"/>
                <a:gd name="connsiteX29" fmla="*/ 8594 w 10000"/>
                <a:gd name="connsiteY29" fmla="*/ 4334 h 10001"/>
                <a:gd name="connsiteX30" fmla="*/ 8608 w 10000"/>
                <a:gd name="connsiteY30" fmla="*/ 4248 h 10001"/>
                <a:gd name="connsiteX31" fmla="*/ 8608 w 10000"/>
                <a:gd name="connsiteY31" fmla="*/ 4160 h 10001"/>
                <a:gd name="connsiteX32" fmla="*/ 8618 w 10000"/>
                <a:gd name="connsiteY32" fmla="*/ 4075 h 10001"/>
                <a:gd name="connsiteX33" fmla="*/ 8629 w 10000"/>
                <a:gd name="connsiteY33" fmla="*/ 3990 h 10001"/>
                <a:gd name="connsiteX34" fmla="*/ 8647 w 10000"/>
                <a:gd name="connsiteY34" fmla="*/ 3915 h 10001"/>
                <a:gd name="connsiteX35" fmla="*/ 8666 w 10000"/>
                <a:gd name="connsiteY35" fmla="*/ 3830 h 10001"/>
                <a:gd name="connsiteX36" fmla="*/ 8687 w 10000"/>
                <a:gd name="connsiteY36" fmla="*/ 3750 h 10001"/>
                <a:gd name="connsiteX37" fmla="*/ 8712 w 10000"/>
                <a:gd name="connsiteY37" fmla="*/ 3665 h 10001"/>
                <a:gd name="connsiteX38" fmla="*/ 8744 w 10000"/>
                <a:gd name="connsiteY38" fmla="*/ 3589 h 10001"/>
                <a:gd name="connsiteX39" fmla="*/ 8773 w 10000"/>
                <a:gd name="connsiteY39" fmla="*/ 3508 h 10001"/>
                <a:gd name="connsiteX40" fmla="*/ 8801 w 10000"/>
                <a:gd name="connsiteY40" fmla="*/ 3424 h 10001"/>
                <a:gd name="connsiteX41" fmla="*/ 8838 w 10000"/>
                <a:gd name="connsiteY41" fmla="*/ 3355 h 10001"/>
                <a:gd name="connsiteX42" fmla="*/ 8879 w 10000"/>
                <a:gd name="connsiteY42" fmla="*/ 3275 h 10001"/>
                <a:gd name="connsiteX43" fmla="*/ 8919 w 10000"/>
                <a:gd name="connsiteY43" fmla="*/ 3194 h 10001"/>
                <a:gd name="connsiteX44" fmla="*/ 8965 w 10000"/>
                <a:gd name="connsiteY44" fmla="*/ 3118 h 10001"/>
                <a:gd name="connsiteX45" fmla="*/ 9006 w 10000"/>
                <a:gd name="connsiteY45" fmla="*/ 3046 h 10001"/>
                <a:gd name="connsiteX46" fmla="*/ 9053 w 10000"/>
                <a:gd name="connsiteY46" fmla="*/ 2964 h 10001"/>
                <a:gd name="connsiteX47" fmla="*/ 9110 w 10000"/>
                <a:gd name="connsiteY47" fmla="*/ 2898 h 10001"/>
                <a:gd name="connsiteX48" fmla="*/ 9157 w 10000"/>
                <a:gd name="connsiteY48" fmla="*/ 2823 h 10001"/>
                <a:gd name="connsiteX49" fmla="*/ 9215 w 10000"/>
                <a:gd name="connsiteY49" fmla="*/ 2754 h 10001"/>
                <a:gd name="connsiteX50" fmla="*/ 9267 w 10000"/>
                <a:gd name="connsiteY50" fmla="*/ 2676 h 10001"/>
                <a:gd name="connsiteX51" fmla="*/ 9334 w 10000"/>
                <a:gd name="connsiteY51" fmla="*/ 2613 h 10001"/>
                <a:gd name="connsiteX52" fmla="*/ 9401 w 10000"/>
                <a:gd name="connsiteY52" fmla="*/ 2538 h 10001"/>
                <a:gd name="connsiteX53" fmla="*/ 9459 w 10000"/>
                <a:gd name="connsiteY53" fmla="*/ 2471 h 10001"/>
                <a:gd name="connsiteX54" fmla="*/ 9524 w 10000"/>
                <a:gd name="connsiteY54" fmla="*/ 2404 h 10001"/>
                <a:gd name="connsiteX55" fmla="*/ 9594 w 10000"/>
                <a:gd name="connsiteY55" fmla="*/ 2331 h 10001"/>
                <a:gd name="connsiteX56" fmla="*/ 9661 w 10000"/>
                <a:gd name="connsiteY56" fmla="*/ 2269 h 10001"/>
                <a:gd name="connsiteX57" fmla="*/ 9740 w 10000"/>
                <a:gd name="connsiteY57" fmla="*/ 2203 h 10001"/>
                <a:gd name="connsiteX58" fmla="*/ 9807 w 10000"/>
                <a:gd name="connsiteY58" fmla="*/ 2145 h 10001"/>
                <a:gd name="connsiteX59" fmla="*/ 9883 w 10000"/>
                <a:gd name="connsiteY59" fmla="*/ 2077 h 10001"/>
                <a:gd name="connsiteX60" fmla="*/ 9917 w 10000"/>
                <a:gd name="connsiteY60" fmla="*/ 2042 h 10001"/>
                <a:gd name="connsiteX61" fmla="*/ 7025 w 10000"/>
                <a:gd name="connsiteY61" fmla="*/ 6 h 10001"/>
                <a:gd name="connsiteX62" fmla="*/ 1826 w 10000"/>
                <a:gd name="connsiteY62" fmla="*/ 0 h 10001"/>
                <a:gd name="connsiteX63" fmla="*/ 1701 w 10000"/>
                <a:gd name="connsiteY63" fmla="*/ 154 h 10001"/>
                <a:gd name="connsiteX64" fmla="*/ 1595 w 10000"/>
                <a:gd name="connsiteY64" fmla="*/ 269 h 10001"/>
                <a:gd name="connsiteX65" fmla="*/ 1496 w 10000"/>
                <a:gd name="connsiteY65" fmla="*/ 397 h 10001"/>
                <a:gd name="connsiteX66" fmla="*/ 1390 w 10000"/>
                <a:gd name="connsiteY66" fmla="*/ 523 h 10001"/>
                <a:gd name="connsiteX67" fmla="*/ 1303 w 10000"/>
                <a:gd name="connsiteY67" fmla="*/ 650 h 10001"/>
                <a:gd name="connsiteX68" fmla="*/ 1208 w 10000"/>
                <a:gd name="connsiteY68" fmla="*/ 775 h 10001"/>
                <a:gd name="connsiteX69" fmla="*/ 1122 w 10000"/>
                <a:gd name="connsiteY69" fmla="*/ 910 h 10001"/>
                <a:gd name="connsiteX70" fmla="*/ 1033 w 10000"/>
                <a:gd name="connsiteY70" fmla="*/ 1043 h 10001"/>
                <a:gd name="connsiteX71" fmla="*/ 958 w 10000"/>
                <a:gd name="connsiteY71" fmla="*/ 1166 h 10001"/>
                <a:gd name="connsiteX72" fmla="*/ 880 w 10000"/>
                <a:gd name="connsiteY72" fmla="*/ 1304 h 10001"/>
                <a:gd name="connsiteX73" fmla="*/ 802 w 10000"/>
                <a:gd name="connsiteY73" fmla="*/ 1432 h 10001"/>
                <a:gd name="connsiteX74" fmla="*/ 723 w 10000"/>
                <a:gd name="connsiteY74" fmla="*/ 1572 h 10001"/>
                <a:gd name="connsiteX75" fmla="*/ 657 w 10000"/>
                <a:gd name="connsiteY75" fmla="*/ 1699 h 10001"/>
                <a:gd name="connsiteX76" fmla="*/ 588 w 10000"/>
                <a:gd name="connsiteY76" fmla="*/ 1833 h 10001"/>
                <a:gd name="connsiteX77" fmla="*/ 533 w 10000"/>
                <a:gd name="connsiteY77" fmla="*/ 1968 h 10001"/>
                <a:gd name="connsiteX78" fmla="*/ 474 w 10000"/>
                <a:gd name="connsiteY78" fmla="*/ 2104 h 10001"/>
                <a:gd name="connsiteX79" fmla="*/ 415 w 10000"/>
                <a:gd name="connsiteY79" fmla="*/ 2248 h 10001"/>
                <a:gd name="connsiteX80" fmla="*/ 371 w 10000"/>
                <a:gd name="connsiteY80" fmla="*/ 2384 h 10001"/>
                <a:gd name="connsiteX81" fmla="*/ 308 w 10000"/>
                <a:gd name="connsiteY81" fmla="*/ 2526 h 10001"/>
                <a:gd name="connsiteX82" fmla="*/ 269 w 10000"/>
                <a:gd name="connsiteY82" fmla="*/ 2666 h 10001"/>
                <a:gd name="connsiteX83" fmla="*/ 225 w 10000"/>
                <a:gd name="connsiteY83" fmla="*/ 2809 h 10001"/>
                <a:gd name="connsiteX84" fmla="*/ 191 w 10000"/>
                <a:gd name="connsiteY84" fmla="*/ 2953 h 10001"/>
                <a:gd name="connsiteX85" fmla="*/ 152 w 10000"/>
                <a:gd name="connsiteY85" fmla="*/ 3095 h 10001"/>
                <a:gd name="connsiteX86" fmla="*/ 126 w 10000"/>
                <a:gd name="connsiteY86" fmla="*/ 3235 h 10001"/>
                <a:gd name="connsiteX87" fmla="*/ 100 w 10000"/>
                <a:gd name="connsiteY87" fmla="*/ 3382 h 10001"/>
                <a:gd name="connsiteX88" fmla="*/ 65 w 10000"/>
                <a:gd name="connsiteY88" fmla="*/ 3534 h 10001"/>
                <a:gd name="connsiteX89" fmla="*/ 47 w 10000"/>
                <a:gd name="connsiteY89" fmla="*/ 3678 h 10001"/>
                <a:gd name="connsiteX90" fmla="*/ 24 w 10000"/>
                <a:gd name="connsiteY90" fmla="*/ 3822 h 10001"/>
                <a:gd name="connsiteX91" fmla="*/ 17 w 10000"/>
                <a:gd name="connsiteY91" fmla="*/ 3966 h 10001"/>
                <a:gd name="connsiteX92" fmla="*/ 7 w 10000"/>
                <a:gd name="connsiteY92" fmla="*/ 4116 h 10001"/>
                <a:gd name="connsiteX93" fmla="*/ 0 w 10000"/>
                <a:gd name="connsiteY93" fmla="*/ 4261 h 10001"/>
                <a:gd name="connsiteX94" fmla="*/ 0 w 10000"/>
                <a:gd name="connsiteY94" fmla="*/ 4413 h 10001"/>
                <a:gd name="connsiteX95" fmla="*/ 7 w 10000"/>
                <a:gd name="connsiteY95" fmla="*/ 4606 h 10001"/>
                <a:gd name="connsiteX96" fmla="*/ 7 w 10000"/>
                <a:gd name="connsiteY96" fmla="*/ 4798 h 10001"/>
                <a:gd name="connsiteX97" fmla="*/ 24 w 10000"/>
                <a:gd name="connsiteY97" fmla="*/ 4977 h 10001"/>
                <a:gd name="connsiteX98" fmla="*/ 47 w 10000"/>
                <a:gd name="connsiteY98" fmla="*/ 5167 h 10001"/>
                <a:gd name="connsiteX99" fmla="*/ 78 w 10000"/>
                <a:gd name="connsiteY99" fmla="*/ 5354 h 10001"/>
                <a:gd name="connsiteX100" fmla="*/ 119 w 10000"/>
                <a:gd name="connsiteY100" fmla="*/ 5541 h 10001"/>
                <a:gd name="connsiteX101" fmla="*/ 152 w 10000"/>
                <a:gd name="connsiteY101" fmla="*/ 5726 h 10001"/>
                <a:gd name="connsiteX102" fmla="*/ 191 w 10000"/>
                <a:gd name="connsiteY102" fmla="*/ 5910 h 10001"/>
                <a:gd name="connsiteX103" fmla="*/ 253 w 10000"/>
                <a:gd name="connsiteY103" fmla="*/ 6094 h 10001"/>
                <a:gd name="connsiteX104" fmla="*/ 308 w 10000"/>
                <a:gd name="connsiteY104" fmla="*/ 6274 h 10001"/>
                <a:gd name="connsiteX105" fmla="*/ 371 w 10000"/>
                <a:gd name="connsiteY105" fmla="*/ 6457 h 10001"/>
                <a:gd name="connsiteX106" fmla="*/ 434 w 10000"/>
                <a:gd name="connsiteY106" fmla="*/ 6634 h 10001"/>
                <a:gd name="connsiteX107" fmla="*/ 512 w 10000"/>
                <a:gd name="connsiteY107" fmla="*/ 6806 h 10001"/>
                <a:gd name="connsiteX108" fmla="*/ 588 w 10000"/>
                <a:gd name="connsiteY108" fmla="*/ 6985 h 10001"/>
                <a:gd name="connsiteX109" fmla="*/ 676 w 10000"/>
                <a:gd name="connsiteY109" fmla="*/ 7157 h 10001"/>
                <a:gd name="connsiteX110" fmla="*/ 764 w 10000"/>
                <a:gd name="connsiteY110" fmla="*/ 7337 h 10001"/>
                <a:gd name="connsiteX111" fmla="*/ 859 w 10000"/>
                <a:gd name="connsiteY111" fmla="*/ 7503 h 10001"/>
                <a:gd name="connsiteX112" fmla="*/ 967 w 10000"/>
                <a:gd name="connsiteY112" fmla="*/ 7666 h 10001"/>
                <a:gd name="connsiteX113" fmla="*/ 1073 w 10000"/>
                <a:gd name="connsiteY113" fmla="*/ 7845 h 10001"/>
                <a:gd name="connsiteX114" fmla="*/ 1178 w 10000"/>
                <a:gd name="connsiteY114" fmla="*/ 8008 h 10001"/>
                <a:gd name="connsiteX115" fmla="*/ 1294 w 10000"/>
                <a:gd name="connsiteY115" fmla="*/ 8169 h 10001"/>
                <a:gd name="connsiteX116" fmla="*/ 1422 w 10000"/>
                <a:gd name="connsiteY116" fmla="*/ 8324 h 10001"/>
                <a:gd name="connsiteX117" fmla="*/ 1546 w 10000"/>
                <a:gd name="connsiteY117" fmla="*/ 8491 h 10001"/>
                <a:gd name="connsiteX118" fmla="*/ 1680 w 10000"/>
                <a:gd name="connsiteY118" fmla="*/ 8652 h 10001"/>
                <a:gd name="connsiteX119" fmla="*/ 1805 w 10000"/>
                <a:gd name="connsiteY119" fmla="*/ 8809 h 10001"/>
                <a:gd name="connsiteX120" fmla="*/ 1952 w 10000"/>
                <a:gd name="connsiteY120" fmla="*/ 8967 h 10001"/>
                <a:gd name="connsiteX121" fmla="*/ 2098 w 10000"/>
                <a:gd name="connsiteY121" fmla="*/ 9115 h 10001"/>
                <a:gd name="connsiteX122" fmla="*/ 2251 w 10000"/>
                <a:gd name="connsiteY122" fmla="*/ 9274 h 10001"/>
                <a:gd name="connsiteX123" fmla="*/ 2405 w 10000"/>
                <a:gd name="connsiteY123" fmla="*/ 9421 h 10001"/>
                <a:gd name="connsiteX124" fmla="*/ 2558 w 10000"/>
                <a:gd name="connsiteY124" fmla="*/ 9567 h 10001"/>
                <a:gd name="connsiteX125" fmla="*/ 2724 w 10000"/>
                <a:gd name="connsiteY125" fmla="*/ 9707 h 10001"/>
                <a:gd name="connsiteX126" fmla="*/ 2899 w 10000"/>
                <a:gd name="connsiteY126" fmla="*/ 9856 h 10001"/>
                <a:gd name="connsiteX127" fmla="*/ 3062 w 10000"/>
                <a:gd name="connsiteY127" fmla="*/ 10001 h 10001"/>
                <a:gd name="connsiteX128" fmla="*/ 5667 w 10000"/>
                <a:gd name="connsiteY128" fmla="*/ 747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0000" h="10001">
                  <a:moveTo>
                    <a:pt x="5667" y="7470"/>
                  </a:moveTo>
                  <a:lnTo>
                    <a:pt x="10000" y="6834"/>
                  </a:lnTo>
                  <a:cubicBezTo>
                    <a:pt x="9947" y="6793"/>
                    <a:pt x="9894" y="6759"/>
                    <a:pt x="9844" y="6720"/>
                  </a:cubicBezTo>
                  <a:cubicBezTo>
                    <a:pt x="9800" y="6678"/>
                    <a:pt x="9755" y="6634"/>
                    <a:pt x="9710" y="6594"/>
                  </a:cubicBezTo>
                  <a:cubicBezTo>
                    <a:pt x="9664" y="6548"/>
                    <a:pt x="9619" y="6506"/>
                    <a:pt x="9574" y="6468"/>
                  </a:cubicBezTo>
                  <a:cubicBezTo>
                    <a:pt x="9531" y="6423"/>
                    <a:pt x="9490" y="6384"/>
                    <a:pt x="9451" y="6339"/>
                  </a:cubicBezTo>
                  <a:cubicBezTo>
                    <a:pt x="9411" y="6297"/>
                    <a:pt x="9371" y="6253"/>
                    <a:pt x="9334" y="6210"/>
                  </a:cubicBezTo>
                  <a:cubicBezTo>
                    <a:pt x="9294" y="6164"/>
                    <a:pt x="9256" y="6118"/>
                    <a:pt x="9215" y="6074"/>
                  </a:cubicBezTo>
                  <a:cubicBezTo>
                    <a:pt x="9183" y="6023"/>
                    <a:pt x="9146" y="5978"/>
                    <a:pt x="9110" y="5929"/>
                  </a:cubicBezTo>
                  <a:cubicBezTo>
                    <a:pt x="9093" y="5906"/>
                    <a:pt x="9077" y="5889"/>
                    <a:pt x="9063" y="5866"/>
                  </a:cubicBezTo>
                  <a:cubicBezTo>
                    <a:pt x="9048" y="5842"/>
                    <a:pt x="9029" y="5813"/>
                    <a:pt x="9013" y="5790"/>
                  </a:cubicBezTo>
                  <a:cubicBezTo>
                    <a:pt x="9000" y="5768"/>
                    <a:pt x="8988" y="5742"/>
                    <a:pt x="8976" y="5722"/>
                  </a:cubicBezTo>
                  <a:cubicBezTo>
                    <a:pt x="8958" y="5696"/>
                    <a:pt x="8944" y="5671"/>
                    <a:pt x="8927" y="5647"/>
                  </a:cubicBezTo>
                  <a:cubicBezTo>
                    <a:pt x="8916" y="5625"/>
                    <a:pt x="8902" y="5601"/>
                    <a:pt x="8888" y="5576"/>
                  </a:cubicBezTo>
                  <a:cubicBezTo>
                    <a:pt x="8877" y="5551"/>
                    <a:pt x="8862" y="5527"/>
                    <a:pt x="8849" y="5502"/>
                  </a:cubicBezTo>
                  <a:cubicBezTo>
                    <a:pt x="8838" y="5476"/>
                    <a:pt x="8829" y="5451"/>
                    <a:pt x="8821" y="5425"/>
                  </a:cubicBezTo>
                  <a:cubicBezTo>
                    <a:pt x="8808" y="5403"/>
                    <a:pt x="8795" y="5377"/>
                    <a:pt x="8782" y="5354"/>
                  </a:cubicBezTo>
                  <a:cubicBezTo>
                    <a:pt x="8775" y="5329"/>
                    <a:pt x="8769" y="5301"/>
                    <a:pt x="8761" y="5275"/>
                  </a:cubicBezTo>
                  <a:cubicBezTo>
                    <a:pt x="8750" y="5251"/>
                    <a:pt x="8736" y="5226"/>
                    <a:pt x="8723" y="5201"/>
                  </a:cubicBezTo>
                  <a:cubicBezTo>
                    <a:pt x="8715" y="5177"/>
                    <a:pt x="8710" y="5147"/>
                    <a:pt x="8703" y="5123"/>
                  </a:cubicBezTo>
                  <a:cubicBezTo>
                    <a:pt x="8698" y="5099"/>
                    <a:pt x="8693" y="5070"/>
                    <a:pt x="8687" y="5049"/>
                  </a:cubicBezTo>
                  <a:cubicBezTo>
                    <a:pt x="8681" y="5018"/>
                    <a:pt x="8673" y="4991"/>
                    <a:pt x="8666" y="4966"/>
                  </a:cubicBezTo>
                  <a:cubicBezTo>
                    <a:pt x="8657" y="4944"/>
                    <a:pt x="8652" y="4919"/>
                    <a:pt x="8647" y="4893"/>
                  </a:cubicBezTo>
                  <a:cubicBezTo>
                    <a:pt x="8642" y="4869"/>
                    <a:pt x="8635" y="4841"/>
                    <a:pt x="8629" y="4815"/>
                  </a:cubicBezTo>
                  <a:cubicBezTo>
                    <a:pt x="8624" y="4790"/>
                    <a:pt x="8621" y="4763"/>
                    <a:pt x="8618" y="4739"/>
                  </a:cubicBezTo>
                  <a:cubicBezTo>
                    <a:pt x="8616" y="4714"/>
                    <a:pt x="8613" y="4689"/>
                    <a:pt x="8608" y="4656"/>
                  </a:cubicBezTo>
                  <a:cubicBezTo>
                    <a:pt x="8603" y="4630"/>
                    <a:pt x="8599" y="4604"/>
                    <a:pt x="8594" y="4573"/>
                  </a:cubicBezTo>
                  <a:lnTo>
                    <a:pt x="8594" y="4497"/>
                  </a:lnTo>
                  <a:cubicBezTo>
                    <a:pt x="8592" y="4471"/>
                    <a:pt x="8588" y="4443"/>
                    <a:pt x="8586" y="4413"/>
                  </a:cubicBezTo>
                  <a:cubicBezTo>
                    <a:pt x="8588" y="4383"/>
                    <a:pt x="8592" y="4359"/>
                    <a:pt x="8594" y="4334"/>
                  </a:cubicBezTo>
                  <a:cubicBezTo>
                    <a:pt x="8599" y="4304"/>
                    <a:pt x="8603" y="4272"/>
                    <a:pt x="8608" y="4248"/>
                  </a:cubicBezTo>
                  <a:lnTo>
                    <a:pt x="8608" y="4160"/>
                  </a:lnTo>
                  <a:cubicBezTo>
                    <a:pt x="8613" y="4129"/>
                    <a:pt x="8616" y="4102"/>
                    <a:pt x="8618" y="4075"/>
                  </a:cubicBezTo>
                  <a:cubicBezTo>
                    <a:pt x="8621" y="4044"/>
                    <a:pt x="8624" y="4019"/>
                    <a:pt x="8629" y="3990"/>
                  </a:cubicBezTo>
                  <a:cubicBezTo>
                    <a:pt x="8634" y="3965"/>
                    <a:pt x="8642" y="3940"/>
                    <a:pt x="8647" y="3915"/>
                  </a:cubicBezTo>
                  <a:cubicBezTo>
                    <a:pt x="8652" y="3888"/>
                    <a:pt x="8657" y="3856"/>
                    <a:pt x="8666" y="3830"/>
                  </a:cubicBezTo>
                  <a:cubicBezTo>
                    <a:pt x="8673" y="3801"/>
                    <a:pt x="8681" y="3778"/>
                    <a:pt x="8687" y="3750"/>
                  </a:cubicBezTo>
                  <a:cubicBezTo>
                    <a:pt x="8695" y="3722"/>
                    <a:pt x="8703" y="3692"/>
                    <a:pt x="8712" y="3665"/>
                  </a:cubicBezTo>
                  <a:cubicBezTo>
                    <a:pt x="8723" y="3642"/>
                    <a:pt x="8732" y="3615"/>
                    <a:pt x="8744" y="3589"/>
                  </a:cubicBezTo>
                  <a:cubicBezTo>
                    <a:pt x="8754" y="3563"/>
                    <a:pt x="8762" y="3536"/>
                    <a:pt x="8773" y="3508"/>
                  </a:cubicBezTo>
                  <a:cubicBezTo>
                    <a:pt x="8782" y="3482"/>
                    <a:pt x="8793" y="3453"/>
                    <a:pt x="8801" y="3424"/>
                  </a:cubicBezTo>
                  <a:cubicBezTo>
                    <a:pt x="8815" y="3402"/>
                    <a:pt x="8827" y="3376"/>
                    <a:pt x="8838" y="3355"/>
                  </a:cubicBezTo>
                  <a:cubicBezTo>
                    <a:pt x="8853" y="3327"/>
                    <a:pt x="8864" y="3301"/>
                    <a:pt x="8879" y="3275"/>
                  </a:cubicBezTo>
                  <a:cubicBezTo>
                    <a:pt x="8891" y="3248"/>
                    <a:pt x="8904" y="3221"/>
                    <a:pt x="8919" y="3194"/>
                  </a:cubicBezTo>
                  <a:cubicBezTo>
                    <a:pt x="8933" y="3171"/>
                    <a:pt x="8949" y="3144"/>
                    <a:pt x="8965" y="3118"/>
                  </a:cubicBezTo>
                  <a:cubicBezTo>
                    <a:pt x="8978" y="3097"/>
                    <a:pt x="8990" y="3070"/>
                    <a:pt x="9006" y="3046"/>
                  </a:cubicBezTo>
                  <a:cubicBezTo>
                    <a:pt x="9019" y="3020"/>
                    <a:pt x="9039" y="2994"/>
                    <a:pt x="9053" y="2964"/>
                  </a:cubicBezTo>
                  <a:cubicBezTo>
                    <a:pt x="9073" y="2941"/>
                    <a:pt x="9088" y="2920"/>
                    <a:pt x="9110" y="2898"/>
                  </a:cubicBezTo>
                  <a:cubicBezTo>
                    <a:pt x="9126" y="2873"/>
                    <a:pt x="9144" y="2845"/>
                    <a:pt x="9157" y="2823"/>
                  </a:cubicBezTo>
                  <a:cubicBezTo>
                    <a:pt x="9178" y="2799"/>
                    <a:pt x="9198" y="2776"/>
                    <a:pt x="9215" y="2754"/>
                  </a:cubicBezTo>
                  <a:cubicBezTo>
                    <a:pt x="9232" y="2728"/>
                    <a:pt x="9247" y="2704"/>
                    <a:pt x="9267" y="2676"/>
                  </a:cubicBezTo>
                  <a:cubicBezTo>
                    <a:pt x="9288" y="2654"/>
                    <a:pt x="9311" y="2637"/>
                    <a:pt x="9334" y="2613"/>
                  </a:cubicBezTo>
                  <a:cubicBezTo>
                    <a:pt x="9355" y="2588"/>
                    <a:pt x="9376" y="2565"/>
                    <a:pt x="9401" y="2538"/>
                  </a:cubicBezTo>
                  <a:cubicBezTo>
                    <a:pt x="9421" y="2516"/>
                    <a:pt x="9439" y="2493"/>
                    <a:pt x="9459" y="2471"/>
                  </a:cubicBezTo>
                  <a:cubicBezTo>
                    <a:pt x="9481" y="2448"/>
                    <a:pt x="9501" y="2425"/>
                    <a:pt x="9524" y="2404"/>
                  </a:cubicBezTo>
                  <a:cubicBezTo>
                    <a:pt x="9550" y="2380"/>
                    <a:pt x="9572" y="2355"/>
                    <a:pt x="9594" y="2331"/>
                  </a:cubicBezTo>
                  <a:cubicBezTo>
                    <a:pt x="9616" y="2308"/>
                    <a:pt x="9637" y="2290"/>
                    <a:pt x="9661" y="2269"/>
                  </a:cubicBezTo>
                  <a:cubicBezTo>
                    <a:pt x="9689" y="2251"/>
                    <a:pt x="9712" y="2224"/>
                    <a:pt x="9740" y="2203"/>
                  </a:cubicBezTo>
                  <a:cubicBezTo>
                    <a:pt x="9760" y="2181"/>
                    <a:pt x="9781" y="2164"/>
                    <a:pt x="9807" y="2145"/>
                  </a:cubicBezTo>
                  <a:cubicBezTo>
                    <a:pt x="9831" y="2123"/>
                    <a:pt x="9858" y="2096"/>
                    <a:pt x="9883" y="2077"/>
                  </a:cubicBezTo>
                  <a:cubicBezTo>
                    <a:pt x="9908" y="2058"/>
                    <a:pt x="9891" y="2063"/>
                    <a:pt x="9917" y="2042"/>
                  </a:cubicBezTo>
                  <a:lnTo>
                    <a:pt x="7025" y="6"/>
                  </a:lnTo>
                  <a:lnTo>
                    <a:pt x="1826" y="0"/>
                  </a:lnTo>
                  <a:cubicBezTo>
                    <a:pt x="1784" y="52"/>
                    <a:pt x="1742" y="94"/>
                    <a:pt x="1701" y="154"/>
                  </a:cubicBezTo>
                  <a:cubicBezTo>
                    <a:pt x="1666" y="191"/>
                    <a:pt x="1631" y="229"/>
                    <a:pt x="1595" y="269"/>
                  </a:cubicBezTo>
                  <a:cubicBezTo>
                    <a:pt x="1562" y="308"/>
                    <a:pt x="1531" y="354"/>
                    <a:pt x="1496" y="397"/>
                  </a:cubicBezTo>
                  <a:cubicBezTo>
                    <a:pt x="1462" y="441"/>
                    <a:pt x="1426" y="480"/>
                    <a:pt x="1390" y="523"/>
                  </a:cubicBezTo>
                  <a:cubicBezTo>
                    <a:pt x="1362" y="563"/>
                    <a:pt x="1333" y="608"/>
                    <a:pt x="1303" y="650"/>
                  </a:cubicBezTo>
                  <a:cubicBezTo>
                    <a:pt x="1270" y="689"/>
                    <a:pt x="1241" y="736"/>
                    <a:pt x="1208" y="775"/>
                  </a:cubicBezTo>
                  <a:cubicBezTo>
                    <a:pt x="1179" y="826"/>
                    <a:pt x="1150" y="862"/>
                    <a:pt x="1122" y="910"/>
                  </a:cubicBezTo>
                  <a:cubicBezTo>
                    <a:pt x="1094" y="954"/>
                    <a:pt x="1062" y="998"/>
                    <a:pt x="1033" y="1043"/>
                  </a:cubicBezTo>
                  <a:cubicBezTo>
                    <a:pt x="1008" y="1086"/>
                    <a:pt x="981" y="1127"/>
                    <a:pt x="958" y="1166"/>
                  </a:cubicBezTo>
                  <a:cubicBezTo>
                    <a:pt x="929" y="1210"/>
                    <a:pt x="907" y="1256"/>
                    <a:pt x="880" y="1304"/>
                  </a:cubicBezTo>
                  <a:cubicBezTo>
                    <a:pt x="852" y="1344"/>
                    <a:pt x="828" y="1388"/>
                    <a:pt x="802" y="1432"/>
                  </a:cubicBezTo>
                  <a:cubicBezTo>
                    <a:pt x="777" y="1481"/>
                    <a:pt x="750" y="1526"/>
                    <a:pt x="723" y="1572"/>
                  </a:cubicBezTo>
                  <a:cubicBezTo>
                    <a:pt x="702" y="1616"/>
                    <a:pt x="679" y="1655"/>
                    <a:pt x="657" y="1699"/>
                  </a:cubicBezTo>
                  <a:cubicBezTo>
                    <a:pt x="636" y="1745"/>
                    <a:pt x="611" y="1788"/>
                    <a:pt x="588" y="1833"/>
                  </a:cubicBezTo>
                  <a:cubicBezTo>
                    <a:pt x="569" y="1879"/>
                    <a:pt x="550" y="1928"/>
                    <a:pt x="533" y="1968"/>
                  </a:cubicBezTo>
                  <a:cubicBezTo>
                    <a:pt x="512" y="2013"/>
                    <a:pt x="494" y="2058"/>
                    <a:pt x="474" y="2104"/>
                  </a:cubicBezTo>
                  <a:cubicBezTo>
                    <a:pt x="451" y="2156"/>
                    <a:pt x="434" y="2200"/>
                    <a:pt x="415" y="2248"/>
                  </a:cubicBezTo>
                  <a:cubicBezTo>
                    <a:pt x="400" y="2289"/>
                    <a:pt x="384" y="2334"/>
                    <a:pt x="371" y="2384"/>
                  </a:cubicBezTo>
                  <a:cubicBezTo>
                    <a:pt x="350" y="2431"/>
                    <a:pt x="326" y="2479"/>
                    <a:pt x="308" y="2526"/>
                  </a:cubicBezTo>
                  <a:cubicBezTo>
                    <a:pt x="295" y="2575"/>
                    <a:pt x="284" y="2622"/>
                    <a:pt x="269" y="2666"/>
                  </a:cubicBezTo>
                  <a:cubicBezTo>
                    <a:pt x="255" y="2715"/>
                    <a:pt x="241" y="2764"/>
                    <a:pt x="225" y="2809"/>
                  </a:cubicBezTo>
                  <a:cubicBezTo>
                    <a:pt x="213" y="2858"/>
                    <a:pt x="200" y="2910"/>
                    <a:pt x="191" y="2953"/>
                  </a:cubicBezTo>
                  <a:cubicBezTo>
                    <a:pt x="180" y="3001"/>
                    <a:pt x="168" y="3049"/>
                    <a:pt x="152" y="3095"/>
                  </a:cubicBezTo>
                  <a:cubicBezTo>
                    <a:pt x="142" y="3141"/>
                    <a:pt x="134" y="3187"/>
                    <a:pt x="126" y="3235"/>
                  </a:cubicBezTo>
                  <a:cubicBezTo>
                    <a:pt x="119" y="3287"/>
                    <a:pt x="109" y="3335"/>
                    <a:pt x="100" y="3382"/>
                  </a:cubicBezTo>
                  <a:cubicBezTo>
                    <a:pt x="87" y="3431"/>
                    <a:pt x="78" y="3484"/>
                    <a:pt x="65" y="3534"/>
                  </a:cubicBezTo>
                  <a:cubicBezTo>
                    <a:pt x="59" y="3585"/>
                    <a:pt x="54" y="3629"/>
                    <a:pt x="47" y="3678"/>
                  </a:cubicBezTo>
                  <a:cubicBezTo>
                    <a:pt x="42" y="3725"/>
                    <a:pt x="37" y="3776"/>
                    <a:pt x="24" y="3822"/>
                  </a:cubicBezTo>
                  <a:cubicBezTo>
                    <a:pt x="22" y="3868"/>
                    <a:pt x="19" y="3921"/>
                    <a:pt x="17" y="3966"/>
                  </a:cubicBezTo>
                  <a:cubicBezTo>
                    <a:pt x="12" y="4015"/>
                    <a:pt x="10" y="4064"/>
                    <a:pt x="7" y="4116"/>
                  </a:cubicBezTo>
                  <a:cubicBezTo>
                    <a:pt x="5" y="4164"/>
                    <a:pt x="2" y="4214"/>
                    <a:pt x="0" y="4261"/>
                  </a:cubicBezTo>
                  <a:lnTo>
                    <a:pt x="0" y="4413"/>
                  </a:lnTo>
                  <a:cubicBezTo>
                    <a:pt x="2" y="4477"/>
                    <a:pt x="5" y="4540"/>
                    <a:pt x="7" y="4606"/>
                  </a:cubicBezTo>
                  <a:lnTo>
                    <a:pt x="7" y="4798"/>
                  </a:lnTo>
                  <a:cubicBezTo>
                    <a:pt x="12" y="4856"/>
                    <a:pt x="19" y="4920"/>
                    <a:pt x="24" y="4977"/>
                  </a:cubicBezTo>
                  <a:cubicBezTo>
                    <a:pt x="37" y="5043"/>
                    <a:pt x="42" y="5106"/>
                    <a:pt x="47" y="5167"/>
                  </a:cubicBezTo>
                  <a:cubicBezTo>
                    <a:pt x="56" y="5228"/>
                    <a:pt x="65" y="5289"/>
                    <a:pt x="78" y="5354"/>
                  </a:cubicBezTo>
                  <a:cubicBezTo>
                    <a:pt x="90" y="5413"/>
                    <a:pt x="106" y="5476"/>
                    <a:pt x="119" y="5541"/>
                  </a:cubicBezTo>
                  <a:cubicBezTo>
                    <a:pt x="129" y="5603"/>
                    <a:pt x="139" y="5661"/>
                    <a:pt x="152" y="5726"/>
                  </a:cubicBezTo>
                  <a:cubicBezTo>
                    <a:pt x="168" y="5785"/>
                    <a:pt x="180" y="5852"/>
                    <a:pt x="191" y="5910"/>
                  </a:cubicBezTo>
                  <a:cubicBezTo>
                    <a:pt x="213" y="5973"/>
                    <a:pt x="235" y="6032"/>
                    <a:pt x="253" y="6094"/>
                  </a:cubicBezTo>
                  <a:cubicBezTo>
                    <a:pt x="269" y="6156"/>
                    <a:pt x="289" y="6214"/>
                    <a:pt x="308" y="6274"/>
                  </a:cubicBezTo>
                  <a:cubicBezTo>
                    <a:pt x="325" y="6334"/>
                    <a:pt x="349" y="6394"/>
                    <a:pt x="371" y="6457"/>
                  </a:cubicBezTo>
                  <a:cubicBezTo>
                    <a:pt x="389" y="6516"/>
                    <a:pt x="414" y="6575"/>
                    <a:pt x="434" y="6634"/>
                  </a:cubicBezTo>
                  <a:cubicBezTo>
                    <a:pt x="461" y="6691"/>
                    <a:pt x="486" y="6753"/>
                    <a:pt x="512" y="6806"/>
                  </a:cubicBezTo>
                  <a:cubicBezTo>
                    <a:pt x="539" y="6868"/>
                    <a:pt x="562" y="6925"/>
                    <a:pt x="588" y="6985"/>
                  </a:cubicBezTo>
                  <a:cubicBezTo>
                    <a:pt x="618" y="7044"/>
                    <a:pt x="649" y="7103"/>
                    <a:pt x="676" y="7157"/>
                  </a:cubicBezTo>
                  <a:cubicBezTo>
                    <a:pt x="704" y="7221"/>
                    <a:pt x="734" y="7273"/>
                    <a:pt x="764" y="7337"/>
                  </a:cubicBezTo>
                  <a:cubicBezTo>
                    <a:pt x="797" y="7389"/>
                    <a:pt x="828" y="7444"/>
                    <a:pt x="859" y="7503"/>
                  </a:cubicBezTo>
                  <a:cubicBezTo>
                    <a:pt x="895" y="7556"/>
                    <a:pt x="929" y="7613"/>
                    <a:pt x="967" y="7666"/>
                  </a:cubicBezTo>
                  <a:cubicBezTo>
                    <a:pt x="1000" y="7730"/>
                    <a:pt x="1037" y="7784"/>
                    <a:pt x="1073" y="7845"/>
                  </a:cubicBezTo>
                  <a:cubicBezTo>
                    <a:pt x="1107" y="7897"/>
                    <a:pt x="1144" y="7951"/>
                    <a:pt x="1178" y="8008"/>
                  </a:cubicBezTo>
                  <a:cubicBezTo>
                    <a:pt x="1218" y="8063"/>
                    <a:pt x="1255" y="8120"/>
                    <a:pt x="1294" y="8169"/>
                  </a:cubicBezTo>
                  <a:cubicBezTo>
                    <a:pt x="1337" y="8225"/>
                    <a:pt x="1379" y="8275"/>
                    <a:pt x="1422" y="8324"/>
                  </a:cubicBezTo>
                  <a:cubicBezTo>
                    <a:pt x="1462" y="8384"/>
                    <a:pt x="1504" y="8433"/>
                    <a:pt x="1546" y="8491"/>
                  </a:cubicBezTo>
                  <a:cubicBezTo>
                    <a:pt x="1591" y="8545"/>
                    <a:pt x="1636" y="8594"/>
                    <a:pt x="1680" y="8652"/>
                  </a:cubicBezTo>
                  <a:cubicBezTo>
                    <a:pt x="1724" y="8701"/>
                    <a:pt x="1765" y="8755"/>
                    <a:pt x="1805" y="8809"/>
                  </a:cubicBezTo>
                  <a:cubicBezTo>
                    <a:pt x="1854" y="8862"/>
                    <a:pt x="1904" y="8914"/>
                    <a:pt x="1952" y="8967"/>
                  </a:cubicBezTo>
                  <a:cubicBezTo>
                    <a:pt x="1998" y="9017"/>
                    <a:pt x="2050" y="9065"/>
                    <a:pt x="2098" y="9115"/>
                  </a:cubicBezTo>
                  <a:cubicBezTo>
                    <a:pt x="2149" y="9167"/>
                    <a:pt x="2198" y="9218"/>
                    <a:pt x="2251" y="9274"/>
                  </a:cubicBezTo>
                  <a:cubicBezTo>
                    <a:pt x="2304" y="9321"/>
                    <a:pt x="2354" y="9374"/>
                    <a:pt x="2405" y="9421"/>
                  </a:cubicBezTo>
                  <a:cubicBezTo>
                    <a:pt x="2456" y="9470"/>
                    <a:pt x="2509" y="9518"/>
                    <a:pt x="2558" y="9567"/>
                  </a:cubicBezTo>
                  <a:cubicBezTo>
                    <a:pt x="2613" y="9614"/>
                    <a:pt x="2669" y="9660"/>
                    <a:pt x="2724" y="9707"/>
                  </a:cubicBezTo>
                  <a:cubicBezTo>
                    <a:pt x="2780" y="9757"/>
                    <a:pt x="2840" y="9810"/>
                    <a:pt x="2899" y="9856"/>
                  </a:cubicBezTo>
                  <a:cubicBezTo>
                    <a:pt x="2954" y="9904"/>
                    <a:pt x="3043" y="9985"/>
                    <a:pt x="3062" y="10001"/>
                  </a:cubicBezTo>
                  <a:lnTo>
                    <a:pt x="5667" y="7470"/>
                  </a:lnTo>
                  <a:close/>
                </a:path>
              </a:pathLst>
            </a:custGeom>
            <a:grpFill/>
            <a:ln w="9525">
              <a:solidFill>
                <a:schemeClr val="tx2">
                  <a:lumMod val="10000"/>
                  <a:lumOff val="90000"/>
                </a:schemeClr>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3" name="Freeform 6">
              <a:extLst>
                <a:ext uri="{FF2B5EF4-FFF2-40B4-BE49-F238E27FC236}">
                  <a16:creationId xmlns:a16="http://schemas.microsoft.com/office/drawing/2014/main" id="{2BBF25D9-EBB8-4D90-906F-F50E89741C8B}"/>
                </a:ext>
              </a:extLst>
            </p:cNvPr>
            <p:cNvSpPr>
              <a:spLocks/>
            </p:cNvSpPr>
            <p:nvPr>
              <p:custDataLst>
                <p:tags r:id="rId16"/>
              </p:custDataLst>
            </p:nvPr>
          </p:nvSpPr>
          <p:spPr bwMode="auto">
            <a:xfrm rot="4772980">
              <a:off x="21015137" y="-40011179"/>
              <a:ext cx="60905584" cy="90238762"/>
            </a:xfrm>
            <a:custGeom>
              <a:avLst/>
              <a:gdLst>
                <a:gd name="T0" fmla="*/ 2147483647 w 5608"/>
                <a:gd name="T1" fmla="*/ 2147483647 h 4036"/>
                <a:gd name="T2" fmla="*/ 2147483647 w 5608"/>
                <a:gd name="T3" fmla="*/ 2147483647 h 4036"/>
                <a:gd name="T4" fmla="*/ 2147483647 w 5608"/>
                <a:gd name="T5" fmla="*/ 2147483647 h 4036"/>
                <a:gd name="T6" fmla="*/ 2147483647 w 5608"/>
                <a:gd name="T7" fmla="*/ 2147483647 h 4036"/>
                <a:gd name="T8" fmla="*/ 2147483647 w 5608"/>
                <a:gd name="T9" fmla="*/ 2147483647 h 4036"/>
                <a:gd name="T10" fmla="*/ 2147483647 w 5608"/>
                <a:gd name="T11" fmla="*/ 2147483647 h 4036"/>
                <a:gd name="T12" fmla="*/ 2147483647 w 5608"/>
                <a:gd name="T13" fmla="*/ 2147483647 h 4036"/>
                <a:gd name="T14" fmla="*/ 2147483647 w 5608"/>
                <a:gd name="T15" fmla="*/ 2147483647 h 4036"/>
                <a:gd name="T16" fmla="*/ 2147483647 w 5608"/>
                <a:gd name="T17" fmla="*/ 2147483647 h 4036"/>
                <a:gd name="T18" fmla="*/ 2147483647 w 5608"/>
                <a:gd name="T19" fmla="*/ 2147483647 h 4036"/>
                <a:gd name="T20" fmla="*/ 2147483647 w 5608"/>
                <a:gd name="T21" fmla="*/ 2147483647 h 4036"/>
                <a:gd name="T22" fmla="*/ 2147483647 w 5608"/>
                <a:gd name="T23" fmla="*/ 2147483647 h 4036"/>
                <a:gd name="T24" fmla="*/ 2147483647 w 5608"/>
                <a:gd name="T25" fmla="*/ 2147483647 h 4036"/>
                <a:gd name="T26" fmla="*/ 2147483647 w 5608"/>
                <a:gd name="T27" fmla="*/ 2147483647 h 4036"/>
                <a:gd name="T28" fmla="*/ 2147483647 w 5608"/>
                <a:gd name="T29" fmla="*/ 2147483647 h 4036"/>
                <a:gd name="T30" fmla="*/ 2147483647 w 5608"/>
                <a:gd name="T31" fmla="*/ 2147483647 h 4036"/>
                <a:gd name="T32" fmla="*/ 2147483647 w 5608"/>
                <a:gd name="T33" fmla="*/ 2147483647 h 4036"/>
                <a:gd name="T34" fmla="*/ 2147483647 w 5608"/>
                <a:gd name="T35" fmla="*/ 2147483647 h 4036"/>
                <a:gd name="T36" fmla="*/ 2147483647 w 5608"/>
                <a:gd name="T37" fmla="*/ 2147483647 h 4036"/>
                <a:gd name="T38" fmla="*/ 2147483647 w 5608"/>
                <a:gd name="T39" fmla="*/ 2147483647 h 4036"/>
                <a:gd name="T40" fmla="*/ 2147483647 w 5608"/>
                <a:gd name="T41" fmla="*/ 2147483647 h 4036"/>
                <a:gd name="T42" fmla="*/ 2147483647 w 5608"/>
                <a:gd name="T43" fmla="*/ 2147483647 h 4036"/>
                <a:gd name="T44" fmla="*/ 2147483647 w 5608"/>
                <a:gd name="T45" fmla="*/ 2147483647 h 4036"/>
                <a:gd name="T46" fmla="*/ 2147483647 w 5608"/>
                <a:gd name="T47" fmla="*/ 2147483647 h 4036"/>
                <a:gd name="T48" fmla="*/ 2147483647 w 5608"/>
                <a:gd name="T49" fmla="*/ 2147483647 h 4036"/>
                <a:gd name="T50" fmla="*/ 2147483647 w 5608"/>
                <a:gd name="T51" fmla="*/ 2147483647 h 4036"/>
                <a:gd name="T52" fmla="*/ 2147483647 w 5608"/>
                <a:gd name="T53" fmla="*/ 2147483647 h 4036"/>
                <a:gd name="T54" fmla="*/ 2147483647 w 5608"/>
                <a:gd name="T55" fmla="*/ 2147483647 h 4036"/>
                <a:gd name="T56" fmla="*/ 2147483647 w 5608"/>
                <a:gd name="T57" fmla="*/ 2147483647 h 4036"/>
                <a:gd name="T58" fmla="*/ 2147483647 w 5608"/>
                <a:gd name="T59" fmla="*/ 2147483647 h 4036"/>
                <a:gd name="T60" fmla="*/ 2147483647 w 5608"/>
                <a:gd name="T61" fmla="*/ 2147483647 h 4036"/>
                <a:gd name="T62" fmla="*/ 2147483647 w 5608"/>
                <a:gd name="T63" fmla="*/ 2147483647 h 4036"/>
                <a:gd name="T64" fmla="*/ 2147483647 w 5608"/>
                <a:gd name="T65" fmla="*/ 2147483647 h 4036"/>
                <a:gd name="T66" fmla="*/ 2147483647 w 5608"/>
                <a:gd name="T67" fmla="*/ 2147483647 h 4036"/>
                <a:gd name="T68" fmla="*/ 2147483647 w 5608"/>
                <a:gd name="T69" fmla="*/ 2147483647 h 4036"/>
                <a:gd name="T70" fmla="*/ 2147483647 w 5608"/>
                <a:gd name="T71" fmla="*/ 2147483647 h 4036"/>
                <a:gd name="T72" fmla="*/ 2147483647 w 5608"/>
                <a:gd name="T73" fmla="*/ 2147483647 h 4036"/>
                <a:gd name="T74" fmla="*/ 2147483647 w 5608"/>
                <a:gd name="T75" fmla="*/ 2147483647 h 4036"/>
                <a:gd name="T76" fmla="*/ 2147483647 w 5608"/>
                <a:gd name="T77" fmla="*/ 2147483647 h 4036"/>
                <a:gd name="T78" fmla="*/ 2147483647 w 5608"/>
                <a:gd name="T79" fmla="*/ 2147483647 h 4036"/>
                <a:gd name="T80" fmla="*/ 2147483647 w 5608"/>
                <a:gd name="T81" fmla="*/ 2147483647 h 4036"/>
                <a:gd name="T82" fmla="*/ 2147483647 w 5608"/>
                <a:gd name="T83" fmla="*/ 2147483647 h 4036"/>
                <a:gd name="T84" fmla="*/ 2147483647 w 5608"/>
                <a:gd name="T85" fmla="*/ 2147483647 h 4036"/>
                <a:gd name="T86" fmla="*/ 2147483647 w 5608"/>
                <a:gd name="T87" fmla="*/ 2147483647 h 4036"/>
                <a:gd name="T88" fmla="*/ 2147483647 w 5608"/>
                <a:gd name="T89" fmla="*/ 2147483647 h 4036"/>
                <a:gd name="T90" fmla="*/ 2147483647 w 5608"/>
                <a:gd name="T91" fmla="*/ 2147483647 h 4036"/>
                <a:gd name="T92" fmla="*/ 2147483647 w 5608"/>
                <a:gd name="T93" fmla="*/ 2147483647 h 4036"/>
                <a:gd name="T94" fmla="*/ 2147483647 w 5608"/>
                <a:gd name="T95" fmla="*/ 2147483647 h 4036"/>
                <a:gd name="T96" fmla="*/ 2147483647 w 5608"/>
                <a:gd name="T97" fmla="*/ 2147483647 h 4036"/>
                <a:gd name="T98" fmla="*/ 2147483647 w 5608"/>
                <a:gd name="T99" fmla="*/ 2147483647 h 4036"/>
                <a:gd name="T100" fmla="*/ 2147483647 w 5608"/>
                <a:gd name="T101" fmla="*/ 2147483647 h 4036"/>
                <a:gd name="T102" fmla="*/ 2147483647 w 5608"/>
                <a:gd name="T103" fmla="*/ 2147483647 h 4036"/>
                <a:gd name="T104" fmla="*/ 2147483647 w 5608"/>
                <a:gd name="T105" fmla="*/ 2147483647 h 40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08"/>
                <a:gd name="T160" fmla="*/ 0 h 4036"/>
                <a:gd name="T161" fmla="*/ 5608 w 5608"/>
                <a:gd name="T162" fmla="*/ 4036 h 4036"/>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1765 w 10000"/>
                <a:gd name="connsiteY72" fmla="*/ 3662 h 10000"/>
                <a:gd name="connsiteX73" fmla="*/ 0 w 10000"/>
                <a:gd name="connsiteY73" fmla="*/ 6085 h 10000"/>
                <a:gd name="connsiteX74" fmla="*/ 209 w 10000"/>
                <a:gd name="connsiteY74" fmla="*/ 9512 h 10000"/>
                <a:gd name="connsiteX75" fmla="*/ 344 w 10000"/>
                <a:gd name="connsiteY75" fmla="*/ 9569 h 10000"/>
                <a:gd name="connsiteX76" fmla="*/ 481 w 10000"/>
                <a:gd name="connsiteY76" fmla="*/ 9623 h 10000"/>
                <a:gd name="connsiteX77" fmla="*/ 621 w 10000"/>
                <a:gd name="connsiteY77" fmla="*/ 9673 h 10000"/>
                <a:gd name="connsiteX78" fmla="*/ 758 w 10000"/>
                <a:gd name="connsiteY78" fmla="*/ 9720 h 10000"/>
                <a:gd name="connsiteX79" fmla="*/ 899 w 10000"/>
                <a:gd name="connsiteY79" fmla="*/ 9765 h 10000"/>
                <a:gd name="connsiteX80" fmla="*/ 1040 w 10000"/>
                <a:gd name="connsiteY80" fmla="*/ 9804 h 10000"/>
                <a:gd name="connsiteX81" fmla="*/ 1182 w 10000"/>
                <a:gd name="connsiteY81" fmla="*/ 9839 h 10000"/>
                <a:gd name="connsiteX82" fmla="*/ 1325 w 10000"/>
                <a:gd name="connsiteY82" fmla="*/ 9874 h 10000"/>
                <a:gd name="connsiteX83" fmla="*/ 1471 w 10000"/>
                <a:gd name="connsiteY83" fmla="*/ 9903 h 10000"/>
                <a:gd name="connsiteX84" fmla="*/ 1614 w 10000"/>
                <a:gd name="connsiteY84" fmla="*/ 9926 h 10000"/>
                <a:gd name="connsiteX85" fmla="*/ 1760 w 10000"/>
                <a:gd name="connsiteY85" fmla="*/ 9948 h 10000"/>
                <a:gd name="connsiteX86" fmla="*/ 1906 w 10000"/>
                <a:gd name="connsiteY86" fmla="*/ 9965 h 10000"/>
                <a:gd name="connsiteX87" fmla="*/ 2052 w 10000"/>
                <a:gd name="connsiteY87" fmla="*/ 9980 h 10000"/>
                <a:gd name="connsiteX88" fmla="*/ 2202 w 10000"/>
                <a:gd name="connsiteY88" fmla="*/ 9990 h 10000"/>
                <a:gd name="connsiteX89" fmla="*/ 2350 w 10000"/>
                <a:gd name="connsiteY89" fmla="*/ 9995 h 10000"/>
                <a:gd name="connsiteX90" fmla="*/ 2498 w 10000"/>
                <a:gd name="connsiteY90" fmla="*/ 10000 h 10000"/>
                <a:gd name="connsiteX91" fmla="*/ 2677 w 10000"/>
                <a:gd name="connsiteY91" fmla="*/ 9995 h 10000"/>
                <a:gd name="connsiteX92" fmla="*/ 2850 w 10000"/>
                <a:gd name="connsiteY92" fmla="*/ 9988 h 10000"/>
                <a:gd name="connsiteX93" fmla="*/ 3024 w 10000"/>
                <a:gd name="connsiteY93" fmla="*/ 9975 h 10000"/>
                <a:gd name="connsiteX94" fmla="*/ 3195 w 10000"/>
                <a:gd name="connsiteY94" fmla="*/ 9953 h 10000"/>
                <a:gd name="connsiteX95" fmla="*/ 3368 w 10000"/>
                <a:gd name="connsiteY95" fmla="*/ 9931 h 10000"/>
                <a:gd name="connsiteX96" fmla="*/ 3538 w 10000"/>
                <a:gd name="connsiteY96" fmla="*/ 9898 h 10000"/>
                <a:gd name="connsiteX97" fmla="*/ 3709 w 10000"/>
                <a:gd name="connsiteY97" fmla="*/ 9866 h 10000"/>
                <a:gd name="connsiteX98" fmla="*/ 3877 w 10000"/>
                <a:gd name="connsiteY98" fmla="*/ 9824 h 10000"/>
                <a:gd name="connsiteX99" fmla="*/ 4042 w 10000"/>
                <a:gd name="connsiteY99" fmla="*/ 9779 h 10000"/>
                <a:gd name="connsiteX100" fmla="*/ 4210 w 10000"/>
                <a:gd name="connsiteY100" fmla="*/ 9730 h 10000"/>
                <a:gd name="connsiteX101" fmla="*/ 4372 w 10000"/>
                <a:gd name="connsiteY101" fmla="*/ 9673 h 10000"/>
                <a:gd name="connsiteX102" fmla="*/ 4536 w 10000"/>
                <a:gd name="connsiteY102" fmla="*/ 9616 h 10000"/>
                <a:gd name="connsiteX103" fmla="*/ 4697 w 10000"/>
                <a:gd name="connsiteY103" fmla="*/ 9552 h 10000"/>
                <a:gd name="connsiteX104" fmla="*/ 4857 w 10000"/>
                <a:gd name="connsiteY104" fmla="*/ 9482 h 10000"/>
                <a:gd name="connsiteX105" fmla="*/ 5014 w 10000"/>
                <a:gd name="connsiteY105" fmla="*/ 9405 h 10000"/>
                <a:gd name="connsiteX106" fmla="*/ 5171 w 10000"/>
                <a:gd name="connsiteY106" fmla="*/ 9329 h 10000"/>
                <a:gd name="connsiteX107" fmla="*/ 5326 w 10000"/>
                <a:gd name="connsiteY107" fmla="*/ 9244 h 10000"/>
                <a:gd name="connsiteX108" fmla="*/ 5480 w 10000"/>
                <a:gd name="connsiteY108" fmla="*/ 9158 h 10000"/>
                <a:gd name="connsiteX109" fmla="*/ 5631 w 10000"/>
                <a:gd name="connsiteY109" fmla="*/ 9063 h 10000"/>
                <a:gd name="connsiteX110" fmla="*/ 5781 w 10000"/>
                <a:gd name="connsiteY110" fmla="*/ 8967 h 10000"/>
                <a:gd name="connsiteX111" fmla="*/ 5931 w 10000"/>
                <a:gd name="connsiteY111" fmla="*/ 8865 h 10000"/>
                <a:gd name="connsiteX112" fmla="*/ 6075 w 10000"/>
                <a:gd name="connsiteY112" fmla="*/ 8759 h 10000"/>
                <a:gd name="connsiteX113" fmla="*/ 6221 w 10000"/>
                <a:gd name="connsiteY113" fmla="*/ 8652 h 10000"/>
                <a:gd name="connsiteX114" fmla="*/ 6364 w 10000"/>
                <a:gd name="connsiteY114" fmla="*/ 8536 h 10000"/>
                <a:gd name="connsiteX115" fmla="*/ 6505 w 10000"/>
                <a:gd name="connsiteY115" fmla="*/ 8417 h 10000"/>
                <a:gd name="connsiteX116" fmla="*/ 6642 w 10000"/>
                <a:gd name="connsiteY116" fmla="*/ 8295 h 10000"/>
                <a:gd name="connsiteX117" fmla="*/ 6780 w 10000"/>
                <a:gd name="connsiteY117" fmla="*/ 8169 h 10000"/>
                <a:gd name="connsiteX118" fmla="*/ 6913 w 10000"/>
                <a:gd name="connsiteY118" fmla="*/ 8040 h 10000"/>
                <a:gd name="connsiteX119" fmla="*/ 7045 w 10000"/>
                <a:gd name="connsiteY119" fmla="*/ 7904 h 10000"/>
                <a:gd name="connsiteX120" fmla="*/ 7175 w 10000"/>
                <a:gd name="connsiteY120" fmla="*/ 7768 h 10000"/>
                <a:gd name="connsiteX121" fmla="*/ 7304 w 10000"/>
                <a:gd name="connsiteY121" fmla="*/ 7624 h 10000"/>
                <a:gd name="connsiteX122" fmla="*/ 7429 w 10000"/>
                <a:gd name="connsiteY122" fmla="*/ 7480 h 10000"/>
                <a:gd name="connsiteX123" fmla="*/ 7552 w 10000"/>
                <a:gd name="connsiteY123" fmla="*/ 7329 h 10000"/>
                <a:gd name="connsiteX124" fmla="*/ 7673 w 10000"/>
                <a:gd name="connsiteY124" fmla="*/ 7178 h 10000"/>
                <a:gd name="connsiteX125" fmla="*/ 7792 w 10000"/>
                <a:gd name="connsiteY125" fmla="*/ 7024 h 10000"/>
                <a:gd name="connsiteX126" fmla="*/ 7907 w 10000"/>
                <a:gd name="connsiteY126" fmla="*/ 6861 h 10000"/>
                <a:gd name="connsiteX127" fmla="*/ 8022 w 10000"/>
                <a:gd name="connsiteY127" fmla="*/ 6697 h 10000"/>
                <a:gd name="connsiteX128" fmla="*/ 8133 w 10000"/>
                <a:gd name="connsiteY128" fmla="*/ 6534 h 10000"/>
                <a:gd name="connsiteX129" fmla="*/ 8240 w 10000"/>
                <a:gd name="connsiteY129" fmla="*/ 6365 h 10000"/>
                <a:gd name="connsiteX130" fmla="*/ 8347 w 10000"/>
                <a:gd name="connsiteY130" fmla="*/ 6189 h 10000"/>
                <a:gd name="connsiteX131" fmla="*/ 8450 w 10000"/>
                <a:gd name="connsiteY131" fmla="*/ 6016 h 10000"/>
                <a:gd name="connsiteX132" fmla="*/ 8552 w 10000"/>
                <a:gd name="connsiteY132" fmla="*/ 5835 h 10000"/>
                <a:gd name="connsiteX133" fmla="*/ 8650 w 10000"/>
                <a:gd name="connsiteY133" fmla="*/ 5652 h 10000"/>
                <a:gd name="connsiteX134" fmla="*/ 8745 w 10000"/>
                <a:gd name="connsiteY134" fmla="*/ 5468 h 10000"/>
                <a:gd name="connsiteX135" fmla="*/ 8837 w 10000"/>
                <a:gd name="connsiteY135" fmla="*/ 5278 h 10000"/>
                <a:gd name="connsiteX136" fmla="*/ 8927 w 10000"/>
                <a:gd name="connsiteY136" fmla="*/ 5089 h 10000"/>
                <a:gd name="connsiteX137" fmla="*/ 9014 w 10000"/>
                <a:gd name="connsiteY137" fmla="*/ 4893 h 10000"/>
                <a:gd name="connsiteX138" fmla="*/ 9098 w 10000"/>
                <a:gd name="connsiteY138" fmla="*/ 4698 h 10000"/>
                <a:gd name="connsiteX139" fmla="*/ 9178 w 10000"/>
                <a:gd name="connsiteY139" fmla="*/ 4500 h 10000"/>
                <a:gd name="connsiteX140" fmla="*/ 9256 w 10000"/>
                <a:gd name="connsiteY140" fmla="*/ 4294 h 10000"/>
                <a:gd name="connsiteX141" fmla="*/ 9330 w 10000"/>
                <a:gd name="connsiteY141" fmla="*/ 4091 h 10000"/>
                <a:gd name="connsiteX142" fmla="*/ 9401 w 10000"/>
                <a:gd name="connsiteY142" fmla="*/ 3885 h 10000"/>
                <a:gd name="connsiteX143" fmla="*/ 9470 w 10000"/>
                <a:gd name="connsiteY143" fmla="*/ 3674 h 10000"/>
                <a:gd name="connsiteX144" fmla="*/ 9535 w 10000"/>
                <a:gd name="connsiteY144" fmla="*/ 3464 h 10000"/>
                <a:gd name="connsiteX145" fmla="*/ 9599 w 10000"/>
                <a:gd name="connsiteY145" fmla="*/ 3248 h 10000"/>
                <a:gd name="connsiteX146" fmla="*/ 9656 w 10000"/>
                <a:gd name="connsiteY146" fmla="*/ 3030 h 10000"/>
                <a:gd name="connsiteX147" fmla="*/ 9711 w 10000"/>
                <a:gd name="connsiteY147" fmla="*/ 2815 h 10000"/>
                <a:gd name="connsiteX148" fmla="*/ 9763 w 10000"/>
                <a:gd name="connsiteY148" fmla="*/ 2592 h 10000"/>
                <a:gd name="connsiteX149" fmla="*/ 9813 w 10000"/>
                <a:gd name="connsiteY149" fmla="*/ 2369 h 10000"/>
                <a:gd name="connsiteX150" fmla="*/ 9856 w 10000"/>
                <a:gd name="connsiteY150" fmla="*/ 2143 h 10000"/>
                <a:gd name="connsiteX151" fmla="*/ 9898 w 10000"/>
                <a:gd name="connsiteY151" fmla="*/ 1918 h 10000"/>
                <a:gd name="connsiteX152" fmla="*/ 9936 w 10000"/>
                <a:gd name="connsiteY152" fmla="*/ 1690 h 10000"/>
                <a:gd name="connsiteX153" fmla="*/ 9970 w 10000"/>
                <a:gd name="connsiteY153" fmla="*/ 1457 h 10000"/>
                <a:gd name="connsiteX154" fmla="*/ 10000 w 10000"/>
                <a:gd name="connsiteY154" fmla="*/ 1222 h 10000"/>
                <a:gd name="connsiteX155" fmla="*/ 7611 w 10000"/>
                <a:gd name="connsiteY155" fmla="*/ 1876 h 10000"/>
                <a:gd name="connsiteX156" fmla="*/ 5615 w 10000"/>
                <a:gd name="connsiteY15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0 w 10000"/>
                <a:gd name="connsiteY72" fmla="*/ 6085 h 10000"/>
                <a:gd name="connsiteX73" fmla="*/ 209 w 10000"/>
                <a:gd name="connsiteY73" fmla="*/ 9512 h 10000"/>
                <a:gd name="connsiteX74" fmla="*/ 344 w 10000"/>
                <a:gd name="connsiteY74" fmla="*/ 9569 h 10000"/>
                <a:gd name="connsiteX75" fmla="*/ 481 w 10000"/>
                <a:gd name="connsiteY75" fmla="*/ 9623 h 10000"/>
                <a:gd name="connsiteX76" fmla="*/ 621 w 10000"/>
                <a:gd name="connsiteY76" fmla="*/ 9673 h 10000"/>
                <a:gd name="connsiteX77" fmla="*/ 758 w 10000"/>
                <a:gd name="connsiteY77" fmla="*/ 9720 h 10000"/>
                <a:gd name="connsiteX78" fmla="*/ 899 w 10000"/>
                <a:gd name="connsiteY78" fmla="*/ 9765 h 10000"/>
                <a:gd name="connsiteX79" fmla="*/ 1040 w 10000"/>
                <a:gd name="connsiteY79" fmla="*/ 9804 h 10000"/>
                <a:gd name="connsiteX80" fmla="*/ 1182 w 10000"/>
                <a:gd name="connsiteY80" fmla="*/ 9839 h 10000"/>
                <a:gd name="connsiteX81" fmla="*/ 1325 w 10000"/>
                <a:gd name="connsiteY81" fmla="*/ 9874 h 10000"/>
                <a:gd name="connsiteX82" fmla="*/ 1471 w 10000"/>
                <a:gd name="connsiteY82" fmla="*/ 9903 h 10000"/>
                <a:gd name="connsiteX83" fmla="*/ 1614 w 10000"/>
                <a:gd name="connsiteY83" fmla="*/ 9926 h 10000"/>
                <a:gd name="connsiteX84" fmla="*/ 1760 w 10000"/>
                <a:gd name="connsiteY84" fmla="*/ 9948 h 10000"/>
                <a:gd name="connsiteX85" fmla="*/ 1906 w 10000"/>
                <a:gd name="connsiteY85" fmla="*/ 9965 h 10000"/>
                <a:gd name="connsiteX86" fmla="*/ 2052 w 10000"/>
                <a:gd name="connsiteY86" fmla="*/ 9980 h 10000"/>
                <a:gd name="connsiteX87" fmla="*/ 2202 w 10000"/>
                <a:gd name="connsiteY87" fmla="*/ 9990 h 10000"/>
                <a:gd name="connsiteX88" fmla="*/ 2350 w 10000"/>
                <a:gd name="connsiteY88" fmla="*/ 9995 h 10000"/>
                <a:gd name="connsiteX89" fmla="*/ 2498 w 10000"/>
                <a:gd name="connsiteY89" fmla="*/ 10000 h 10000"/>
                <a:gd name="connsiteX90" fmla="*/ 2677 w 10000"/>
                <a:gd name="connsiteY90" fmla="*/ 9995 h 10000"/>
                <a:gd name="connsiteX91" fmla="*/ 2850 w 10000"/>
                <a:gd name="connsiteY91" fmla="*/ 9988 h 10000"/>
                <a:gd name="connsiteX92" fmla="*/ 3024 w 10000"/>
                <a:gd name="connsiteY92" fmla="*/ 9975 h 10000"/>
                <a:gd name="connsiteX93" fmla="*/ 3195 w 10000"/>
                <a:gd name="connsiteY93" fmla="*/ 9953 h 10000"/>
                <a:gd name="connsiteX94" fmla="*/ 3368 w 10000"/>
                <a:gd name="connsiteY94" fmla="*/ 9931 h 10000"/>
                <a:gd name="connsiteX95" fmla="*/ 3538 w 10000"/>
                <a:gd name="connsiteY95" fmla="*/ 9898 h 10000"/>
                <a:gd name="connsiteX96" fmla="*/ 3709 w 10000"/>
                <a:gd name="connsiteY96" fmla="*/ 9866 h 10000"/>
                <a:gd name="connsiteX97" fmla="*/ 3877 w 10000"/>
                <a:gd name="connsiteY97" fmla="*/ 9824 h 10000"/>
                <a:gd name="connsiteX98" fmla="*/ 4042 w 10000"/>
                <a:gd name="connsiteY98" fmla="*/ 9779 h 10000"/>
                <a:gd name="connsiteX99" fmla="*/ 4210 w 10000"/>
                <a:gd name="connsiteY99" fmla="*/ 9730 h 10000"/>
                <a:gd name="connsiteX100" fmla="*/ 4372 w 10000"/>
                <a:gd name="connsiteY100" fmla="*/ 9673 h 10000"/>
                <a:gd name="connsiteX101" fmla="*/ 4536 w 10000"/>
                <a:gd name="connsiteY101" fmla="*/ 9616 h 10000"/>
                <a:gd name="connsiteX102" fmla="*/ 4697 w 10000"/>
                <a:gd name="connsiteY102" fmla="*/ 9552 h 10000"/>
                <a:gd name="connsiteX103" fmla="*/ 4857 w 10000"/>
                <a:gd name="connsiteY103" fmla="*/ 9482 h 10000"/>
                <a:gd name="connsiteX104" fmla="*/ 5014 w 10000"/>
                <a:gd name="connsiteY104" fmla="*/ 9405 h 10000"/>
                <a:gd name="connsiteX105" fmla="*/ 5171 w 10000"/>
                <a:gd name="connsiteY105" fmla="*/ 9329 h 10000"/>
                <a:gd name="connsiteX106" fmla="*/ 5326 w 10000"/>
                <a:gd name="connsiteY106" fmla="*/ 9244 h 10000"/>
                <a:gd name="connsiteX107" fmla="*/ 5480 w 10000"/>
                <a:gd name="connsiteY107" fmla="*/ 9158 h 10000"/>
                <a:gd name="connsiteX108" fmla="*/ 5631 w 10000"/>
                <a:gd name="connsiteY108" fmla="*/ 9063 h 10000"/>
                <a:gd name="connsiteX109" fmla="*/ 5781 w 10000"/>
                <a:gd name="connsiteY109" fmla="*/ 8967 h 10000"/>
                <a:gd name="connsiteX110" fmla="*/ 5931 w 10000"/>
                <a:gd name="connsiteY110" fmla="*/ 8865 h 10000"/>
                <a:gd name="connsiteX111" fmla="*/ 6075 w 10000"/>
                <a:gd name="connsiteY111" fmla="*/ 8759 h 10000"/>
                <a:gd name="connsiteX112" fmla="*/ 6221 w 10000"/>
                <a:gd name="connsiteY112" fmla="*/ 8652 h 10000"/>
                <a:gd name="connsiteX113" fmla="*/ 6364 w 10000"/>
                <a:gd name="connsiteY113" fmla="*/ 8536 h 10000"/>
                <a:gd name="connsiteX114" fmla="*/ 6505 w 10000"/>
                <a:gd name="connsiteY114" fmla="*/ 8417 h 10000"/>
                <a:gd name="connsiteX115" fmla="*/ 6642 w 10000"/>
                <a:gd name="connsiteY115" fmla="*/ 8295 h 10000"/>
                <a:gd name="connsiteX116" fmla="*/ 6780 w 10000"/>
                <a:gd name="connsiteY116" fmla="*/ 8169 h 10000"/>
                <a:gd name="connsiteX117" fmla="*/ 6913 w 10000"/>
                <a:gd name="connsiteY117" fmla="*/ 8040 h 10000"/>
                <a:gd name="connsiteX118" fmla="*/ 7045 w 10000"/>
                <a:gd name="connsiteY118" fmla="*/ 7904 h 10000"/>
                <a:gd name="connsiteX119" fmla="*/ 7175 w 10000"/>
                <a:gd name="connsiteY119" fmla="*/ 7768 h 10000"/>
                <a:gd name="connsiteX120" fmla="*/ 7304 w 10000"/>
                <a:gd name="connsiteY120" fmla="*/ 7624 h 10000"/>
                <a:gd name="connsiteX121" fmla="*/ 7429 w 10000"/>
                <a:gd name="connsiteY121" fmla="*/ 7480 h 10000"/>
                <a:gd name="connsiteX122" fmla="*/ 7552 w 10000"/>
                <a:gd name="connsiteY122" fmla="*/ 7329 h 10000"/>
                <a:gd name="connsiteX123" fmla="*/ 7673 w 10000"/>
                <a:gd name="connsiteY123" fmla="*/ 7178 h 10000"/>
                <a:gd name="connsiteX124" fmla="*/ 7792 w 10000"/>
                <a:gd name="connsiteY124" fmla="*/ 7024 h 10000"/>
                <a:gd name="connsiteX125" fmla="*/ 7907 w 10000"/>
                <a:gd name="connsiteY125" fmla="*/ 6861 h 10000"/>
                <a:gd name="connsiteX126" fmla="*/ 8022 w 10000"/>
                <a:gd name="connsiteY126" fmla="*/ 6697 h 10000"/>
                <a:gd name="connsiteX127" fmla="*/ 8133 w 10000"/>
                <a:gd name="connsiteY127" fmla="*/ 6534 h 10000"/>
                <a:gd name="connsiteX128" fmla="*/ 8240 w 10000"/>
                <a:gd name="connsiteY128" fmla="*/ 6365 h 10000"/>
                <a:gd name="connsiteX129" fmla="*/ 8347 w 10000"/>
                <a:gd name="connsiteY129" fmla="*/ 6189 h 10000"/>
                <a:gd name="connsiteX130" fmla="*/ 8450 w 10000"/>
                <a:gd name="connsiteY130" fmla="*/ 6016 h 10000"/>
                <a:gd name="connsiteX131" fmla="*/ 8552 w 10000"/>
                <a:gd name="connsiteY131" fmla="*/ 5835 h 10000"/>
                <a:gd name="connsiteX132" fmla="*/ 8650 w 10000"/>
                <a:gd name="connsiteY132" fmla="*/ 5652 h 10000"/>
                <a:gd name="connsiteX133" fmla="*/ 8745 w 10000"/>
                <a:gd name="connsiteY133" fmla="*/ 5468 h 10000"/>
                <a:gd name="connsiteX134" fmla="*/ 8837 w 10000"/>
                <a:gd name="connsiteY134" fmla="*/ 5278 h 10000"/>
                <a:gd name="connsiteX135" fmla="*/ 8927 w 10000"/>
                <a:gd name="connsiteY135" fmla="*/ 5089 h 10000"/>
                <a:gd name="connsiteX136" fmla="*/ 9014 w 10000"/>
                <a:gd name="connsiteY136" fmla="*/ 4893 h 10000"/>
                <a:gd name="connsiteX137" fmla="*/ 9098 w 10000"/>
                <a:gd name="connsiteY137" fmla="*/ 4698 h 10000"/>
                <a:gd name="connsiteX138" fmla="*/ 9178 w 10000"/>
                <a:gd name="connsiteY138" fmla="*/ 4500 h 10000"/>
                <a:gd name="connsiteX139" fmla="*/ 9256 w 10000"/>
                <a:gd name="connsiteY139" fmla="*/ 4294 h 10000"/>
                <a:gd name="connsiteX140" fmla="*/ 9330 w 10000"/>
                <a:gd name="connsiteY140" fmla="*/ 4091 h 10000"/>
                <a:gd name="connsiteX141" fmla="*/ 9401 w 10000"/>
                <a:gd name="connsiteY141" fmla="*/ 3885 h 10000"/>
                <a:gd name="connsiteX142" fmla="*/ 9470 w 10000"/>
                <a:gd name="connsiteY142" fmla="*/ 3674 h 10000"/>
                <a:gd name="connsiteX143" fmla="*/ 9535 w 10000"/>
                <a:gd name="connsiteY143" fmla="*/ 3464 h 10000"/>
                <a:gd name="connsiteX144" fmla="*/ 9599 w 10000"/>
                <a:gd name="connsiteY144" fmla="*/ 3248 h 10000"/>
                <a:gd name="connsiteX145" fmla="*/ 9656 w 10000"/>
                <a:gd name="connsiteY145" fmla="*/ 3030 h 10000"/>
                <a:gd name="connsiteX146" fmla="*/ 9711 w 10000"/>
                <a:gd name="connsiteY146" fmla="*/ 2815 h 10000"/>
                <a:gd name="connsiteX147" fmla="*/ 9763 w 10000"/>
                <a:gd name="connsiteY147" fmla="*/ 2592 h 10000"/>
                <a:gd name="connsiteX148" fmla="*/ 9813 w 10000"/>
                <a:gd name="connsiteY148" fmla="*/ 2369 h 10000"/>
                <a:gd name="connsiteX149" fmla="*/ 9856 w 10000"/>
                <a:gd name="connsiteY149" fmla="*/ 2143 h 10000"/>
                <a:gd name="connsiteX150" fmla="*/ 9898 w 10000"/>
                <a:gd name="connsiteY150" fmla="*/ 1918 h 10000"/>
                <a:gd name="connsiteX151" fmla="*/ 9936 w 10000"/>
                <a:gd name="connsiteY151" fmla="*/ 1690 h 10000"/>
                <a:gd name="connsiteX152" fmla="*/ 9970 w 10000"/>
                <a:gd name="connsiteY152" fmla="*/ 1457 h 10000"/>
                <a:gd name="connsiteX153" fmla="*/ 10000 w 10000"/>
                <a:gd name="connsiteY153" fmla="*/ 1222 h 10000"/>
                <a:gd name="connsiteX154" fmla="*/ 7611 w 10000"/>
                <a:gd name="connsiteY154" fmla="*/ 1876 h 10000"/>
                <a:gd name="connsiteX155" fmla="*/ 5615 w 10000"/>
                <a:gd name="connsiteY15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0 w 10000"/>
                <a:gd name="connsiteY71" fmla="*/ 6085 h 10000"/>
                <a:gd name="connsiteX72" fmla="*/ 209 w 10000"/>
                <a:gd name="connsiteY72" fmla="*/ 9512 h 10000"/>
                <a:gd name="connsiteX73" fmla="*/ 344 w 10000"/>
                <a:gd name="connsiteY73" fmla="*/ 9569 h 10000"/>
                <a:gd name="connsiteX74" fmla="*/ 481 w 10000"/>
                <a:gd name="connsiteY74" fmla="*/ 9623 h 10000"/>
                <a:gd name="connsiteX75" fmla="*/ 621 w 10000"/>
                <a:gd name="connsiteY75" fmla="*/ 9673 h 10000"/>
                <a:gd name="connsiteX76" fmla="*/ 758 w 10000"/>
                <a:gd name="connsiteY76" fmla="*/ 9720 h 10000"/>
                <a:gd name="connsiteX77" fmla="*/ 899 w 10000"/>
                <a:gd name="connsiteY77" fmla="*/ 9765 h 10000"/>
                <a:gd name="connsiteX78" fmla="*/ 1040 w 10000"/>
                <a:gd name="connsiteY78" fmla="*/ 9804 h 10000"/>
                <a:gd name="connsiteX79" fmla="*/ 1182 w 10000"/>
                <a:gd name="connsiteY79" fmla="*/ 9839 h 10000"/>
                <a:gd name="connsiteX80" fmla="*/ 1325 w 10000"/>
                <a:gd name="connsiteY80" fmla="*/ 9874 h 10000"/>
                <a:gd name="connsiteX81" fmla="*/ 1471 w 10000"/>
                <a:gd name="connsiteY81" fmla="*/ 9903 h 10000"/>
                <a:gd name="connsiteX82" fmla="*/ 1614 w 10000"/>
                <a:gd name="connsiteY82" fmla="*/ 9926 h 10000"/>
                <a:gd name="connsiteX83" fmla="*/ 1760 w 10000"/>
                <a:gd name="connsiteY83" fmla="*/ 9948 h 10000"/>
                <a:gd name="connsiteX84" fmla="*/ 1906 w 10000"/>
                <a:gd name="connsiteY84" fmla="*/ 9965 h 10000"/>
                <a:gd name="connsiteX85" fmla="*/ 2052 w 10000"/>
                <a:gd name="connsiteY85" fmla="*/ 9980 h 10000"/>
                <a:gd name="connsiteX86" fmla="*/ 2202 w 10000"/>
                <a:gd name="connsiteY86" fmla="*/ 9990 h 10000"/>
                <a:gd name="connsiteX87" fmla="*/ 2350 w 10000"/>
                <a:gd name="connsiteY87" fmla="*/ 9995 h 10000"/>
                <a:gd name="connsiteX88" fmla="*/ 2498 w 10000"/>
                <a:gd name="connsiteY88" fmla="*/ 10000 h 10000"/>
                <a:gd name="connsiteX89" fmla="*/ 2677 w 10000"/>
                <a:gd name="connsiteY89" fmla="*/ 9995 h 10000"/>
                <a:gd name="connsiteX90" fmla="*/ 2850 w 10000"/>
                <a:gd name="connsiteY90" fmla="*/ 9988 h 10000"/>
                <a:gd name="connsiteX91" fmla="*/ 3024 w 10000"/>
                <a:gd name="connsiteY91" fmla="*/ 9975 h 10000"/>
                <a:gd name="connsiteX92" fmla="*/ 3195 w 10000"/>
                <a:gd name="connsiteY92" fmla="*/ 9953 h 10000"/>
                <a:gd name="connsiteX93" fmla="*/ 3368 w 10000"/>
                <a:gd name="connsiteY93" fmla="*/ 9931 h 10000"/>
                <a:gd name="connsiteX94" fmla="*/ 3538 w 10000"/>
                <a:gd name="connsiteY94" fmla="*/ 9898 h 10000"/>
                <a:gd name="connsiteX95" fmla="*/ 3709 w 10000"/>
                <a:gd name="connsiteY95" fmla="*/ 9866 h 10000"/>
                <a:gd name="connsiteX96" fmla="*/ 3877 w 10000"/>
                <a:gd name="connsiteY96" fmla="*/ 9824 h 10000"/>
                <a:gd name="connsiteX97" fmla="*/ 4042 w 10000"/>
                <a:gd name="connsiteY97" fmla="*/ 9779 h 10000"/>
                <a:gd name="connsiteX98" fmla="*/ 4210 w 10000"/>
                <a:gd name="connsiteY98" fmla="*/ 9730 h 10000"/>
                <a:gd name="connsiteX99" fmla="*/ 4372 w 10000"/>
                <a:gd name="connsiteY99" fmla="*/ 9673 h 10000"/>
                <a:gd name="connsiteX100" fmla="*/ 4536 w 10000"/>
                <a:gd name="connsiteY100" fmla="*/ 9616 h 10000"/>
                <a:gd name="connsiteX101" fmla="*/ 4697 w 10000"/>
                <a:gd name="connsiteY101" fmla="*/ 9552 h 10000"/>
                <a:gd name="connsiteX102" fmla="*/ 4857 w 10000"/>
                <a:gd name="connsiteY102" fmla="*/ 9482 h 10000"/>
                <a:gd name="connsiteX103" fmla="*/ 5014 w 10000"/>
                <a:gd name="connsiteY103" fmla="*/ 9405 h 10000"/>
                <a:gd name="connsiteX104" fmla="*/ 5171 w 10000"/>
                <a:gd name="connsiteY104" fmla="*/ 9329 h 10000"/>
                <a:gd name="connsiteX105" fmla="*/ 5326 w 10000"/>
                <a:gd name="connsiteY105" fmla="*/ 9244 h 10000"/>
                <a:gd name="connsiteX106" fmla="*/ 5480 w 10000"/>
                <a:gd name="connsiteY106" fmla="*/ 9158 h 10000"/>
                <a:gd name="connsiteX107" fmla="*/ 5631 w 10000"/>
                <a:gd name="connsiteY107" fmla="*/ 9063 h 10000"/>
                <a:gd name="connsiteX108" fmla="*/ 5781 w 10000"/>
                <a:gd name="connsiteY108" fmla="*/ 8967 h 10000"/>
                <a:gd name="connsiteX109" fmla="*/ 5931 w 10000"/>
                <a:gd name="connsiteY109" fmla="*/ 8865 h 10000"/>
                <a:gd name="connsiteX110" fmla="*/ 6075 w 10000"/>
                <a:gd name="connsiteY110" fmla="*/ 8759 h 10000"/>
                <a:gd name="connsiteX111" fmla="*/ 6221 w 10000"/>
                <a:gd name="connsiteY111" fmla="*/ 8652 h 10000"/>
                <a:gd name="connsiteX112" fmla="*/ 6364 w 10000"/>
                <a:gd name="connsiteY112" fmla="*/ 8536 h 10000"/>
                <a:gd name="connsiteX113" fmla="*/ 6505 w 10000"/>
                <a:gd name="connsiteY113" fmla="*/ 8417 h 10000"/>
                <a:gd name="connsiteX114" fmla="*/ 6642 w 10000"/>
                <a:gd name="connsiteY114" fmla="*/ 8295 h 10000"/>
                <a:gd name="connsiteX115" fmla="*/ 6780 w 10000"/>
                <a:gd name="connsiteY115" fmla="*/ 8169 h 10000"/>
                <a:gd name="connsiteX116" fmla="*/ 6913 w 10000"/>
                <a:gd name="connsiteY116" fmla="*/ 8040 h 10000"/>
                <a:gd name="connsiteX117" fmla="*/ 7045 w 10000"/>
                <a:gd name="connsiteY117" fmla="*/ 7904 h 10000"/>
                <a:gd name="connsiteX118" fmla="*/ 7175 w 10000"/>
                <a:gd name="connsiteY118" fmla="*/ 7768 h 10000"/>
                <a:gd name="connsiteX119" fmla="*/ 7304 w 10000"/>
                <a:gd name="connsiteY119" fmla="*/ 7624 h 10000"/>
                <a:gd name="connsiteX120" fmla="*/ 7429 w 10000"/>
                <a:gd name="connsiteY120" fmla="*/ 7480 h 10000"/>
                <a:gd name="connsiteX121" fmla="*/ 7552 w 10000"/>
                <a:gd name="connsiteY121" fmla="*/ 7329 h 10000"/>
                <a:gd name="connsiteX122" fmla="*/ 7673 w 10000"/>
                <a:gd name="connsiteY122" fmla="*/ 7178 h 10000"/>
                <a:gd name="connsiteX123" fmla="*/ 7792 w 10000"/>
                <a:gd name="connsiteY123" fmla="*/ 7024 h 10000"/>
                <a:gd name="connsiteX124" fmla="*/ 7907 w 10000"/>
                <a:gd name="connsiteY124" fmla="*/ 6861 h 10000"/>
                <a:gd name="connsiteX125" fmla="*/ 8022 w 10000"/>
                <a:gd name="connsiteY125" fmla="*/ 6697 h 10000"/>
                <a:gd name="connsiteX126" fmla="*/ 8133 w 10000"/>
                <a:gd name="connsiteY126" fmla="*/ 6534 h 10000"/>
                <a:gd name="connsiteX127" fmla="*/ 8240 w 10000"/>
                <a:gd name="connsiteY127" fmla="*/ 6365 h 10000"/>
                <a:gd name="connsiteX128" fmla="*/ 8347 w 10000"/>
                <a:gd name="connsiteY128" fmla="*/ 6189 h 10000"/>
                <a:gd name="connsiteX129" fmla="*/ 8450 w 10000"/>
                <a:gd name="connsiteY129" fmla="*/ 6016 h 10000"/>
                <a:gd name="connsiteX130" fmla="*/ 8552 w 10000"/>
                <a:gd name="connsiteY130" fmla="*/ 5835 h 10000"/>
                <a:gd name="connsiteX131" fmla="*/ 8650 w 10000"/>
                <a:gd name="connsiteY131" fmla="*/ 5652 h 10000"/>
                <a:gd name="connsiteX132" fmla="*/ 8745 w 10000"/>
                <a:gd name="connsiteY132" fmla="*/ 5468 h 10000"/>
                <a:gd name="connsiteX133" fmla="*/ 8837 w 10000"/>
                <a:gd name="connsiteY133" fmla="*/ 5278 h 10000"/>
                <a:gd name="connsiteX134" fmla="*/ 8927 w 10000"/>
                <a:gd name="connsiteY134" fmla="*/ 5089 h 10000"/>
                <a:gd name="connsiteX135" fmla="*/ 9014 w 10000"/>
                <a:gd name="connsiteY135" fmla="*/ 4893 h 10000"/>
                <a:gd name="connsiteX136" fmla="*/ 9098 w 10000"/>
                <a:gd name="connsiteY136" fmla="*/ 4698 h 10000"/>
                <a:gd name="connsiteX137" fmla="*/ 9178 w 10000"/>
                <a:gd name="connsiteY137" fmla="*/ 4500 h 10000"/>
                <a:gd name="connsiteX138" fmla="*/ 9256 w 10000"/>
                <a:gd name="connsiteY138" fmla="*/ 4294 h 10000"/>
                <a:gd name="connsiteX139" fmla="*/ 9330 w 10000"/>
                <a:gd name="connsiteY139" fmla="*/ 4091 h 10000"/>
                <a:gd name="connsiteX140" fmla="*/ 9401 w 10000"/>
                <a:gd name="connsiteY140" fmla="*/ 3885 h 10000"/>
                <a:gd name="connsiteX141" fmla="*/ 9470 w 10000"/>
                <a:gd name="connsiteY141" fmla="*/ 3674 h 10000"/>
                <a:gd name="connsiteX142" fmla="*/ 9535 w 10000"/>
                <a:gd name="connsiteY142" fmla="*/ 3464 h 10000"/>
                <a:gd name="connsiteX143" fmla="*/ 9599 w 10000"/>
                <a:gd name="connsiteY143" fmla="*/ 3248 h 10000"/>
                <a:gd name="connsiteX144" fmla="*/ 9656 w 10000"/>
                <a:gd name="connsiteY144" fmla="*/ 3030 h 10000"/>
                <a:gd name="connsiteX145" fmla="*/ 9711 w 10000"/>
                <a:gd name="connsiteY145" fmla="*/ 2815 h 10000"/>
                <a:gd name="connsiteX146" fmla="*/ 9763 w 10000"/>
                <a:gd name="connsiteY146" fmla="*/ 2592 h 10000"/>
                <a:gd name="connsiteX147" fmla="*/ 9813 w 10000"/>
                <a:gd name="connsiteY147" fmla="*/ 2369 h 10000"/>
                <a:gd name="connsiteX148" fmla="*/ 9856 w 10000"/>
                <a:gd name="connsiteY148" fmla="*/ 2143 h 10000"/>
                <a:gd name="connsiteX149" fmla="*/ 9898 w 10000"/>
                <a:gd name="connsiteY149" fmla="*/ 1918 h 10000"/>
                <a:gd name="connsiteX150" fmla="*/ 9936 w 10000"/>
                <a:gd name="connsiteY150" fmla="*/ 1690 h 10000"/>
                <a:gd name="connsiteX151" fmla="*/ 9970 w 10000"/>
                <a:gd name="connsiteY151" fmla="*/ 1457 h 10000"/>
                <a:gd name="connsiteX152" fmla="*/ 10000 w 10000"/>
                <a:gd name="connsiteY152" fmla="*/ 1222 h 10000"/>
                <a:gd name="connsiteX153" fmla="*/ 7611 w 10000"/>
                <a:gd name="connsiteY153" fmla="*/ 1876 h 10000"/>
                <a:gd name="connsiteX154" fmla="*/ 5615 w 10000"/>
                <a:gd name="connsiteY15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0 w 10000"/>
                <a:gd name="connsiteY70" fmla="*/ 6085 h 10000"/>
                <a:gd name="connsiteX71" fmla="*/ 209 w 10000"/>
                <a:gd name="connsiteY71" fmla="*/ 9512 h 10000"/>
                <a:gd name="connsiteX72" fmla="*/ 344 w 10000"/>
                <a:gd name="connsiteY72" fmla="*/ 9569 h 10000"/>
                <a:gd name="connsiteX73" fmla="*/ 481 w 10000"/>
                <a:gd name="connsiteY73" fmla="*/ 9623 h 10000"/>
                <a:gd name="connsiteX74" fmla="*/ 621 w 10000"/>
                <a:gd name="connsiteY74" fmla="*/ 9673 h 10000"/>
                <a:gd name="connsiteX75" fmla="*/ 758 w 10000"/>
                <a:gd name="connsiteY75" fmla="*/ 9720 h 10000"/>
                <a:gd name="connsiteX76" fmla="*/ 899 w 10000"/>
                <a:gd name="connsiteY76" fmla="*/ 9765 h 10000"/>
                <a:gd name="connsiteX77" fmla="*/ 1040 w 10000"/>
                <a:gd name="connsiteY77" fmla="*/ 9804 h 10000"/>
                <a:gd name="connsiteX78" fmla="*/ 1182 w 10000"/>
                <a:gd name="connsiteY78" fmla="*/ 9839 h 10000"/>
                <a:gd name="connsiteX79" fmla="*/ 1325 w 10000"/>
                <a:gd name="connsiteY79" fmla="*/ 9874 h 10000"/>
                <a:gd name="connsiteX80" fmla="*/ 1471 w 10000"/>
                <a:gd name="connsiteY80" fmla="*/ 9903 h 10000"/>
                <a:gd name="connsiteX81" fmla="*/ 1614 w 10000"/>
                <a:gd name="connsiteY81" fmla="*/ 9926 h 10000"/>
                <a:gd name="connsiteX82" fmla="*/ 1760 w 10000"/>
                <a:gd name="connsiteY82" fmla="*/ 9948 h 10000"/>
                <a:gd name="connsiteX83" fmla="*/ 1906 w 10000"/>
                <a:gd name="connsiteY83" fmla="*/ 9965 h 10000"/>
                <a:gd name="connsiteX84" fmla="*/ 2052 w 10000"/>
                <a:gd name="connsiteY84" fmla="*/ 9980 h 10000"/>
                <a:gd name="connsiteX85" fmla="*/ 2202 w 10000"/>
                <a:gd name="connsiteY85" fmla="*/ 9990 h 10000"/>
                <a:gd name="connsiteX86" fmla="*/ 2350 w 10000"/>
                <a:gd name="connsiteY86" fmla="*/ 9995 h 10000"/>
                <a:gd name="connsiteX87" fmla="*/ 2498 w 10000"/>
                <a:gd name="connsiteY87" fmla="*/ 10000 h 10000"/>
                <a:gd name="connsiteX88" fmla="*/ 2677 w 10000"/>
                <a:gd name="connsiteY88" fmla="*/ 9995 h 10000"/>
                <a:gd name="connsiteX89" fmla="*/ 2850 w 10000"/>
                <a:gd name="connsiteY89" fmla="*/ 9988 h 10000"/>
                <a:gd name="connsiteX90" fmla="*/ 3024 w 10000"/>
                <a:gd name="connsiteY90" fmla="*/ 9975 h 10000"/>
                <a:gd name="connsiteX91" fmla="*/ 3195 w 10000"/>
                <a:gd name="connsiteY91" fmla="*/ 9953 h 10000"/>
                <a:gd name="connsiteX92" fmla="*/ 3368 w 10000"/>
                <a:gd name="connsiteY92" fmla="*/ 9931 h 10000"/>
                <a:gd name="connsiteX93" fmla="*/ 3538 w 10000"/>
                <a:gd name="connsiteY93" fmla="*/ 9898 h 10000"/>
                <a:gd name="connsiteX94" fmla="*/ 3709 w 10000"/>
                <a:gd name="connsiteY94" fmla="*/ 9866 h 10000"/>
                <a:gd name="connsiteX95" fmla="*/ 3877 w 10000"/>
                <a:gd name="connsiteY95" fmla="*/ 9824 h 10000"/>
                <a:gd name="connsiteX96" fmla="*/ 4042 w 10000"/>
                <a:gd name="connsiteY96" fmla="*/ 9779 h 10000"/>
                <a:gd name="connsiteX97" fmla="*/ 4210 w 10000"/>
                <a:gd name="connsiteY97" fmla="*/ 9730 h 10000"/>
                <a:gd name="connsiteX98" fmla="*/ 4372 w 10000"/>
                <a:gd name="connsiteY98" fmla="*/ 9673 h 10000"/>
                <a:gd name="connsiteX99" fmla="*/ 4536 w 10000"/>
                <a:gd name="connsiteY99" fmla="*/ 9616 h 10000"/>
                <a:gd name="connsiteX100" fmla="*/ 4697 w 10000"/>
                <a:gd name="connsiteY100" fmla="*/ 9552 h 10000"/>
                <a:gd name="connsiteX101" fmla="*/ 4857 w 10000"/>
                <a:gd name="connsiteY101" fmla="*/ 9482 h 10000"/>
                <a:gd name="connsiteX102" fmla="*/ 5014 w 10000"/>
                <a:gd name="connsiteY102" fmla="*/ 9405 h 10000"/>
                <a:gd name="connsiteX103" fmla="*/ 5171 w 10000"/>
                <a:gd name="connsiteY103" fmla="*/ 9329 h 10000"/>
                <a:gd name="connsiteX104" fmla="*/ 5326 w 10000"/>
                <a:gd name="connsiteY104" fmla="*/ 9244 h 10000"/>
                <a:gd name="connsiteX105" fmla="*/ 5480 w 10000"/>
                <a:gd name="connsiteY105" fmla="*/ 9158 h 10000"/>
                <a:gd name="connsiteX106" fmla="*/ 5631 w 10000"/>
                <a:gd name="connsiteY106" fmla="*/ 9063 h 10000"/>
                <a:gd name="connsiteX107" fmla="*/ 5781 w 10000"/>
                <a:gd name="connsiteY107" fmla="*/ 8967 h 10000"/>
                <a:gd name="connsiteX108" fmla="*/ 5931 w 10000"/>
                <a:gd name="connsiteY108" fmla="*/ 8865 h 10000"/>
                <a:gd name="connsiteX109" fmla="*/ 6075 w 10000"/>
                <a:gd name="connsiteY109" fmla="*/ 8759 h 10000"/>
                <a:gd name="connsiteX110" fmla="*/ 6221 w 10000"/>
                <a:gd name="connsiteY110" fmla="*/ 8652 h 10000"/>
                <a:gd name="connsiteX111" fmla="*/ 6364 w 10000"/>
                <a:gd name="connsiteY111" fmla="*/ 8536 h 10000"/>
                <a:gd name="connsiteX112" fmla="*/ 6505 w 10000"/>
                <a:gd name="connsiteY112" fmla="*/ 8417 h 10000"/>
                <a:gd name="connsiteX113" fmla="*/ 6642 w 10000"/>
                <a:gd name="connsiteY113" fmla="*/ 8295 h 10000"/>
                <a:gd name="connsiteX114" fmla="*/ 6780 w 10000"/>
                <a:gd name="connsiteY114" fmla="*/ 8169 h 10000"/>
                <a:gd name="connsiteX115" fmla="*/ 6913 w 10000"/>
                <a:gd name="connsiteY115" fmla="*/ 8040 h 10000"/>
                <a:gd name="connsiteX116" fmla="*/ 7045 w 10000"/>
                <a:gd name="connsiteY116" fmla="*/ 7904 h 10000"/>
                <a:gd name="connsiteX117" fmla="*/ 7175 w 10000"/>
                <a:gd name="connsiteY117" fmla="*/ 7768 h 10000"/>
                <a:gd name="connsiteX118" fmla="*/ 7304 w 10000"/>
                <a:gd name="connsiteY118" fmla="*/ 7624 h 10000"/>
                <a:gd name="connsiteX119" fmla="*/ 7429 w 10000"/>
                <a:gd name="connsiteY119" fmla="*/ 7480 h 10000"/>
                <a:gd name="connsiteX120" fmla="*/ 7552 w 10000"/>
                <a:gd name="connsiteY120" fmla="*/ 7329 h 10000"/>
                <a:gd name="connsiteX121" fmla="*/ 7673 w 10000"/>
                <a:gd name="connsiteY121" fmla="*/ 7178 h 10000"/>
                <a:gd name="connsiteX122" fmla="*/ 7792 w 10000"/>
                <a:gd name="connsiteY122" fmla="*/ 7024 h 10000"/>
                <a:gd name="connsiteX123" fmla="*/ 7907 w 10000"/>
                <a:gd name="connsiteY123" fmla="*/ 6861 h 10000"/>
                <a:gd name="connsiteX124" fmla="*/ 8022 w 10000"/>
                <a:gd name="connsiteY124" fmla="*/ 6697 h 10000"/>
                <a:gd name="connsiteX125" fmla="*/ 8133 w 10000"/>
                <a:gd name="connsiteY125" fmla="*/ 6534 h 10000"/>
                <a:gd name="connsiteX126" fmla="*/ 8240 w 10000"/>
                <a:gd name="connsiteY126" fmla="*/ 6365 h 10000"/>
                <a:gd name="connsiteX127" fmla="*/ 8347 w 10000"/>
                <a:gd name="connsiteY127" fmla="*/ 6189 h 10000"/>
                <a:gd name="connsiteX128" fmla="*/ 8450 w 10000"/>
                <a:gd name="connsiteY128" fmla="*/ 6016 h 10000"/>
                <a:gd name="connsiteX129" fmla="*/ 8552 w 10000"/>
                <a:gd name="connsiteY129" fmla="*/ 5835 h 10000"/>
                <a:gd name="connsiteX130" fmla="*/ 8650 w 10000"/>
                <a:gd name="connsiteY130" fmla="*/ 5652 h 10000"/>
                <a:gd name="connsiteX131" fmla="*/ 8745 w 10000"/>
                <a:gd name="connsiteY131" fmla="*/ 5468 h 10000"/>
                <a:gd name="connsiteX132" fmla="*/ 8837 w 10000"/>
                <a:gd name="connsiteY132" fmla="*/ 5278 h 10000"/>
                <a:gd name="connsiteX133" fmla="*/ 8927 w 10000"/>
                <a:gd name="connsiteY133" fmla="*/ 5089 h 10000"/>
                <a:gd name="connsiteX134" fmla="*/ 9014 w 10000"/>
                <a:gd name="connsiteY134" fmla="*/ 4893 h 10000"/>
                <a:gd name="connsiteX135" fmla="*/ 9098 w 10000"/>
                <a:gd name="connsiteY135" fmla="*/ 4698 h 10000"/>
                <a:gd name="connsiteX136" fmla="*/ 9178 w 10000"/>
                <a:gd name="connsiteY136" fmla="*/ 4500 h 10000"/>
                <a:gd name="connsiteX137" fmla="*/ 9256 w 10000"/>
                <a:gd name="connsiteY137" fmla="*/ 4294 h 10000"/>
                <a:gd name="connsiteX138" fmla="*/ 9330 w 10000"/>
                <a:gd name="connsiteY138" fmla="*/ 4091 h 10000"/>
                <a:gd name="connsiteX139" fmla="*/ 9401 w 10000"/>
                <a:gd name="connsiteY139" fmla="*/ 3885 h 10000"/>
                <a:gd name="connsiteX140" fmla="*/ 9470 w 10000"/>
                <a:gd name="connsiteY140" fmla="*/ 3674 h 10000"/>
                <a:gd name="connsiteX141" fmla="*/ 9535 w 10000"/>
                <a:gd name="connsiteY141" fmla="*/ 3464 h 10000"/>
                <a:gd name="connsiteX142" fmla="*/ 9599 w 10000"/>
                <a:gd name="connsiteY142" fmla="*/ 3248 h 10000"/>
                <a:gd name="connsiteX143" fmla="*/ 9656 w 10000"/>
                <a:gd name="connsiteY143" fmla="*/ 3030 h 10000"/>
                <a:gd name="connsiteX144" fmla="*/ 9711 w 10000"/>
                <a:gd name="connsiteY144" fmla="*/ 2815 h 10000"/>
                <a:gd name="connsiteX145" fmla="*/ 9763 w 10000"/>
                <a:gd name="connsiteY145" fmla="*/ 2592 h 10000"/>
                <a:gd name="connsiteX146" fmla="*/ 9813 w 10000"/>
                <a:gd name="connsiteY146" fmla="*/ 2369 h 10000"/>
                <a:gd name="connsiteX147" fmla="*/ 9856 w 10000"/>
                <a:gd name="connsiteY147" fmla="*/ 2143 h 10000"/>
                <a:gd name="connsiteX148" fmla="*/ 9898 w 10000"/>
                <a:gd name="connsiteY148" fmla="*/ 1918 h 10000"/>
                <a:gd name="connsiteX149" fmla="*/ 9936 w 10000"/>
                <a:gd name="connsiteY149" fmla="*/ 1690 h 10000"/>
                <a:gd name="connsiteX150" fmla="*/ 9970 w 10000"/>
                <a:gd name="connsiteY150" fmla="*/ 1457 h 10000"/>
                <a:gd name="connsiteX151" fmla="*/ 10000 w 10000"/>
                <a:gd name="connsiteY151" fmla="*/ 1222 h 10000"/>
                <a:gd name="connsiteX152" fmla="*/ 7611 w 10000"/>
                <a:gd name="connsiteY152" fmla="*/ 1876 h 10000"/>
                <a:gd name="connsiteX153" fmla="*/ 5615 w 10000"/>
                <a:gd name="connsiteY15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0 w 10000"/>
                <a:gd name="connsiteY69" fmla="*/ 6085 h 10000"/>
                <a:gd name="connsiteX70" fmla="*/ 209 w 10000"/>
                <a:gd name="connsiteY70" fmla="*/ 9512 h 10000"/>
                <a:gd name="connsiteX71" fmla="*/ 344 w 10000"/>
                <a:gd name="connsiteY71" fmla="*/ 9569 h 10000"/>
                <a:gd name="connsiteX72" fmla="*/ 481 w 10000"/>
                <a:gd name="connsiteY72" fmla="*/ 9623 h 10000"/>
                <a:gd name="connsiteX73" fmla="*/ 621 w 10000"/>
                <a:gd name="connsiteY73" fmla="*/ 9673 h 10000"/>
                <a:gd name="connsiteX74" fmla="*/ 758 w 10000"/>
                <a:gd name="connsiteY74" fmla="*/ 9720 h 10000"/>
                <a:gd name="connsiteX75" fmla="*/ 899 w 10000"/>
                <a:gd name="connsiteY75" fmla="*/ 9765 h 10000"/>
                <a:gd name="connsiteX76" fmla="*/ 1040 w 10000"/>
                <a:gd name="connsiteY76" fmla="*/ 9804 h 10000"/>
                <a:gd name="connsiteX77" fmla="*/ 1182 w 10000"/>
                <a:gd name="connsiteY77" fmla="*/ 9839 h 10000"/>
                <a:gd name="connsiteX78" fmla="*/ 1325 w 10000"/>
                <a:gd name="connsiteY78" fmla="*/ 9874 h 10000"/>
                <a:gd name="connsiteX79" fmla="*/ 1471 w 10000"/>
                <a:gd name="connsiteY79" fmla="*/ 9903 h 10000"/>
                <a:gd name="connsiteX80" fmla="*/ 1614 w 10000"/>
                <a:gd name="connsiteY80" fmla="*/ 9926 h 10000"/>
                <a:gd name="connsiteX81" fmla="*/ 1760 w 10000"/>
                <a:gd name="connsiteY81" fmla="*/ 9948 h 10000"/>
                <a:gd name="connsiteX82" fmla="*/ 1906 w 10000"/>
                <a:gd name="connsiteY82" fmla="*/ 9965 h 10000"/>
                <a:gd name="connsiteX83" fmla="*/ 2052 w 10000"/>
                <a:gd name="connsiteY83" fmla="*/ 9980 h 10000"/>
                <a:gd name="connsiteX84" fmla="*/ 2202 w 10000"/>
                <a:gd name="connsiteY84" fmla="*/ 9990 h 10000"/>
                <a:gd name="connsiteX85" fmla="*/ 2350 w 10000"/>
                <a:gd name="connsiteY85" fmla="*/ 9995 h 10000"/>
                <a:gd name="connsiteX86" fmla="*/ 2498 w 10000"/>
                <a:gd name="connsiteY86" fmla="*/ 10000 h 10000"/>
                <a:gd name="connsiteX87" fmla="*/ 2677 w 10000"/>
                <a:gd name="connsiteY87" fmla="*/ 9995 h 10000"/>
                <a:gd name="connsiteX88" fmla="*/ 2850 w 10000"/>
                <a:gd name="connsiteY88" fmla="*/ 9988 h 10000"/>
                <a:gd name="connsiteX89" fmla="*/ 3024 w 10000"/>
                <a:gd name="connsiteY89" fmla="*/ 9975 h 10000"/>
                <a:gd name="connsiteX90" fmla="*/ 3195 w 10000"/>
                <a:gd name="connsiteY90" fmla="*/ 9953 h 10000"/>
                <a:gd name="connsiteX91" fmla="*/ 3368 w 10000"/>
                <a:gd name="connsiteY91" fmla="*/ 9931 h 10000"/>
                <a:gd name="connsiteX92" fmla="*/ 3538 w 10000"/>
                <a:gd name="connsiteY92" fmla="*/ 9898 h 10000"/>
                <a:gd name="connsiteX93" fmla="*/ 3709 w 10000"/>
                <a:gd name="connsiteY93" fmla="*/ 9866 h 10000"/>
                <a:gd name="connsiteX94" fmla="*/ 3877 w 10000"/>
                <a:gd name="connsiteY94" fmla="*/ 9824 h 10000"/>
                <a:gd name="connsiteX95" fmla="*/ 4042 w 10000"/>
                <a:gd name="connsiteY95" fmla="*/ 9779 h 10000"/>
                <a:gd name="connsiteX96" fmla="*/ 4210 w 10000"/>
                <a:gd name="connsiteY96" fmla="*/ 9730 h 10000"/>
                <a:gd name="connsiteX97" fmla="*/ 4372 w 10000"/>
                <a:gd name="connsiteY97" fmla="*/ 9673 h 10000"/>
                <a:gd name="connsiteX98" fmla="*/ 4536 w 10000"/>
                <a:gd name="connsiteY98" fmla="*/ 9616 h 10000"/>
                <a:gd name="connsiteX99" fmla="*/ 4697 w 10000"/>
                <a:gd name="connsiteY99" fmla="*/ 9552 h 10000"/>
                <a:gd name="connsiteX100" fmla="*/ 4857 w 10000"/>
                <a:gd name="connsiteY100" fmla="*/ 9482 h 10000"/>
                <a:gd name="connsiteX101" fmla="*/ 5014 w 10000"/>
                <a:gd name="connsiteY101" fmla="*/ 9405 h 10000"/>
                <a:gd name="connsiteX102" fmla="*/ 5171 w 10000"/>
                <a:gd name="connsiteY102" fmla="*/ 9329 h 10000"/>
                <a:gd name="connsiteX103" fmla="*/ 5326 w 10000"/>
                <a:gd name="connsiteY103" fmla="*/ 9244 h 10000"/>
                <a:gd name="connsiteX104" fmla="*/ 5480 w 10000"/>
                <a:gd name="connsiteY104" fmla="*/ 9158 h 10000"/>
                <a:gd name="connsiteX105" fmla="*/ 5631 w 10000"/>
                <a:gd name="connsiteY105" fmla="*/ 9063 h 10000"/>
                <a:gd name="connsiteX106" fmla="*/ 5781 w 10000"/>
                <a:gd name="connsiteY106" fmla="*/ 8967 h 10000"/>
                <a:gd name="connsiteX107" fmla="*/ 5931 w 10000"/>
                <a:gd name="connsiteY107" fmla="*/ 8865 h 10000"/>
                <a:gd name="connsiteX108" fmla="*/ 6075 w 10000"/>
                <a:gd name="connsiteY108" fmla="*/ 8759 h 10000"/>
                <a:gd name="connsiteX109" fmla="*/ 6221 w 10000"/>
                <a:gd name="connsiteY109" fmla="*/ 8652 h 10000"/>
                <a:gd name="connsiteX110" fmla="*/ 6364 w 10000"/>
                <a:gd name="connsiteY110" fmla="*/ 8536 h 10000"/>
                <a:gd name="connsiteX111" fmla="*/ 6505 w 10000"/>
                <a:gd name="connsiteY111" fmla="*/ 8417 h 10000"/>
                <a:gd name="connsiteX112" fmla="*/ 6642 w 10000"/>
                <a:gd name="connsiteY112" fmla="*/ 8295 h 10000"/>
                <a:gd name="connsiteX113" fmla="*/ 6780 w 10000"/>
                <a:gd name="connsiteY113" fmla="*/ 8169 h 10000"/>
                <a:gd name="connsiteX114" fmla="*/ 6913 w 10000"/>
                <a:gd name="connsiteY114" fmla="*/ 8040 h 10000"/>
                <a:gd name="connsiteX115" fmla="*/ 7045 w 10000"/>
                <a:gd name="connsiteY115" fmla="*/ 7904 h 10000"/>
                <a:gd name="connsiteX116" fmla="*/ 7175 w 10000"/>
                <a:gd name="connsiteY116" fmla="*/ 7768 h 10000"/>
                <a:gd name="connsiteX117" fmla="*/ 7304 w 10000"/>
                <a:gd name="connsiteY117" fmla="*/ 7624 h 10000"/>
                <a:gd name="connsiteX118" fmla="*/ 7429 w 10000"/>
                <a:gd name="connsiteY118" fmla="*/ 7480 h 10000"/>
                <a:gd name="connsiteX119" fmla="*/ 7552 w 10000"/>
                <a:gd name="connsiteY119" fmla="*/ 7329 h 10000"/>
                <a:gd name="connsiteX120" fmla="*/ 7673 w 10000"/>
                <a:gd name="connsiteY120" fmla="*/ 7178 h 10000"/>
                <a:gd name="connsiteX121" fmla="*/ 7792 w 10000"/>
                <a:gd name="connsiteY121" fmla="*/ 7024 h 10000"/>
                <a:gd name="connsiteX122" fmla="*/ 7907 w 10000"/>
                <a:gd name="connsiteY122" fmla="*/ 6861 h 10000"/>
                <a:gd name="connsiteX123" fmla="*/ 8022 w 10000"/>
                <a:gd name="connsiteY123" fmla="*/ 6697 h 10000"/>
                <a:gd name="connsiteX124" fmla="*/ 8133 w 10000"/>
                <a:gd name="connsiteY124" fmla="*/ 6534 h 10000"/>
                <a:gd name="connsiteX125" fmla="*/ 8240 w 10000"/>
                <a:gd name="connsiteY125" fmla="*/ 6365 h 10000"/>
                <a:gd name="connsiteX126" fmla="*/ 8347 w 10000"/>
                <a:gd name="connsiteY126" fmla="*/ 6189 h 10000"/>
                <a:gd name="connsiteX127" fmla="*/ 8450 w 10000"/>
                <a:gd name="connsiteY127" fmla="*/ 6016 h 10000"/>
                <a:gd name="connsiteX128" fmla="*/ 8552 w 10000"/>
                <a:gd name="connsiteY128" fmla="*/ 5835 h 10000"/>
                <a:gd name="connsiteX129" fmla="*/ 8650 w 10000"/>
                <a:gd name="connsiteY129" fmla="*/ 5652 h 10000"/>
                <a:gd name="connsiteX130" fmla="*/ 8745 w 10000"/>
                <a:gd name="connsiteY130" fmla="*/ 5468 h 10000"/>
                <a:gd name="connsiteX131" fmla="*/ 8837 w 10000"/>
                <a:gd name="connsiteY131" fmla="*/ 5278 h 10000"/>
                <a:gd name="connsiteX132" fmla="*/ 8927 w 10000"/>
                <a:gd name="connsiteY132" fmla="*/ 5089 h 10000"/>
                <a:gd name="connsiteX133" fmla="*/ 9014 w 10000"/>
                <a:gd name="connsiteY133" fmla="*/ 4893 h 10000"/>
                <a:gd name="connsiteX134" fmla="*/ 9098 w 10000"/>
                <a:gd name="connsiteY134" fmla="*/ 4698 h 10000"/>
                <a:gd name="connsiteX135" fmla="*/ 9178 w 10000"/>
                <a:gd name="connsiteY135" fmla="*/ 4500 h 10000"/>
                <a:gd name="connsiteX136" fmla="*/ 9256 w 10000"/>
                <a:gd name="connsiteY136" fmla="*/ 4294 h 10000"/>
                <a:gd name="connsiteX137" fmla="*/ 9330 w 10000"/>
                <a:gd name="connsiteY137" fmla="*/ 4091 h 10000"/>
                <a:gd name="connsiteX138" fmla="*/ 9401 w 10000"/>
                <a:gd name="connsiteY138" fmla="*/ 3885 h 10000"/>
                <a:gd name="connsiteX139" fmla="*/ 9470 w 10000"/>
                <a:gd name="connsiteY139" fmla="*/ 3674 h 10000"/>
                <a:gd name="connsiteX140" fmla="*/ 9535 w 10000"/>
                <a:gd name="connsiteY140" fmla="*/ 3464 h 10000"/>
                <a:gd name="connsiteX141" fmla="*/ 9599 w 10000"/>
                <a:gd name="connsiteY141" fmla="*/ 3248 h 10000"/>
                <a:gd name="connsiteX142" fmla="*/ 9656 w 10000"/>
                <a:gd name="connsiteY142" fmla="*/ 3030 h 10000"/>
                <a:gd name="connsiteX143" fmla="*/ 9711 w 10000"/>
                <a:gd name="connsiteY143" fmla="*/ 2815 h 10000"/>
                <a:gd name="connsiteX144" fmla="*/ 9763 w 10000"/>
                <a:gd name="connsiteY144" fmla="*/ 2592 h 10000"/>
                <a:gd name="connsiteX145" fmla="*/ 9813 w 10000"/>
                <a:gd name="connsiteY145" fmla="*/ 2369 h 10000"/>
                <a:gd name="connsiteX146" fmla="*/ 9856 w 10000"/>
                <a:gd name="connsiteY146" fmla="*/ 2143 h 10000"/>
                <a:gd name="connsiteX147" fmla="*/ 9898 w 10000"/>
                <a:gd name="connsiteY147" fmla="*/ 1918 h 10000"/>
                <a:gd name="connsiteX148" fmla="*/ 9936 w 10000"/>
                <a:gd name="connsiteY148" fmla="*/ 1690 h 10000"/>
                <a:gd name="connsiteX149" fmla="*/ 9970 w 10000"/>
                <a:gd name="connsiteY149" fmla="*/ 1457 h 10000"/>
                <a:gd name="connsiteX150" fmla="*/ 10000 w 10000"/>
                <a:gd name="connsiteY150" fmla="*/ 1222 h 10000"/>
                <a:gd name="connsiteX151" fmla="*/ 7611 w 10000"/>
                <a:gd name="connsiteY151" fmla="*/ 1876 h 10000"/>
                <a:gd name="connsiteX152" fmla="*/ 5615 w 10000"/>
                <a:gd name="connsiteY15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0 w 10000"/>
                <a:gd name="connsiteY68" fmla="*/ 6085 h 10000"/>
                <a:gd name="connsiteX69" fmla="*/ 209 w 10000"/>
                <a:gd name="connsiteY69" fmla="*/ 9512 h 10000"/>
                <a:gd name="connsiteX70" fmla="*/ 344 w 10000"/>
                <a:gd name="connsiteY70" fmla="*/ 9569 h 10000"/>
                <a:gd name="connsiteX71" fmla="*/ 481 w 10000"/>
                <a:gd name="connsiteY71" fmla="*/ 9623 h 10000"/>
                <a:gd name="connsiteX72" fmla="*/ 621 w 10000"/>
                <a:gd name="connsiteY72" fmla="*/ 9673 h 10000"/>
                <a:gd name="connsiteX73" fmla="*/ 758 w 10000"/>
                <a:gd name="connsiteY73" fmla="*/ 9720 h 10000"/>
                <a:gd name="connsiteX74" fmla="*/ 899 w 10000"/>
                <a:gd name="connsiteY74" fmla="*/ 9765 h 10000"/>
                <a:gd name="connsiteX75" fmla="*/ 1040 w 10000"/>
                <a:gd name="connsiteY75" fmla="*/ 9804 h 10000"/>
                <a:gd name="connsiteX76" fmla="*/ 1182 w 10000"/>
                <a:gd name="connsiteY76" fmla="*/ 9839 h 10000"/>
                <a:gd name="connsiteX77" fmla="*/ 1325 w 10000"/>
                <a:gd name="connsiteY77" fmla="*/ 9874 h 10000"/>
                <a:gd name="connsiteX78" fmla="*/ 1471 w 10000"/>
                <a:gd name="connsiteY78" fmla="*/ 9903 h 10000"/>
                <a:gd name="connsiteX79" fmla="*/ 1614 w 10000"/>
                <a:gd name="connsiteY79" fmla="*/ 9926 h 10000"/>
                <a:gd name="connsiteX80" fmla="*/ 1760 w 10000"/>
                <a:gd name="connsiteY80" fmla="*/ 9948 h 10000"/>
                <a:gd name="connsiteX81" fmla="*/ 1906 w 10000"/>
                <a:gd name="connsiteY81" fmla="*/ 9965 h 10000"/>
                <a:gd name="connsiteX82" fmla="*/ 2052 w 10000"/>
                <a:gd name="connsiteY82" fmla="*/ 9980 h 10000"/>
                <a:gd name="connsiteX83" fmla="*/ 2202 w 10000"/>
                <a:gd name="connsiteY83" fmla="*/ 9990 h 10000"/>
                <a:gd name="connsiteX84" fmla="*/ 2350 w 10000"/>
                <a:gd name="connsiteY84" fmla="*/ 9995 h 10000"/>
                <a:gd name="connsiteX85" fmla="*/ 2498 w 10000"/>
                <a:gd name="connsiteY85" fmla="*/ 10000 h 10000"/>
                <a:gd name="connsiteX86" fmla="*/ 2677 w 10000"/>
                <a:gd name="connsiteY86" fmla="*/ 9995 h 10000"/>
                <a:gd name="connsiteX87" fmla="*/ 2850 w 10000"/>
                <a:gd name="connsiteY87" fmla="*/ 9988 h 10000"/>
                <a:gd name="connsiteX88" fmla="*/ 3024 w 10000"/>
                <a:gd name="connsiteY88" fmla="*/ 9975 h 10000"/>
                <a:gd name="connsiteX89" fmla="*/ 3195 w 10000"/>
                <a:gd name="connsiteY89" fmla="*/ 9953 h 10000"/>
                <a:gd name="connsiteX90" fmla="*/ 3368 w 10000"/>
                <a:gd name="connsiteY90" fmla="*/ 9931 h 10000"/>
                <a:gd name="connsiteX91" fmla="*/ 3538 w 10000"/>
                <a:gd name="connsiteY91" fmla="*/ 9898 h 10000"/>
                <a:gd name="connsiteX92" fmla="*/ 3709 w 10000"/>
                <a:gd name="connsiteY92" fmla="*/ 9866 h 10000"/>
                <a:gd name="connsiteX93" fmla="*/ 3877 w 10000"/>
                <a:gd name="connsiteY93" fmla="*/ 9824 h 10000"/>
                <a:gd name="connsiteX94" fmla="*/ 4042 w 10000"/>
                <a:gd name="connsiteY94" fmla="*/ 9779 h 10000"/>
                <a:gd name="connsiteX95" fmla="*/ 4210 w 10000"/>
                <a:gd name="connsiteY95" fmla="*/ 9730 h 10000"/>
                <a:gd name="connsiteX96" fmla="*/ 4372 w 10000"/>
                <a:gd name="connsiteY96" fmla="*/ 9673 h 10000"/>
                <a:gd name="connsiteX97" fmla="*/ 4536 w 10000"/>
                <a:gd name="connsiteY97" fmla="*/ 9616 h 10000"/>
                <a:gd name="connsiteX98" fmla="*/ 4697 w 10000"/>
                <a:gd name="connsiteY98" fmla="*/ 9552 h 10000"/>
                <a:gd name="connsiteX99" fmla="*/ 4857 w 10000"/>
                <a:gd name="connsiteY99" fmla="*/ 9482 h 10000"/>
                <a:gd name="connsiteX100" fmla="*/ 5014 w 10000"/>
                <a:gd name="connsiteY100" fmla="*/ 9405 h 10000"/>
                <a:gd name="connsiteX101" fmla="*/ 5171 w 10000"/>
                <a:gd name="connsiteY101" fmla="*/ 9329 h 10000"/>
                <a:gd name="connsiteX102" fmla="*/ 5326 w 10000"/>
                <a:gd name="connsiteY102" fmla="*/ 9244 h 10000"/>
                <a:gd name="connsiteX103" fmla="*/ 5480 w 10000"/>
                <a:gd name="connsiteY103" fmla="*/ 9158 h 10000"/>
                <a:gd name="connsiteX104" fmla="*/ 5631 w 10000"/>
                <a:gd name="connsiteY104" fmla="*/ 9063 h 10000"/>
                <a:gd name="connsiteX105" fmla="*/ 5781 w 10000"/>
                <a:gd name="connsiteY105" fmla="*/ 8967 h 10000"/>
                <a:gd name="connsiteX106" fmla="*/ 5931 w 10000"/>
                <a:gd name="connsiteY106" fmla="*/ 8865 h 10000"/>
                <a:gd name="connsiteX107" fmla="*/ 6075 w 10000"/>
                <a:gd name="connsiteY107" fmla="*/ 8759 h 10000"/>
                <a:gd name="connsiteX108" fmla="*/ 6221 w 10000"/>
                <a:gd name="connsiteY108" fmla="*/ 8652 h 10000"/>
                <a:gd name="connsiteX109" fmla="*/ 6364 w 10000"/>
                <a:gd name="connsiteY109" fmla="*/ 8536 h 10000"/>
                <a:gd name="connsiteX110" fmla="*/ 6505 w 10000"/>
                <a:gd name="connsiteY110" fmla="*/ 8417 h 10000"/>
                <a:gd name="connsiteX111" fmla="*/ 6642 w 10000"/>
                <a:gd name="connsiteY111" fmla="*/ 8295 h 10000"/>
                <a:gd name="connsiteX112" fmla="*/ 6780 w 10000"/>
                <a:gd name="connsiteY112" fmla="*/ 8169 h 10000"/>
                <a:gd name="connsiteX113" fmla="*/ 6913 w 10000"/>
                <a:gd name="connsiteY113" fmla="*/ 8040 h 10000"/>
                <a:gd name="connsiteX114" fmla="*/ 7045 w 10000"/>
                <a:gd name="connsiteY114" fmla="*/ 7904 h 10000"/>
                <a:gd name="connsiteX115" fmla="*/ 7175 w 10000"/>
                <a:gd name="connsiteY115" fmla="*/ 7768 h 10000"/>
                <a:gd name="connsiteX116" fmla="*/ 7304 w 10000"/>
                <a:gd name="connsiteY116" fmla="*/ 7624 h 10000"/>
                <a:gd name="connsiteX117" fmla="*/ 7429 w 10000"/>
                <a:gd name="connsiteY117" fmla="*/ 7480 h 10000"/>
                <a:gd name="connsiteX118" fmla="*/ 7552 w 10000"/>
                <a:gd name="connsiteY118" fmla="*/ 7329 h 10000"/>
                <a:gd name="connsiteX119" fmla="*/ 7673 w 10000"/>
                <a:gd name="connsiteY119" fmla="*/ 7178 h 10000"/>
                <a:gd name="connsiteX120" fmla="*/ 7792 w 10000"/>
                <a:gd name="connsiteY120" fmla="*/ 7024 h 10000"/>
                <a:gd name="connsiteX121" fmla="*/ 7907 w 10000"/>
                <a:gd name="connsiteY121" fmla="*/ 6861 h 10000"/>
                <a:gd name="connsiteX122" fmla="*/ 8022 w 10000"/>
                <a:gd name="connsiteY122" fmla="*/ 6697 h 10000"/>
                <a:gd name="connsiteX123" fmla="*/ 8133 w 10000"/>
                <a:gd name="connsiteY123" fmla="*/ 6534 h 10000"/>
                <a:gd name="connsiteX124" fmla="*/ 8240 w 10000"/>
                <a:gd name="connsiteY124" fmla="*/ 6365 h 10000"/>
                <a:gd name="connsiteX125" fmla="*/ 8347 w 10000"/>
                <a:gd name="connsiteY125" fmla="*/ 6189 h 10000"/>
                <a:gd name="connsiteX126" fmla="*/ 8450 w 10000"/>
                <a:gd name="connsiteY126" fmla="*/ 6016 h 10000"/>
                <a:gd name="connsiteX127" fmla="*/ 8552 w 10000"/>
                <a:gd name="connsiteY127" fmla="*/ 5835 h 10000"/>
                <a:gd name="connsiteX128" fmla="*/ 8650 w 10000"/>
                <a:gd name="connsiteY128" fmla="*/ 5652 h 10000"/>
                <a:gd name="connsiteX129" fmla="*/ 8745 w 10000"/>
                <a:gd name="connsiteY129" fmla="*/ 5468 h 10000"/>
                <a:gd name="connsiteX130" fmla="*/ 8837 w 10000"/>
                <a:gd name="connsiteY130" fmla="*/ 5278 h 10000"/>
                <a:gd name="connsiteX131" fmla="*/ 8927 w 10000"/>
                <a:gd name="connsiteY131" fmla="*/ 5089 h 10000"/>
                <a:gd name="connsiteX132" fmla="*/ 9014 w 10000"/>
                <a:gd name="connsiteY132" fmla="*/ 4893 h 10000"/>
                <a:gd name="connsiteX133" fmla="*/ 9098 w 10000"/>
                <a:gd name="connsiteY133" fmla="*/ 4698 h 10000"/>
                <a:gd name="connsiteX134" fmla="*/ 9178 w 10000"/>
                <a:gd name="connsiteY134" fmla="*/ 4500 h 10000"/>
                <a:gd name="connsiteX135" fmla="*/ 9256 w 10000"/>
                <a:gd name="connsiteY135" fmla="*/ 4294 h 10000"/>
                <a:gd name="connsiteX136" fmla="*/ 9330 w 10000"/>
                <a:gd name="connsiteY136" fmla="*/ 4091 h 10000"/>
                <a:gd name="connsiteX137" fmla="*/ 9401 w 10000"/>
                <a:gd name="connsiteY137" fmla="*/ 3885 h 10000"/>
                <a:gd name="connsiteX138" fmla="*/ 9470 w 10000"/>
                <a:gd name="connsiteY138" fmla="*/ 3674 h 10000"/>
                <a:gd name="connsiteX139" fmla="*/ 9535 w 10000"/>
                <a:gd name="connsiteY139" fmla="*/ 3464 h 10000"/>
                <a:gd name="connsiteX140" fmla="*/ 9599 w 10000"/>
                <a:gd name="connsiteY140" fmla="*/ 3248 h 10000"/>
                <a:gd name="connsiteX141" fmla="*/ 9656 w 10000"/>
                <a:gd name="connsiteY141" fmla="*/ 3030 h 10000"/>
                <a:gd name="connsiteX142" fmla="*/ 9711 w 10000"/>
                <a:gd name="connsiteY142" fmla="*/ 2815 h 10000"/>
                <a:gd name="connsiteX143" fmla="*/ 9763 w 10000"/>
                <a:gd name="connsiteY143" fmla="*/ 2592 h 10000"/>
                <a:gd name="connsiteX144" fmla="*/ 9813 w 10000"/>
                <a:gd name="connsiteY144" fmla="*/ 2369 h 10000"/>
                <a:gd name="connsiteX145" fmla="*/ 9856 w 10000"/>
                <a:gd name="connsiteY145" fmla="*/ 2143 h 10000"/>
                <a:gd name="connsiteX146" fmla="*/ 9898 w 10000"/>
                <a:gd name="connsiteY146" fmla="*/ 1918 h 10000"/>
                <a:gd name="connsiteX147" fmla="*/ 9936 w 10000"/>
                <a:gd name="connsiteY147" fmla="*/ 1690 h 10000"/>
                <a:gd name="connsiteX148" fmla="*/ 9970 w 10000"/>
                <a:gd name="connsiteY148" fmla="*/ 1457 h 10000"/>
                <a:gd name="connsiteX149" fmla="*/ 10000 w 10000"/>
                <a:gd name="connsiteY149" fmla="*/ 1222 h 10000"/>
                <a:gd name="connsiteX150" fmla="*/ 7611 w 10000"/>
                <a:gd name="connsiteY150" fmla="*/ 1876 h 10000"/>
                <a:gd name="connsiteX151" fmla="*/ 5615 w 10000"/>
                <a:gd name="connsiteY15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0 w 10000"/>
                <a:gd name="connsiteY67" fmla="*/ 6085 h 10000"/>
                <a:gd name="connsiteX68" fmla="*/ 209 w 10000"/>
                <a:gd name="connsiteY68" fmla="*/ 9512 h 10000"/>
                <a:gd name="connsiteX69" fmla="*/ 344 w 10000"/>
                <a:gd name="connsiteY69" fmla="*/ 9569 h 10000"/>
                <a:gd name="connsiteX70" fmla="*/ 481 w 10000"/>
                <a:gd name="connsiteY70" fmla="*/ 9623 h 10000"/>
                <a:gd name="connsiteX71" fmla="*/ 621 w 10000"/>
                <a:gd name="connsiteY71" fmla="*/ 9673 h 10000"/>
                <a:gd name="connsiteX72" fmla="*/ 758 w 10000"/>
                <a:gd name="connsiteY72" fmla="*/ 9720 h 10000"/>
                <a:gd name="connsiteX73" fmla="*/ 899 w 10000"/>
                <a:gd name="connsiteY73" fmla="*/ 9765 h 10000"/>
                <a:gd name="connsiteX74" fmla="*/ 1040 w 10000"/>
                <a:gd name="connsiteY74" fmla="*/ 9804 h 10000"/>
                <a:gd name="connsiteX75" fmla="*/ 1182 w 10000"/>
                <a:gd name="connsiteY75" fmla="*/ 9839 h 10000"/>
                <a:gd name="connsiteX76" fmla="*/ 1325 w 10000"/>
                <a:gd name="connsiteY76" fmla="*/ 9874 h 10000"/>
                <a:gd name="connsiteX77" fmla="*/ 1471 w 10000"/>
                <a:gd name="connsiteY77" fmla="*/ 9903 h 10000"/>
                <a:gd name="connsiteX78" fmla="*/ 1614 w 10000"/>
                <a:gd name="connsiteY78" fmla="*/ 9926 h 10000"/>
                <a:gd name="connsiteX79" fmla="*/ 1760 w 10000"/>
                <a:gd name="connsiteY79" fmla="*/ 9948 h 10000"/>
                <a:gd name="connsiteX80" fmla="*/ 1906 w 10000"/>
                <a:gd name="connsiteY80" fmla="*/ 9965 h 10000"/>
                <a:gd name="connsiteX81" fmla="*/ 2052 w 10000"/>
                <a:gd name="connsiteY81" fmla="*/ 9980 h 10000"/>
                <a:gd name="connsiteX82" fmla="*/ 2202 w 10000"/>
                <a:gd name="connsiteY82" fmla="*/ 9990 h 10000"/>
                <a:gd name="connsiteX83" fmla="*/ 2350 w 10000"/>
                <a:gd name="connsiteY83" fmla="*/ 9995 h 10000"/>
                <a:gd name="connsiteX84" fmla="*/ 2498 w 10000"/>
                <a:gd name="connsiteY84" fmla="*/ 10000 h 10000"/>
                <a:gd name="connsiteX85" fmla="*/ 2677 w 10000"/>
                <a:gd name="connsiteY85" fmla="*/ 9995 h 10000"/>
                <a:gd name="connsiteX86" fmla="*/ 2850 w 10000"/>
                <a:gd name="connsiteY86" fmla="*/ 9988 h 10000"/>
                <a:gd name="connsiteX87" fmla="*/ 3024 w 10000"/>
                <a:gd name="connsiteY87" fmla="*/ 9975 h 10000"/>
                <a:gd name="connsiteX88" fmla="*/ 3195 w 10000"/>
                <a:gd name="connsiteY88" fmla="*/ 9953 h 10000"/>
                <a:gd name="connsiteX89" fmla="*/ 3368 w 10000"/>
                <a:gd name="connsiteY89" fmla="*/ 9931 h 10000"/>
                <a:gd name="connsiteX90" fmla="*/ 3538 w 10000"/>
                <a:gd name="connsiteY90" fmla="*/ 9898 h 10000"/>
                <a:gd name="connsiteX91" fmla="*/ 3709 w 10000"/>
                <a:gd name="connsiteY91" fmla="*/ 9866 h 10000"/>
                <a:gd name="connsiteX92" fmla="*/ 3877 w 10000"/>
                <a:gd name="connsiteY92" fmla="*/ 9824 h 10000"/>
                <a:gd name="connsiteX93" fmla="*/ 4042 w 10000"/>
                <a:gd name="connsiteY93" fmla="*/ 9779 h 10000"/>
                <a:gd name="connsiteX94" fmla="*/ 4210 w 10000"/>
                <a:gd name="connsiteY94" fmla="*/ 9730 h 10000"/>
                <a:gd name="connsiteX95" fmla="*/ 4372 w 10000"/>
                <a:gd name="connsiteY95" fmla="*/ 9673 h 10000"/>
                <a:gd name="connsiteX96" fmla="*/ 4536 w 10000"/>
                <a:gd name="connsiteY96" fmla="*/ 9616 h 10000"/>
                <a:gd name="connsiteX97" fmla="*/ 4697 w 10000"/>
                <a:gd name="connsiteY97" fmla="*/ 9552 h 10000"/>
                <a:gd name="connsiteX98" fmla="*/ 4857 w 10000"/>
                <a:gd name="connsiteY98" fmla="*/ 9482 h 10000"/>
                <a:gd name="connsiteX99" fmla="*/ 5014 w 10000"/>
                <a:gd name="connsiteY99" fmla="*/ 9405 h 10000"/>
                <a:gd name="connsiteX100" fmla="*/ 5171 w 10000"/>
                <a:gd name="connsiteY100" fmla="*/ 9329 h 10000"/>
                <a:gd name="connsiteX101" fmla="*/ 5326 w 10000"/>
                <a:gd name="connsiteY101" fmla="*/ 9244 h 10000"/>
                <a:gd name="connsiteX102" fmla="*/ 5480 w 10000"/>
                <a:gd name="connsiteY102" fmla="*/ 9158 h 10000"/>
                <a:gd name="connsiteX103" fmla="*/ 5631 w 10000"/>
                <a:gd name="connsiteY103" fmla="*/ 9063 h 10000"/>
                <a:gd name="connsiteX104" fmla="*/ 5781 w 10000"/>
                <a:gd name="connsiteY104" fmla="*/ 8967 h 10000"/>
                <a:gd name="connsiteX105" fmla="*/ 5931 w 10000"/>
                <a:gd name="connsiteY105" fmla="*/ 8865 h 10000"/>
                <a:gd name="connsiteX106" fmla="*/ 6075 w 10000"/>
                <a:gd name="connsiteY106" fmla="*/ 8759 h 10000"/>
                <a:gd name="connsiteX107" fmla="*/ 6221 w 10000"/>
                <a:gd name="connsiteY107" fmla="*/ 8652 h 10000"/>
                <a:gd name="connsiteX108" fmla="*/ 6364 w 10000"/>
                <a:gd name="connsiteY108" fmla="*/ 8536 h 10000"/>
                <a:gd name="connsiteX109" fmla="*/ 6505 w 10000"/>
                <a:gd name="connsiteY109" fmla="*/ 8417 h 10000"/>
                <a:gd name="connsiteX110" fmla="*/ 6642 w 10000"/>
                <a:gd name="connsiteY110" fmla="*/ 8295 h 10000"/>
                <a:gd name="connsiteX111" fmla="*/ 6780 w 10000"/>
                <a:gd name="connsiteY111" fmla="*/ 8169 h 10000"/>
                <a:gd name="connsiteX112" fmla="*/ 6913 w 10000"/>
                <a:gd name="connsiteY112" fmla="*/ 8040 h 10000"/>
                <a:gd name="connsiteX113" fmla="*/ 7045 w 10000"/>
                <a:gd name="connsiteY113" fmla="*/ 7904 h 10000"/>
                <a:gd name="connsiteX114" fmla="*/ 7175 w 10000"/>
                <a:gd name="connsiteY114" fmla="*/ 7768 h 10000"/>
                <a:gd name="connsiteX115" fmla="*/ 7304 w 10000"/>
                <a:gd name="connsiteY115" fmla="*/ 7624 h 10000"/>
                <a:gd name="connsiteX116" fmla="*/ 7429 w 10000"/>
                <a:gd name="connsiteY116" fmla="*/ 7480 h 10000"/>
                <a:gd name="connsiteX117" fmla="*/ 7552 w 10000"/>
                <a:gd name="connsiteY117" fmla="*/ 7329 h 10000"/>
                <a:gd name="connsiteX118" fmla="*/ 7673 w 10000"/>
                <a:gd name="connsiteY118" fmla="*/ 7178 h 10000"/>
                <a:gd name="connsiteX119" fmla="*/ 7792 w 10000"/>
                <a:gd name="connsiteY119" fmla="*/ 7024 h 10000"/>
                <a:gd name="connsiteX120" fmla="*/ 7907 w 10000"/>
                <a:gd name="connsiteY120" fmla="*/ 6861 h 10000"/>
                <a:gd name="connsiteX121" fmla="*/ 8022 w 10000"/>
                <a:gd name="connsiteY121" fmla="*/ 6697 h 10000"/>
                <a:gd name="connsiteX122" fmla="*/ 8133 w 10000"/>
                <a:gd name="connsiteY122" fmla="*/ 6534 h 10000"/>
                <a:gd name="connsiteX123" fmla="*/ 8240 w 10000"/>
                <a:gd name="connsiteY123" fmla="*/ 6365 h 10000"/>
                <a:gd name="connsiteX124" fmla="*/ 8347 w 10000"/>
                <a:gd name="connsiteY124" fmla="*/ 6189 h 10000"/>
                <a:gd name="connsiteX125" fmla="*/ 8450 w 10000"/>
                <a:gd name="connsiteY125" fmla="*/ 6016 h 10000"/>
                <a:gd name="connsiteX126" fmla="*/ 8552 w 10000"/>
                <a:gd name="connsiteY126" fmla="*/ 5835 h 10000"/>
                <a:gd name="connsiteX127" fmla="*/ 8650 w 10000"/>
                <a:gd name="connsiteY127" fmla="*/ 5652 h 10000"/>
                <a:gd name="connsiteX128" fmla="*/ 8745 w 10000"/>
                <a:gd name="connsiteY128" fmla="*/ 5468 h 10000"/>
                <a:gd name="connsiteX129" fmla="*/ 8837 w 10000"/>
                <a:gd name="connsiteY129" fmla="*/ 5278 h 10000"/>
                <a:gd name="connsiteX130" fmla="*/ 8927 w 10000"/>
                <a:gd name="connsiteY130" fmla="*/ 5089 h 10000"/>
                <a:gd name="connsiteX131" fmla="*/ 9014 w 10000"/>
                <a:gd name="connsiteY131" fmla="*/ 4893 h 10000"/>
                <a:gd name="connsiteX132" fmla="*/ 9098 w 10000"/>
                <a:gd name="connsiteY132" fmla="*/ 4698 h 10000"/>
                <a:gd name="connsiteX133" fmla="*/ 9178 w 10000"/>
                <a:gd name="connsiteY133" fmla="*/ 4500 h 10000"/>
                <a:gd name="connsiteX134" fmla="*/ 9256 w 10000"/>
                <a:gd name="connsiteY134" fmla="*/ 4294 h 10000"/>
                <a:gd name="connsiteX135" fmla="*/ 9330 w 10000"/>
                <a:gd name="connsiteY135" fmla="*/ 4091 h 10000"/>
                <a:gd name="connsiteX136" fmla="*/ 9401 w 10000"/>
                <a:gd name="connsiteY136" fmla="*/ 3885 h 10000"/>
                <a:gd name="connsiteX137" fmla="*/ 9470 w 10000"/>
                <a:gd name="connsiteY137" fmla="*/ 3674 h 10000"/>
                <a:gd name="connsiteX138" fmla="*/ 9535 w 10000"/>
                <a:gd name="connsiteY138" fmla="*/ 3464 h 10000"/>
                <a:gd name="connsiteX139" fmla="*/ 9599 w 10000"/>
                <a:gd name="connsiteY139" fmla="*/ 3248 h 10000"/>
                <a:gd name="connsiteX140" fmla="*/ 9656 w 10000"/>
                <a:gd name="connsiteY140" fmla="*/ 3030 h 10000"/>
                <a:gd name="connsiteX141" fmla="*/ 9711 w 10000"/>
                <a:gd name="connsiteY141" fmla="*/ 2815 h 10000"/>
                <a:gd name="connsiteX142" fmla="*/ 9763 w 10000"/>
                <a:gd name="connsiteY142" fmla="*/ 2592 h 10000"/>
                <a:gd name="connsiteX143" fmla="*/ 9813 w 10000"/>
                <a:gd name="connsiteY143" fmla="*/ 2369 h 10000"/>
                <a:gd name="connsiteX144" fmla="*/ 9856 w 10000"/>
                <a:gd name="connsiteY144" fmla="*/ 2143 h 10000"/>
                <a:gd name="connsiteX145" fmla="*/ 9898 w 10000"/>
                <a:gd name="connsiteY145" fmla="*/ 1918 h 10000"/>
                <a:gd name="connsiteX146" fmla="*/ 9936 w 10000"/>
                <a:gd name="connsiteY146" fmla="*/ 1690 h 10000"/>
                <a:gd name="connsiteX147" fmla="*/ 9970 w 10000"/>
                <a:gd name="connsiteY147" fmla="*/ 1457 h 10000"/>
                <a:gd name="connsiteX148" fmla="*/ 10000 w 10000"/>
                <a:gd name="connsiteY148" fmla="*/ 1222 h 10000"/>
                <a:gd name="connsiteX149" fmla="*/ 7611 w 10000"/>
                <a:gd name="connsiteY149" fmla="*/ 1876 h 10000"/>
                <a:gd name="connsiteX150" fmla="*/ 5615 w 10000"/>
                <a:gd name="connsiteY15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0 w 10000"/>
                <a:gd name="connsiteY66" fmla="*/ 6085 h 10000"/>
                <a:gd name="connsiteX67" fmla="*/ 209 w 10000"/>
                <a:gd name="connsiteY67" fmla="*/ 9512 h 10000"/>
                <a:gd name="connsiteX68" fmla="*/ 344 w 10000"/>
                <a:gd name="connsiteY68" fmla="*/ 9569 h 10000"/>
                <a:gd name="connsiteX69" fmla="*/ 481 w 10000"/>
                <a:gd name="connsiteY69" fmla="*/ 9623 h 10000"/>
                <a:gd name="connsiteX70" fmla="*/ 621 w 10000"/>
                <a:gd name="connsiteY70" fmla="*/ 9673 h 10000"/>
                <a:gd name="connsiteX71" fmla="*/ 758 w 10000"/>
                <a:gd name="connsiteY71" fmla="*/ 9720 h 10000"/>
                <a:gd name="connsiteX72" fmla="*/ 899 w 10000"/>
                <a:gd name="connsiteY72" fmla="*/ 9765 h 10000"/>
                <a:gd name="connsiteX73" fmla="*/ 1040 w 10000"/>
                <a:gd name="connsiteY73" fmla="*/ 9804 h 10000"/>
                <a:gd name="connsiteX74" fmla="*/ 1182 w 10000"/>
                <a:gd name="connsiteY74" fmla="*/ 9839 h 10000"/>
                <a:gd name="connsiteX75" fmla="*/ 1325 w 10000"/>
                <a:gd name="connsiteY75" fmla="*/ 9874 h 10000"/>
                <a:gd name="connsiteX76" fmla="*/ 1471 w 10000"/>
                <a:gd name="connsiteY76" fmla="*/ 9903 h 10000"/>
                <a:gd name="connsiteX77" fmla="*/ 1614 w 10000"/>
                <a:gd name="connsiteY77" fmla="*/ 9926 h 10000"/>
                <a:gd name="connsiteX78" fmla="*/ 1760 w 10000"/>
                <a:gd name="connsiteY78" fmla="*/ 9948 h 10000"/>
                <a:gd name="connsiteX79" fmla="*/ 1906 w 10000"/>
                <a:gd name="connsiteY79" fmla="*/ 9965 h 10000"/>
                <a:gd name="connsiteX80" fmla="*/ 2052 w 10000"/>
                <a:gd name="connsiteY80" fmla="*/ 9980 h 10000"/>
                <a:gd name="connsiteX81" fmla="*/ 2202 w 10000"/>
                <a:gd name="connsiteY81" fmla="*/ 9990 h 10000"/>
                <a:gd name="connsiteX82" fmla="*/ 2350 w 10000"/>
                <a:gd name="connsiteY82" fmla="*/ 9995 h 10000"/>
                <a:gd name="connsiteX83" fmla="*/ 2498 w 10000"/>
                <a:gd name="connsiteY83" fmla="*/ 10000 h 10000"/>
                <a:gd name="connsiteX84" fmla="*/ 2677 w 10000"/>
                <a:gd name="connsiteY84" fmla="*/ 9995 h 10000"/>
                <a:gd name="connsiteX85" fmla="*/ 2850 w 10000"/>
                <a:gd name="connsiteY85" fmla="*/ 9988 h 10000"/>
                <a:gd name="connsiteX86" fmla="*/ 3024 w 10000"/>
                <a:gd name="connsiteY86" fmla="*/ 9975 h 10000"/>
                <a:gd name="connsiteX87" fmla="*/ 3195 w 10000"/>
                <a:gd name="connsiteY87" fmla="*/ 9953 h 10000"/>
                <a:gd name="connsiteX88" fmla="*/ 3368 w 10000"/>
                <a:gd name="connsiteY88" fmla="*/ 9931 h 10000"/>
                <a:gd name="connsiteX89" fmla="*/ 3538 w 10000"/>
                <a:gd name="connsiteY89" fmla="*/ 9898 h 10000"/>
                <a:gd name="connsiteX90" fmla="*/ 3709 w 10000"/>
                <a:gd name="connsiteY90" fmla="*/ 9866 h 10000"/>
                <a:gd name="connsiteX91" fmla="*/ 3877 w 10000"/>
                <a:gd name="connsiteY91" fmla="*/ 9824 h 10000"/>
                <a:gd name="connsiteX92" fmla="*/ 4042 w 10000"/>
                <a:gd name="connsiteY92" fmla="*/ 9779 h 10000"/>
                <a:gd name="connsiteX93" fmla="*/ 4210 w 10000"/>
                <a:gd name="connsiteY93" fmla="*/ 9730 h 10000"/>
                <a:gd name="connsiteX94" fmla="*/ 4372 w 10000"/>
                <a:gd name="connsiteY94" fmla="*/ 9673 h 10000"/>
                <a:gd name="connsiteX95" fmla="*/ 4536 w 10000"/>
                <a:gd name="connsiteY95" fmla="*/ 9616 h 10000"/>
                <a:gd name="connsiteX96" fmla="*/ 4697 w 10000"/>
                <a:gd name="connsiteY96" fmla="*/ 9552 h 10000"/>
                <a:gd name="connsiteX97" fmla="*/ 4857 w 10000"/>
                <a:gd name="connsiteY97" fmla="*/ 9482 h 10000"/>
                <a:gd name="connsiteX98" fmla="*/ 5014 w 10000"/>
                <a:gd name="connsiteY98" fmla="*/ 9405 h 10000"/>
                <a:gd name="connsiteX99" fmla="*/ 5171 w 10000"/>
                <a:gd name="connsiteY99" fmla="*/ 9329 h 10000"/>
                <a:gd name="connsiteX100" fmla="*/ 5326 w 10000"/>
                <a:gd name="connsiteY100" fmla="*/ 9244 h 10000"/>
                <a:gd name="connsiteX101" fmla="*/ 5480 w 10000"/>
                <a:gd name="connsiteY101" fmla="*/ 9158 h 10000"/>
                <a:gd name="connsiteX102" fmla="*/ 5631 w 10000"/>
                <a:gd name="connsiteY102" fmla="*/ 9063 h 10000"/>
                <a:gd name="connsiteX103" fmla="*/ 5781 w 10000"/>
                <a:gd name="connsiteY103" fmla="*/ 8967 h 10000"/>
                <a:gd name="connsiteX104" fmla="*/ 5931 w 10000"/>
                <a:gd name="connsiteY104" fmla="*/ 8865 h 10000"/>
                <a:gd name="connsiteX105" fmla="*/ 6075 w 10000"/>
                <a:gd name="connsiteY105" fmla="*/ 8759 h 10000"/>
                <a:gd name="connsiteX106" fmla="*/ 6221 w 10000"/>
                <a:gd name="connsiteY106" fmla="*/ 8652 h 10000"/>
                <a:gd name="connsiteX107" fmla="*/ 6364 w 10000"/>
                <a:gd name="connsiteY107" fmla="*/ 8536 h 10000"/>
                <a:gd name="connsiteX108" fmla="*/ 6505 w 10000"/>
                <a:gd name="connsiteY108" fmla="*/ 8417 h 10000"/>
                <a:gd name="connsiteX109" fmla="*/ 6642 w 10000"/>
                <a:gd name="connsiteY109" fmla="*/ 8295 h 10000"/>
                <a:gd name="connsiteX110" fmla="*/ 6780 w 10000"/>
                <a:gd name="connsiteY110" fmla="*/ 8169 h 10000"/>
                <a:gd name="connsiteX111" fmla="*/ 6913 w 10000"/>
                <a:gd name="connsiteY111" fmla="*/ 8040 h 10000"/>
                <a:gd name="connsiteX112" fmla="*/ 7045 w 10000"/>
                <a:gd name="connsiteY112" fmla="*/ 7904 h 10000"/>
                <a:gd name="connsiteX113" fmla="*/ 7175 w 10000"/>
                <a:gd name="connsiteY113" fmla="*/ 7768 h 10000"/>
                <a:gd name="connsiteX114" fmla="*/ 7304 w 10000"/>
                <a:gd name="connsiteY114" fmla="*/ 7624 h 10000"/>
                <a:gd name="connsiteX115" fmla="*/ 7429 w 10000"/>
                <a:gd name="connsiteY115" fmla="*/ 7480 h 10000"/>
                <a:gd name="connsiteX116" fmla="*/ 7552 w 10000"/>
                <a:gd name="connsiteY116" fmla="*/ 7329 h 10000"/>
                <a:gd name="connsiteX117" fmla="*/ 7673 w 10000"/>
                <a:gd name="connsiteY117" fmla="*/ 7178 h 10000"/>
                <a:gd name="connsiteX118" fmla="*/ 7792 w 10000"/>
                <a:gd name="connsiteY118" fmla="*/ 7024 h 10000"/>
                <a:gd name="connsiteX119" fmla="*/ 7907 w 10000"/>
                <a:gd name="connsiteY119" fmla="*/ 6861 h 10000"/>
                <a:gd name="connsiteX120" fmla="*/ 8022 w 10000"/>
                <a:gd name="connsiteY120" fmla="*/ 6697 h 10000"/>
                <a:gd name="connsiteX121" fmla="*/ 8133 w 10000"/>
                <a:gd name="connsiteY121" fmla="*/ 6534 h 10000"/>
                <a:gd name="connsiteX122" fmla="*/ 8240 w 10000"/>
                <a:gd name="connsiteY122" fmla="*/ 6365 h 10000"/>
                <a:gd name="connsiteX123" fmla="*/ 8347 w 10000"/>
                <a:gd name="connsiteY123" fmla="*/ 6189 h 10000"/>
                <a:gd name="connsiteX124" fmla="*/ 8450 w 10000"/>
                <a:gd name="connsiteY124" fmla="*/ 6016 h 10000"/>
                <a:gd name="connsiteX125" fmla="*/ 8552 w 10000"/>
                <a:gd name="connsiteY125" fmla="*/ 5835 h 10000"/>
                <a:gd name="connsiteX126" fmla="*/ 8650 w 10000"/>
                <a:gd name="connsiteY126" fmla="*/ 5652 h 10000"/>
                <a:gd name="connsiteX127" fmla="*/ 8745 w 10000"/>
                <a:gd name="connsiteY127" fmla="*/ 5468 h 10000"/>
                <a:gd name="connsiteX128" fmla="*/ 8837 w 10000"/>
                <a:gd name="connsiteY128" fmla="*/ 5278 h 10000"/>
                <a:gd name="connsiteX129" fmla="*/ 8927 w 10000"/>
                <a:gd name="connsiteY129" fmla="*/ 5089 h 10000"/>
                <a:gd name="connsiteX130" fmla="*/ 9014 w 10000"/>
                <a:gd name="connsiteY130" fmla="*/ 4893 h 10000"/>
                <a:gd name="connsiteX131" fmla="*/ 9098 w 10000"/>
                <a:gd name="connsiteY131" fmla="*/ 4698 h 10000"/>
                <a:gd name="connsiteX132" fmla="*/ 9178 w 10000"/>
                <a:gd name="connsiteY132" fmla="*/ 4500 h 10000"/>
                <a:gd name="connsiteX133" fmla="*/ 9256 w 10000"/>
                <a:gd name="connsiteY133" fmla="*/ 4294 h 10000"/>
                <a:gd name="connsiteX134" fmla="*/ 9330 w 10000"/>
                <a:gd name="connsiteY134" fmla="*/ 4091 h 10000"/>
                <a:gd name="connsiteX135" fmla="*/ 9401 w 10000"/>
                <a:gd name="connsiteY135" fmla="*/ 3885 h 10000"/>
                <a:gd name="connsiteX136" fmla="*/ 9470 w 10000"/>
                <a:gd name="connsiteY136" fmla="*/ 3674 h 10000"/>
                <a:gd name="connsiteX137" fmla="*/ 9535 w 10000"/>
                <a:gd name="connsiteY137" fmla="*/ 3464 h 10000"/>
                <a:gd name="connsiteX138" fmla="*/ 9599 w 10000"/>
                <a:gd name="connsiteY138" fmla="*/ 3248 h 10000"/>
                <a:gd name="connsiteX139" fmla="*/ 9656 w 10000"/>
                <a:gd name="connsiteY139" fmla="*/ 3030 h 10000"/>
                <a:gd name="connsiteX140" fmla="*/ 9711 w 10000"/>
                <a:gd name="connsiteY140" fmla="*/ 2815 h 10000"/>
                <a:gd name="connsiteX141" fmla="*/ 9763 w 10000"/>
                <a:gd name="connsiteY141" fmla="*/ 2592 h 10000"/>
                <a:gd name="connsiteX142" fmla="*/ 9813 w 10000"/>
                <a:gd name="connsiteY142" fmla="*/ 2369 h 10000"/>
                <a:gd name="connsiteX143" fmla="*/ 9856 w 10000"/>
                <a:gd name="connsiteY143" fmla="*/ 2143 h 10000"/>
                <a:gd name="connsiteX144" fmla="*/ 9898 w 10000"/>
                <a:gd name="connsiteY144" fmla="*/ 1918 h 10000"/>
                <a:gd name="connsiteX145" fmla="*/ 9936 w 10000"/>
                <a:gd name="connsiteY145" fmla="*/ 1690 h 10000"/>
                <a:gd name="connsiteX146" fmla="*/ 9970 w 10000"/>
                <a:gd name="connsiteY146" fmla="*/ 1457 h 10000"/>
                <a:gd name="connsiteX147" fmla="*/ 10000 w 10000"/>
                <a:gd name="connsiteY147" fmla="*/ 1222 h 10000"/>
                <a:gd name="connsiteX148" fmla="*/ 7611 w 10000"/>
                <a:gd name="connsiteY148" fmla="*/ 1876 h 10000"/>
                <a:gd name="connsiteX149" fmla="*/ 5615 w 10000"/>
                <a:gd name="connsiteY14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0 w 10000"/>
                <a:gd name="connsiteY65" fmla="*/ 6085 h 10000"/>
                <a:gd name="connsiteX66" fmla="*/ 209 w 10000"/>
                <a:gd name="connsiteY66" fmla="*/ 9512 h 10000"/>
                <a:gd name="connsiteX67" fmla="*/ 344 w 10000"/>
                <a:gd name="connsiteY67" fmla="*/ 9569 h 10000"/>
                <a:gd name="connsiteX68" fmla="*/ 481 w 10000"/>
                <a:gd name="connsiteY68" fmla="*/ 9623 h 10000"/>
                <a:gd name="connsiteX69" fmla="*/ 621 w 10000"/>
                <a:gd name="connsiteY69" fmla="*/ 9673 h 10000"/>
                <a:gd name="connsiteX70" fmla="*/ 758 w 10000"/>
                <a:gd name="connsiteY70" fmla="*/ 9720 h 10000"/>
                <a:gd name="connsiteX71" fmla="*/ 899 w 10000"/>
                <a:gd name="connsiteY71" fmla="*/ 9765 h 10000"/>
                <a:gd name="connsiteX72" fmla="*/ 1040 w 10000"/>
                <a:gd name="connsiteY72" fmla="*/ 9804 h 10000"/>
                <a:gd name="connsiteX73" fmla="*/ 1182 w 10000"/>
                <a:gd name="connsiteY73" fmla="*/ 9839 h 10000"/>
                <a:gd name="connsiteX74" fmla="*/ 1325 w 10000"/>
                <a:gd name="connsiteY74" fmla="*/ 9874 h 10000"/>
                <a:gd name="connsiteX75" fmla="*/ 1471 w 10000"/>
                <a:gd name="connsiteY75" fmla="*/ 9903 h 10000"/>
                <a:gd name="connsiteX76" fmla="*/ 1614 w 10000"/>
                <a:gd name="connsiteY76" fmla="*/ 9926 h 10000"/>
                <a:gd name="connsiteX77" fmla="*/ 1760 w 10000"/>
                <a:gd name="connsiteY77" fmla="*/ 9948 h 10000"/>
                <a:gd name="connsiteX78" fmla="*/ 1906 w 10000"/>
                <a:gd name="connsiteY78" fmla="*/ 9965 h 10000"/>
                <a:gd name="connsiteX79" fmla="*/ 2052 w 10000"/>
                <a:gd name="connsiteY79" fmla="*/ 9980 h 10000"/>
                <a:gd name="connsiteX80" fmla="*/ 2202 w 10000"/>
                <a:gd name="connsiteY80" fmla="*/ 9990 h 10000"/>
                <a:gd name="connsiteX81" fmla="*/ 2350 w 10000"/>
                <a:gd name="connsiteY81" fmla="*/ 9995 h 10000"/>
                <a:gd name="connsiteX82" fmla="*/ 2498 w 10000"/>
                <a:gd name="connsiteY82" fmla="*/ 10000 h 10000"/>
                <a:gd name="connsiteX83" fmla="*/ 2677 w 10000"/>
                <a:gd name="connsiteY83" fmla="*/ 9995 h 10000"/>
                <a:gd name="connsiteX84" fmla="*/ 2850 w 10000"/>
                <a:gd name="connsiteY84" fmla="*/ 9988 h 10000"/>
                <a:gd name="connsiteX85" fmla="*/ 3024 w 10000"/>
                <a:gd name="connsiteY85" fmla="*/ 9975 h 10000"/>
                <a:gd name="connsiteX86" fmla="*/ 3195 w 10000"/>
                <a:gd name="connsiteY86" fmla="*/ 9953 h 10000"/>
                <a:gd name="connsiteX87" fmla="*/ 3368 w 10000"/>
                <a:gd name="connsiteY87" fmla="*/ 9931 h 10000"/>
                <a:gd name="connsiteX88" fmla="*/ 3538 w 10000"/>
                <a:gd name="connsiteY88" fmla="*/ 9898 h 10000"/>
                <a:gd name="connsiteX89" fmla="*/ 3709 w 10000"/>
                <a:gd name="connsiteY89" fmla="*/ 9866 h 10000"/>
                <a:gd name="connsiteX90" fmla="*/ 3877 w 10000"/>
                <a:gd name="connsiteY90" fmla="*/ 9824 h 10000"/>
                <a:gd name="connsiteX91" fmla="*/ 4042 w 10000"/>
                <a:gd name="connsiteY91" fmla="*/ 9779 h 10000"/>
                <a:gd name="connsiteX92" fmla="*/ 4210 w 10000"/>
                <a:gd name="connsiteY92" fmla="*/ 9730 h 10000"/>
                <a:gd name="connsiteX93" fmla="*/ 4372 w 10000"/>
                <a:gd name="connsiteY93" fmla="*/ 9673 h 10000"/>
                <a:gd name="connsiteX94" fmla="*/ 4536 w 10000"/>
                <a:gd name="connsiteY94" fmla="*/ 9616 h 10000"/>
                <a:gd name="connsiteX95" fmla="*/ 4697 w 10000"/>
                <a:gd name="connsiteY95" fmla="*/ 9552 h 10000"/>
                <a:gd name="connsiteX96" fmla="*/ 4857 w 10000"/>
                <a:gd name="connsiteY96" fmla="*/ 9482 h 10000"/>
                <a:gd name="connsiteX97" fmla="*/ 5014 w 10000"/>
                <a:gd name="connsiteY97" fmla="*/ 9405 h 10000"/>
                <a:gd name="connsiteX98" fmla="*/ 5171 w 10000"/>
                <a:gd name="connsiteY98" fmla="*/ 9329 h 10000"/>
                <a:gd name="connsiteX99" fmla="*/ 5326 w 10000"/>
                <a:gd name="connsiteY99" fmla="*/ 9244 h 10000"/>
                <a:gd name="connsiteX100" fmla="*/ 5480 w 10000"/>
                <a:gd name="connsiteY100" fmla="*/ 9158 h 10000"/>
                <a:gd name="connsiteX101" fmla="*/ 5631 w 10000"/>
                <a:gd name="connsiteY101" fmla="*/ 9063 h 10000"/>
                <a:gd name="connsiteX102" fmla="*/ 5781 w 10000"/>
                <a:gd name="connsiteY102" fmla="*/ 8967 h 10000"/>
                <a:gd name="connsiteX103" fmla="*/ 5931 w 10000"/>
                <a:gd name="connsiteY103" fmla="*/ 8865 h 10000"/>
                <a:gd name="connsiteX104" fmla="*/ 6075 w 10000"/>
                <a:gd name="connsiteY104" fmla="*/ 8759 h 10000"/>
                <a:gd name="connsiteX105" fmla="*/ 6221 w 10000"/>
                <a:gd name="connsiteY105" fmla="*/ 8652 h 10000"/>
                <a:gd name="connsiteX106" fmla="*/ 6364 w 10000"/>
                <a:gd name="connsiteY106" fmla="*/ 8536 h 10000"/>
                <a:gd name="connsiteX107" fmla="*/ 6505 w 10000"/>
                <a:gd name="connsiteY107" fmla="*/ 8417 h 10000"/>
                <a:gd name="connsiteX108" fmla="*/ 6642 w 10000"/>
                <a:gd name="connsiteY108" fmla="*/ 8295 h 10000"/>
                <a:gd name="connsiteX109" fmla="*/ 6780 w 10000"/>
                <a:gd name="connsiteY109" fmla="*/ 8169 h 10000"/>
                <a:gd name="connsiteX110" fmla="*/ 6913 w 10000"/>
                <a:gd name="connsiteY110" fmla="*/ 8040 h 10000"/>
                <a:gd name="connsiteX111" fmla="*/ 7045 w 10000"/>
                <a:gd name="connsiteY111" fmla="*/ 7904 h 10000"/>
                <a:gd name="connsiteX112" fmla="*/ 7175 w 10000"/>
                <a:gd name="connsiteY112" fmla="*/ 7768 h 10000"/>
                <a:gd name="connsiteX113" fmla="*/ 7304 w 10000"/>
                <a:gd name="connsiteY113" fmla="*/ 7624 h 10000"/>
                <a:gd name="connsiteX114" fmla="*/ 7429 w 10000"/>
                <a:gd name="connsiteY114" fmla="*/ 7480 h 10000"/>
                <a:gd name="connsiteX115" fmla="*/ 7552 w 10000"/>
                <a:gd name="connsiteY115" fmla="*/ 7329 h 10000"/>
                <a:gd name="connsiteX116" fmla="*/ 7673 w 10000"/>
                <a:gd name="connsiteY116" fmla="*/ 7178 h 10000"/>
                <a:gd name="connsiteX117" fmla="*/ 7792 w 10000"/>
                <a:gd name="connsiteY117" fmla="*/ 7024 h 10000"/>
                <a:gd name="connsiteX118" fmla="*/ 7907 w 10000"/>
                <a:gd name="connsiteY118" fmla="*/ 6861 h 10000"/>
                <a:gd name="connsiteX119" fmla="*/ 8022 w 10000"/>
                <a:gd name="connsiteY119" fmla="*/ 6697 h 10000"/>
                <a:gd name="connsiteX120" fmla="*/ 8133 w 10000"/>
                <a:gd name="connsiteY120" fmla="*/ 6534 h 10000"/>
                <a:gd name="connsiteX121" fmla="*/ 8240 w 10000"/>
                <a:gd name="connsiteY121" fmla="*/ 6365 h 10000"/>
                <a:gd name="connsiteX122" fmla="*/ 8347 w 10000"/>
                <a:gd name="connsiteY122" fmla="*/ 6189 h 10000"/>
                <a:gd name="connsiteX123" fmla="*/ 8450 w 10000"/>
                <a:gd name="connsiteY123" fmla="*/ 6016 h 10000"/>
                <a:gd name="connsiteX124" fmla="*/ 8552 w 10000"/>
                <a:gd name="connsiteY124" fmla="*/ 5835 h 10000"/>
                <a:gd name="connsiteX125" fmla="*/ 8650 w 10000"/>
                <a:gd name="connsiteY125" fmla="*/ 5652 h 10000"/>
                <a:gd name="connsiteX126" fmla="*/ 8745 w 10000"/>
                <a:gd name="connsiteY126" fmla="*/ 5468 h 10000"/>
                <a:gd name="connsiteX127" fmla="*/ 8837 w 10000"/>
                <a:gd name="connsiteY127" fmla="*/ 5278 h 10000"/>
                <a:gd name="connsiteX128" fmla="*/ 8927 w 10000"/>
                <a:gd name="connsiteY128" fmla="*/ 5089 h 10000"/>
                <a:gd name="connsiteX129" fmla="*/ 9014 w 10000"/>
                <a:gd name="connsiteY129" fmla="*/ 4893 h 10000"/>
                <a:gd name="connsiteX130" fmla="*/ 9098 w 10000"/>
                <a:gd name="connsiteY130" fmla="*/ 4698 h 10000"/>
                <a:gd name="connsiteX131" fmla="*/ 9178 w 10000"/>
                <a:gd name="connsiteY131" fmla="*/ 4500 h 10000"/>
                <a:gd name="connsiteX132" fmla="*/ 9256 w 10000"/>
                <a:gd name="connsiteY132" fmla="*/ 4294 h 10000"/>
                <a:gd name="connsiteX133" fmla="*/ 9330 w 10000"/>
                <a:gd name="connsiteY133" fmla="*/ 4091 h 10000"/>
                <a:gd name="connsiteX134" fmla="*/ 9401 w 10000"/>
                <a:gd name="connsiteY134" fmla="*/ 3885 h 10000"/>
                <a:gd name="connsiteX135" fmla="*/ 9470 w 10000"/>
                <a:gd name="connsiteY135" fmla="*/ 3674 h 10000"/>
                <a:gd name="connsiteX136" fmla="*/ 9535 w 10000"/>
                <a:gd name="connsiteY136" fmla="*/ 3464 h 10000"/>
                <a:gd name="connsiteX137" fmla="*/ 9599 w 10000"/>
                <a:gd name="connsiteY137" fmla="*/ 3248 h 10000"/>
                <a:gd name="connsiteX138" fmla="*/ 9656 w 10000"/>
                <a:gd name="connsiteY138" fmla="*/ 3030 h 10000"/>
                <a:gd name="connsiteX139" fmla="*/ 9711 w 10000"/>
                <a:gd name="connsiteY139" fmla="*/ 2815 h 10000"/>
                <a:gd name="connsiteX140" fmla="*/ 9763 w 10000"/>
                <a:gd name="connsiteY140" fmla="*/ 2592 h 10000"/>
                <a:gd name="connsiteX141" fmla="*/ 9813 w 10000"/>
                <a:gd name="connsiteY141" fmla="*/ 2369 h 10000"/>
                <a:gd name="connsiteX142" fmla="*/ 9856 w 10000"/>
                <a:gd name="connsiteY142" fmla="*/ 2143 h 10000"/>
                <a:gd name="connsiteX143" fmla="*/ 9898 w 10000"/>
                <a:gd name="connsiteY143" fmla="*/ 1918 h 10000"/>
                <a:gd name="connsiteX144" fmla="*/ 9936 w 10000"/>
                <a:gd name="connsiteY144" fmla="*/ 1690 h 10000"/>
                <a:gd name="connsiteX145" fmla="*/ 9970 w 10000"/>
                <a:gd name="connsiteY145" fmla="*/ 1457 h 10000"/>
                <a:gd name="connsiteX146" fmla="*/ 10000 w 10000"/>
                <a:gd name="connsiteY146" fmla="*/ 1222 h 10000"/>
                <a:gd name="connsiteX147" fmla="*/ 7611 w 10000"/>
                <a:gd name="connsiteY147" fmla="*/ 1876 h 10000"/>
                <a:gd name="connsiteX148" fmla="*/ 5615 w 10000"/>
                <a:gd name="connsiteY14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0 w 10000"/>
                <a:gd name="connsiteY64" fmla="*/ 6085 h 10000"/>
                <a:gd name="connsiteX65" fmla="*/ 209 w 10000"/>
                <a:gd name="connsiteY65" fmla="*/ 9512 h 10000"/>
                <a:gd name="connsiteX66" fmla="*/ 344 w 10000"/>
                <a:gd name="connsiteY66" fmla="*/ 9569 h 10000"/>
                <a:gd name="connsiteX67" fmla="*/ 481 w 10000"/>
                <a:gd name="connsiteY67" fmla="*/ 9623 h 10000"/>
                <a:gd name="connsiteX68" fmla="*/ 621 w 10000"/>
                <a:gd name="connsiteY68" fmla="*/ 9673 h 10000"/>
                <a:gd name="connsiteX69" fmla="*/ 758 w 10000"/>
                <a:gd name="connsiteY69" fmla="*/ 9720 h 10000"/>
                <a:gd name="connsiteX70" fmla="*/ 899 w 10000"/>
                <a:gd name="connsiteY70" fmla="*/ 9765 h 10000"/>
                <a:gd name="connsiteX71" fmla="*/ 1040 w 10000"/>
                <a:gd name="connsiteY71" fmla="*/ 9804 h 10000"/>
                <a:gd name="connsiteX72" fmla="*/ 1182 w 10000"/>
                <a:gd name="connsiteY72" fmla="*/ 9839 h 10000"/>
                <a:gd name="connsiteX73" fmla="*/ 1325 w 10000"/>
                <a:gd name="connsiteY73" fmla="*/ 9874 h 10000"/>
                <a:gd name="connsiteX74" fmla="*/ 1471 w 10000"/>
                <a:gd name="connsiteY74" fmla="*/ 9903 h 10000"/>
                <a:gd name="connsiteX75" fmla="*/ 1614 w 10000"/>
                <a:gd name="connsiteY75" fmla="*/ 9926 h 10000"/>
                <a:gd name="connsiteX76" fmla="*/ 1760 w 10000"/>
                <a:gd name="connsiteY76" fmla="*/ 9948 h 10000"/>
                <a:gd name="connsiteX77" fmla="*/ 1906 w 10000"/>
                <a:gd name="connsiteY77" fmla="*/ 9965 h 10000"/>
                <a:gd name="connsiteX78" fmla="*/ 2052 w 10000"/>
                <a:gd name="connsiteY78" fmla="*/ 9980 h 10000"/>
                <a:gd name="connsiteX79" fmla="*/ 2202 w 10000"/>
                <a:gd name="connsiteY79" fmla="*/ 9990 h 10000"/>
                <a:gd name="connsiteX80" fmla="*/ 2350 w 10000"/>
                <a:gd name="connsiteY80" fmla="*/ 9995 h 10000"/>
                <a:gd name="connsiteX81" fmla="*/ 2498 w 10000"/>
                <a:gd name="connsiteY81" fmla="*/ 10000 h 10000"/>
                <a:gd name="connsiteX82" fmla="*/ 2677 w 10000"/>
                <a:gd name="connsiteY82" fmla="*/ 9995 h 10000"/>
                <a:gd name="connsiteX83" fmla="*/ 2850 w 10000"/>
                <a:gd name="connsiteY83" fmla="*/ 9988 h 10000"/>
                <a:gd name="connsiteX84" fmla="*/ 3024 w 10000"/>
                <a:gd name="connsiteY84" fmla="*/ 9975 h 10000"/>
                <a:gd name="connsiteX85" fmla="*/ 3195 w 10000"/>
                <a:gd name="connsiteY85" fmla="*/ 9953 h 10000"/>
                <a:gd name="connsiteX86" fmla="*/ 3368 w 10000"/>
                <a:gd name="connsiteY86" fmla="*/ 9931 h 10000"/>
                <a:gd name="connsiteX87" fmla="*/ 3538 w 10000"/>
                <a:gd name="connsiteY87" fmla="*/ 9898 h 10000"/>
                <a:gd name="connsiteX88" fmla="*/ 3709 w 10000"/>
                <a:gd name="connsiteY88" fmla="*/ 9866 h 10000"/>
                <a:gd name="connsiteX89" fmla="*/ 3877 w 10000"/>
                <a:gd name="connsiteY89" fmla="*/ 9824 h 10000"/>
                <a:gd name="connsiteX90" fmla="*/ 4042 w 10000"/>
                <a:gd name="connsiteY90" fmla="*/ 9779 h 10000"/>
                <a:gd name="connsiteX91" fmla="*/ 4210 w 10000"/>
                <a:gd name="connsiteY91" fmla="*/ 9730 h 10000"/>
                <a:gd name="connsiteX92" fmla="*/ 4372 w 10000"/>
                <a:gd name="connsiteY92" fmla="*/ 9673 h 10000"/>
                <a:gd name="connsiteX93" fmla="*/ 4536 w 10000"/>
                <a:gd name="connsiteY93" fmla="*/ 9616 h 10000"/>
                <a:gd name="connsiteX94" fmla="*/ 4697 w 10000"/>
                <a:gd name="connsiteY94" fmla="*/ 9552 h 10000"/>
                <a:gd name="connsiteX95" fmla="*/ 4857 w 10000"/>
                <a:gd name="connsiteY95" fmla="*/ 9482 h 10000"/>
                <a:gd name="connsiteX96" fmla="*/ 5014 w 10000"/>
                <a:gd name="connsiteY96" fmla="*/ 9405 h 10000"/>
                <a:gd name="connsiteX97" fmla="*/ 5171 w 10000"/>
                <a:gd name="connsiteY97" fmla="*/ 9329 h 10000"/>
                <a:gd name="connsiteX98" fmla="*/ 5326 w 10000"/>
                <a:gd name="connsiteY98" fmla="*/ 9244 h 10000"/>
                <a:gd name="connsiteX99" fmla="*/ 5480 w 10000"/>
                <a:gd name="connsiteY99" fmla="*/ 9158 h 10000"/>
                <a:gd name="connsiteX100" fmla="*/ 5631 w 10000"/>
                <a:gd name="connsiteY100" fmla="*/ 9063 h 10000"/>
                <a:gd name="connsiteX101" fmla="*/ 5781 w 10000"/>
                <a:gd name="connsiteY101" fmla="*/ 8967 h 10000"/>
                <a:gd name="connsiteX102" fmla="*/ 5931 w 10000"/>
                <a:gd name="connsiteY102" fmla="*/ 8865 h 10000"/>
                <a:gd name="connsiteX103" fmla="*/ 6075 w 10000"/>
                <a:gd name="connsiteY103" fmla="*/ 8759 h 10000"/>
                <a:gd name="connsiteX104" fmla="*/ 6221 w 10000"/>
                <a:gd name="connsiteY104" fmla="*/ 8652 h 10000"/>
                <a:gd name="connsiteX105" fmla="*/ 6364 w 10000"/>
                <a:gd name="connsiteY105" fmla="*/ 8536 h 10000"/>
                <a:gd name="connsiteX106" fmla="*/ 6505 w 10000"/>
                <a:gd name="connsiteY106" fmla="*/ 8417 h 10000"/>
                <a:gd name="connsiteX107" fmla="*/ 6642 w 10000"/>
                <a:gd name="connsiteY107" fmla="*/ 8295 h 10000"/>
                <a:gd name="connsiteX108" fmla="*/ 6780 w 10000"/>
                <a:gd name="connsiteY108" fmla="*/ 8169 h 10000"/>
                <a:gd name="connsiteX109" fmla="*/ 6913 w 10000"/>
                <a:gd name="connsiteY109" fmla="*/ 8040 h 10000"/>
                <a:gd name="connsiteX110" fmla="*/ 7045 w 10000"/>
                <a:gd name="connsiteY110" fmla="*/ 7904 h 10000"/>
                <a:gd name="connsiteX111" fmla="*/ 7175 w 10000"/>
                <a:gd name="connsiteY111" fmla="*/ 7768 h 10000"/>
                <a:gd name="connsiteX112" fmla="*/ 7304 w 10000"/>
                <a:gd name="connsiteY112" fmla="*/ 7624 h 10000"/>
                <a:gd name="connsiteX113" fmla="*/ 7429 w 10000"/>
                <a:gd name="connsiteY113" fmla="*/ 7480 h 10000"/>
                <a:gd name="connsiteX114" fmla="*/ 7552 w 10000"/>
                <a:gd name="connsiteY114" fmla="*/ 7329 h 10000"/>
                <a:gd name="connsiteX115" fmla="*/ 7673 w 10000"/>
                <a:gd name="connsiteY115" fmla="*/ 7178 h 10000"/>
                <a:gd name="connsiteX116" fmla="*/ 7792 w 10000"/>
                <a:gd name="connsiteY116" fmla="*/ 7024 h 10000"/>
                <a:gd name="connsiteX117" fmla="*/ 7907 w 10000"/>
                <a:gd name="connsiteY117" fmla="*/ 6861 h 10000"/>
                <a:gd name="connsiteX118" fmla="*/ 8022 w 10000"/>
                <a:gd name="connsiteY118" fmla="*/ 6697 h 10000"/>
                <a:gd name="connsiteX119" fmla="*/ 8133 w 10000"/>
                <a:gd name="connsiteY119" fmla="*/ 6534 h 10000"/>
                <a:gd name="connsiteX120" fmla="*/ 8240 w 10000"/>
                <a:gd name="connsiteY120" fmla="*/ 6365 h 10000"/>
                <a:gd name="connsiteX121" fmla="*/ 8347 w 10000"/>
                <a:gd name="connsiteY121" fmla="*/ 6189 h 10000"/>
                <a:gd name="connsiteX122" fmla="*/ 8450 w 10000"/>
                <a:gd name="connsiteY122" fmla="*/ 6016 h 10000"/>
                <a:gd name="connsiteX123" fmla="*/ 8552 w 10000"/>
                <a:gd name="connsiteY123" fmla="*/ 5835 h 10000"/>
                <a:gd name="connsiteX124" fmla="*/ 8650 w 10000"/>
                <a:gd name="connsiteY124" fmla="*/ 5652 h 10000"/>
                <a:gd name="connsiteX125" fmla="*/ 8745 w 10000"/>
                <a:gd name="connsiteY125" fmla="*/ 5468 h 10000"/>
                <a:gd name="connsiteX126" fmla="*/ 8837 w 10000"/>
                <a:gd name="connsiteY126" fmla="*/ 5278 h 10000"/>
                <a:gd name="connsiteX127" fmla="*/ 8927 w 10000"/>
                <a:gd name="connsiteY127" fmla="*/ 5089 h 10000"/>
                <a:gd name="connsiteX128" fmla="*/ 9014 w 10000"/>
                <a:gd name="connsiteY128" fmla="*/ 4893 h 10000"/>
                <a:gd name="connsiteX129" fmla="*/ 9098 w 10000"/>
                <a:gd name="connsiteY129" fmla="*/ 4698 h 10000"/>
                <a:gd name="connsiteX130" fmla="*/ 9178 w 10000"/>
                <a:gd name="connsiteY130" fmla="*/ 4500 h 10000"/>
                <a:gd name="connsiteX131" fmla="*/ 9256 w 10000"/>
                <a:gd name="connsiteY131" fmla="*/ 4294 h 10000"/>
                <a:gd name="connsiteX132" fmla="*/ 9330 w 10000"/>
                <a:gd name="connsiteY132" fmla="*/ 4091 h 10000"/>
                <a:gd name="connsiteX133" fmla="*/ 9401 w 10000"/>
                <a:gd name="connsiteY133" fmla="*/ 3885 h 10000"/>
                <a:gd name="connsiteX134" fmla="*/ 9470 w 10000"/>
                <a:gd name="connsiteY134" fmla="*/ 3674 h 10000"/>
                <a:gd name="connsiteX135" fmla="*/ 9535 w 10000"/>
                <a:gd name="connsiteY135" fmla="*/ 3464 h 10000"/>
                <a:gd name="connsiteX136" fmla="*/ 9599 w 10000"/>
                <a:gd name="connsiteY136" fmla="*/ 3248 h 10000"/>
                <a:gd name="connsiteX137" fmla="*/ 9656 w 10000"/>
                <a:gd name="connsiteY137" fmla="*/ 3030 h 10000"/>
                <a:gd name="connsiteX138" fmla="*/ 9711 w 10000"/>
                <a:gd name="connsiteY138" fmla="*/ 2815 h 10000"/>
                <a:gd name="connsiteX139" fmla="*/ 9763 w 10000"/>
                <a:gd name="connsiteY139" fmla="*/ 2592 h 10000"/>
                <a:gd name="connsiteX140" fmla="*/ 9813 w 10000"/>
                <a:gd name="connsiteY140" fmla="*/ 2369 h 10000"/>
                <a:gd name="connsiteX141" fmla="*/ 9856 w 10000"/>
                <a:gd name="connsiteY141" fmla="*/ 2143 h 10000"/>
                <a:gd name="connsiteX142" fmla="*/ 9898 w 10000"/>
                <a:gd name="connsiteY142" fmla="*/ 1918 h 10000"/>
                <a:gd name="connsiteX143" fmla="*/ 9936 w 10000"/>
                <a:gd name="connsiteY143" fmla="*/ 1690 h 10000"/>
                <a:gd name="connsiteX144" fmla="*/ 9970 w 10000"/>
                <a:gd name="connsiteY144" fmla="*/ 1457 h 10000"/>
                <a:gd name="connsiteX145" fmla="*/ 10000 w 10000"/>
                <a:gd name="connsiteY145" fmla="*/ 1222 h 10000"/>
                <a:gd name="connsiteX146" fmla="*/ 7611 w 10000"/>
                <a:gd name="connsiteY146" fmla="*/ 1876 h 10000"/>
                <a:gd name="connsiteX147" fmla="*/ 5615 w 10000"/>
                <a:gd name="connsiteY14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0 w 10000"/>
                <a:gd name="connsiteY63" fmla="*/ 6085 h 10000"/>
                <a:gd name="connsiteX64" fmla="*/ 209 w 10000"/>
                <a:gd name="connsiteY64" fmla="*/ 9512 h 10000"/>
                <a:gd name="connsiteX65" fmla="*/ 344 w 10000"/>
                <a:gd name="connsiteY65" fmla="*/ 9569 h 10000"/>
                <a:gd name="connsiteX66" fmla="*/ 481 w 10000"/>
                <a:gd name="connsiteY66" fmla="*/ 9623 h 10000"/>
                <a:gd name="connsiteX67" fmla="*/ 621 w 10000"/>
                <a:gd name="connsiteY67" fmla="*/ 9673 h 10000"/>
                <a:gd name="connsiteX68" fmla="*/ 758 w 10000"/>
                <a:gd name="connsiteY68" fmla="*/ 9720 h 10000"/>
                <a:gd name="connsiteX69" fmla="*/ 899 w 10000"/>
                <a:gd name="connsiteY69" fmla="*/ 9765 h 10000"/>
                <a:gd name="connsiteX70" fmla="*/ 1040 w 10000"/>
                <a:gd name="connsiteY70" fmla="*/ 9804 h 10000"/>
                <a:gd name="connsiteX71" fmla="*/ 1182 w 10000"/>
                <a:gd name="connsiteY71" fmla="*/ 9839 h 10000"/>
                <a:gd name="connsiteX72" fmla="*/ 1325 w 10000"/>
                <a:gd name="connsiteY72" fmla="*/ 9874 h 10000"/>
                <a:gd name="connsiteX73" fmla="*/ 1471 w 10000"/>
                <a:gd name="connsiteY73" fmla="*/ 9903 h 10000"/>
                <a:gd name="connsiteX74" fmla="*/ 1614 w 10000"/>
                <a:gd name="connsiteY74" fmla="*/ 9926 h 10000"/>
                <a:gd name="connsiteX75" fmla="*/ 1760 w 10000"/>
                <a:gd name="connsiteY75" fmla="*/ 9948 h 10000"/>
                <a:gd name="connsiteX76" fmla="*/ 1906 w 10000"/>
                <a:gd name="connsiteY76" fmla="*/ 9965 h 10000"/>
                <a:gd name="connsiteX77" fmla="*/ 2052 w 10000"/>
                <a:gd name="connsiteY77" fmla="*/ 9980 h 10000"/>
                <a:gd name="connsiteX78" fmla="*/ 2202 w 10000"/>
                <a:gd name="connsiteY78" fmla="*/ 9990 h 10000"/>
                <a:gd name="connsiteX79" fmla="*/ 2350 w 10000"/>
                <a:gd name="connsiteY79" fmla="*/ 9995 h 10000"/>
                <a:gd name="connsiteX80" fmla="*/ 2498 w 10000"/>
                <a:gd name="connsiteY80" fmla="*/ 10000 h 10000"/>
                <a:gd name="connsiteX81" fmla="*/ 2677 w 10000"/>
                <a:gd name="connsiteY81" fmla="*/ 9995 h 10000"/>
                <a:gd name="connsiteX82" fmla="*/ 2850 w 10000"/>
                <a:gd name="connsiteY82" fmla="*/ 9988 h 10000"/>
                <a:gd name="connsiteX83" fmla="*/ 3024 w 10000"/>
                <a:gd name="connsiteY83" fmla="*/ 9975 h 10000"/>
                <a:gd name="connsiteX84" fmla="*/ 3195 w 10000"/>
                <a:gd name="connsiteY84" fmla="*/ 9953 h 10000"/>
                <a:gd name="connsiteX85" fmla="*/ 3368 w 10000"/>
                <a:gd name="connsiteY85" fmla="*/ 9931 h 10000"/>
                <a:gd name="connsiteX86" fmla="*/ 3538 w 10000"/>
                <a:gd name="connsiteY86" fmla="*/ 9898 h 10000"/>
                <a:gd name="connsiteX87" fmla="*/ 3709 w 10000"/>
                <a:gd name="connsiteY87" fmla="*/ 9866 h 10000"/>
                <a:gd name="connsiteX88" fmla="*/ 3877 w 10000"/>
                <a:gd name="connsiteY88" fmla="*/ 9824 h 10000"/>
                <a:gd name="connsiteX89" fmla="*/ 4042 w 10000"/>
                <a:gd name="connsiteY89" fmla="*/ 9779 h 10000"/>
                <a:gd name="connsiteX90" fmla="*/ 4210 w 10000"/>
                <a:gd name="connsiteY90" fmla="*/ 9730 h 10000"/>
                <a:gd name="connsiteX91" fmla="*/ 4372 w 10000"/>
                <a:gd name="connsiteY91" fmla="*/ 9673 h 10000"/>
                <a:gd name="connsiteX92" fmla="*/ 4536 w 10000"/>
                <a:gd name="connsiteY92" fmla="*/ 9616 h 10000"/>
                <a:gd name="connsiteX93" fmla="*/ 4697 w 10000"/>
                <a:gd name="connsiteY93" fmla="*/ 9552 h 10000"/>
                <a:gd name="connsiteX94" fmla="*/ 4857 w 10000"/>
                <a:gd name="connsiteY94" fmla="*/ 9482 h 10000"/>
                <a:gd name="connsiteX95" fmla="*/ 5014 w 10000"/>
                <a:gd name="connsiteY95" fmla="*/ 9405 h 10000"/>
                <a:gd name="connsiteX96" fmla="*/ 5171 w 10000"/>
                <a:gd name="connsiteY96" fmla="*/ 9329 h 10000"/>
                <a:gd name="connsiteX97" fmla="*/ 5326 w 10000"/>
                <a:gd name="connsiteY97" fmla="*/ 9244 h 10000"/>
                <a:gd name="connsiteX98" fmla="*/ 5480 w 10000"/>
                <a:gd name="connsiteY98" fmla="*/ 9158 h 10000"/>
                <a:gd name="connsiteX99" fmla="*/ 5631 w 10000"/>
                <a:gd name="connsiteY99" fmla="*/ 9063 h 10000"/>
                <a:gd name="connsiteX100" fmla="*/ 5781 w 10000"/>
                <a:gd name="connsiteY100" fmla="*/ 8967 h 10000"/>
                <a:gd name="connsiteX101" fmla="*/ 5931 w 10000"/>
                <a:gd name="connsiteY101" fmla="*/ 8865 h 10000"/>
                <a:gd name="connsiteX102" fmla="*/ 6075 w 10000"/>
                <a:gd name="connsiteY102" fmla="*/ 8759 h 10000"/>
                <a:gd name="connsiteX103" fmla="*/ 6221 w 10000"/>
                <a:gd name="connsiteY103" fmla="*/ 8652 h 10000"/>
                <a:gd name="connsiteX104" fmla="*/ 6364 w 10000"/>
                <a:gd name="connsiteY104" fmla="*/ 8536 h 10000"/>
                <a:gd name="connsiteX105" fmla="*/ 6505 w 10000"/>
                <a:gd name="connsiteY105" fmla="*/ 8417 h 10000"/>
                <a:gd name="connsiteX106" fmla="*/ 6642 w 10000"/>
                <a:gd name="connsiteY106" fmla="*/ 8295 h 10000"/>
                <a:gd name="connsiteX107" fmla="*/ 6780 w 10000"/>
                <a:gd name="connsiteY107" fmla="*/ 8169 h 10000"/>
                <a:gd name="connsiteX108" fmla="*/ 6913 w 10000"/>
                <a:gd name="connsiteY108" fmla="*/ 8040 h 10000"/>
                <a:gd name="connsiteX109" fmla="*/ 7045 w 10000"/>
                <a:gd name="connsiteY109" fmla="*/ 7904 h 10000"/>
                <a:gd name="connsiteX110" fmla="*/ 7175 w 10000"/>
                <a:gd name="connsiteY110" fmla="*/ 7768 h 10000"/>
                <a:gd name="connsiteX111" fmla="*/ 7304 w 10000"/>
                <a:gd name="connsiteY111" fmla="*/ 7624 h 10000"/>
                <a:gd name="connsiteX112" fmla="*/ 7429 w 10000"/>
                <a:gd name="connsiteY112" fmla="*/ 7480 h 10000"/>
                <a:gd name="connsiteX113" fmla="*/ 7552 w 10000"/>
                <a:gd name="connsiteY113" fmla="*/ 7329 h 10000"/>
                <a:gd name="connsiteX114" fmla="*/ 7673 w 10000"/>
                <a:gd name="connsiteY114" fmla="*/ 7178 h 10000"/>
                <a:gd name="connsiteX115" fmla="*/ 7792 w 10000"/>
                <a:gd name="connsiteY115" fmla="*/ 7024 h 10000"/>
                <a:gd name="connsiteX116" fmla="*/ 7907 w 10000"/>
                <a:gd name="connsiteY116" fmla="*/ 6861 h 10000"/>
                <a:gd name="connsiteX117" fmla="*/ 8022 w 10000"/>
                <a:gd name="connsiteY117" fmla="*/ 6697 h 10000"/>
                <a:gd name="connsiteX118" fmla="*/ 8133 w 10000"/>
                <a:gd name="connsiteY118" fmla="*/ 6534 h 10000"/>
                <a:gd name="connsiteX119" fmla="*/ 8240 w 10000"/>
                <a:gd name="connsiteY119" fmla="*/ 6365 h 10000"/>
                <a:gd name="connsiteX120" fmla="*/ 8347 w 10000"/>
                <a:gd name="connsiteY120" fmla="*/ 6189 h 10000"/>
                <a:gd name="connsiteX121" fmla="*/ 8450 w 10000"/>
                <a:gd name="connsiteY121" fmla="*/ 6016 h 10000"/>
                <a:gd name="connsiteX122" fmla="*/ 8552 w 10000"/>
                <a:gd name="connsiteY122" fmla="*/ 5835 h 10000"/>
                <a:gd name="connsiteX123" fmla="*/ 8650 w 10000"/>
                <a:gd name="connsiteY123" fmla="*/ 5652 h 10000"/>
                <a:gd name="connsiteX124" fmla="*/ 8745 w 10000"/>
                <a:gd name="connsiteY124" fmla="*/ 5468 h 10000"/>
                <a:gd name="connsiteX125" fmla="*/ 8837 w 10000"/>
                <a:gd name="connsiteY125" fmla="*/ 5278 h 10000"/>
                <a:gd name="connsiteX126" fmla="*/ 8927 w 10000"/>
                <a:gd name="connsiteY126" fmla="*/ 5089 h 10000"/>
                <a:gd name="connsiteX127" fmla="*/ 9014 w 10000"/>
                <a:gd name="connsiteY127" fmla="*/ 4893 h 10000"/>
                <a:gd name="connsiteX128" fmla="*/ 9098 w 10000"/>
                <a:gd name="connsiteY128" fmla="*/ 4698 h 10000"/>
                <a:gd name="connsiteX129" fmla="*/ 9178 w 10000"/>
                <a:gd name="connsiteY129" fmla="*/ 4500 h 10000"/>
                <a:gd name="connsiteX130" fmla="*/ 9256 w 10000"/>
                <a:gd name="connsiteY130" fmla="*/ 4294 h 10000"/>
                <a:gd name="connsiteX131" fmla="*/ 9330 w 10000"/>
                <a:gd name="connsiteY131" fmla="*/ 4091 h 10000"/>
                <a:gd name="connsiteX132" fmla="*/ 9401 w 10000"/>
                <a:gd name="connsiteY132" fmla="*/ 3885 h 10000"/>
                <a:gd name="connsiteX133" fmla="*/ 9470 w 10000"/>
                <a:gd name="connsiteY133" fmla="*/ 3674 h 10000"/>
                <a:gd name="connsiteX134" fmla="*/ 9535 w 10000"/>
                <a:gd name="connsiteY134" fmla="*/ 3464 h 10000"/>
                <a:gd name="connsiteX135" fmla="*/ 9599 w 10000"/>
                <a:gd name="connsiteY135" fmla="*/ 3248 h 10000"/>
                <a:gd name="connsiteX136" fmla="*/ 9656 w 10000"/>
                <a:gd name="connsiteY136" fmla="*/ 3030 h 10000"/>
                <a:gd name="connsiteX137" fmla="*/ 9711 w 10000"/>
                <a:gd name="connsiteY137" fmla="*/ 2815 h 10000"/>
                <a:gd name="connsiteX138" fmla="*/ 9763 w 10000"/>
                <a:gd name="connsiteY138" fmla="*/ 2592 h 10000"/>
                <a:gd name="connsiteX139" fmla="*/ 9813 w 10000"/>
                <a:gd name="connsiteY139" fmla="*/ 2369 h 10000"/>
                <a:gd name="connsiteX140" fmla="*/ 9856 w 10000"/>
                <a:gd name="connsiteY140" fmla="*/ 2143 h 10000"/>
                <a:gd name="connsiteX141" fmla="*/ 9898 w 10000"/>
                <a:gd name="connsiteY141" fmla="*/ 1918 h 10000"/>
                <a:gd name="connsiteX142" fmla="*/ 9936 w 10000"/>
                <a:gd name="connsiteY142" fmla="*/ 1690 h 10000"/>
                <a:gd name="connsiteX143" fmla="*/ 9970 w 10000"/>
                <a:gd name="connsiteY143" fmla="*/ 1457 h 10000"/>
                <a:gd name="connsiteX144" fmla="*/ 10000 w 10000"/>
                <a:gd name="connsiteY144" fmla="*/ 1222 h 10000"/>
                <a:gd name="connsiteX145" fmla="*/ 7611 w 10000"/>
                <a:gd name="connsiteY145" fmla="*/ 1876 h 10000"/>
                <a:gd name="connsiteX146" fmla="*/ 5615 w 10000"/>
                <a:gd name="connsiteY14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0 w 10000"/>
                <a:gd name="connsiteY62" fmla="*/ 6085 h 10000"/>
                <a:gd name="connsiteX63" fmla="*/ 209 w 10000"/>
                <a:gd name="connsiteY63" fmla="*/ 9512 h 10000"/>
                <a:gd name="connsiteX64" fmla="*/ 344 w 10000"/>
                <a:gd name="connsiteY64" fmla="*/ 9569 h 10000"/>
                <a:gd name="connsiteX65" fmla="*/ 481 w 10000"/>
                <a:gd name="connsiteY65" fmla="*/ 9623 h 10000"/>
                <a:gd name="connsiteX66" fmla="*/ 621 w 10000"/>
                <a:gd name="connsiteY66" fmla="*/ 9673 h 10000"/>
                <a:gd name="connsiteX67" fmla="*/ 758 w 10000"/>
                <a:gd name="connsiteY67" fmla="*/ 9720 h 10000"/>
                <a:gd name="connsiteX68" fmla="*/ 899 w 10000"/>
                <a:gd name="connsiteY68" fmla="*/ 9765 h 10000"/>
                <a:gd name="connsiteX69" fmla="*/ 1040 w 10000"/>
                <a:gd name="connsiteY69" fmla="*/ 9804 h 10000"/>
                <a:gd name="connsiteX70" fmla="*/ 1182 w 10000"/>
                <a:gd name="connsiteY70" fmla="*/ 9839 h 10000"/>
                <a:gd name="connsiteX71" fmla="*/ 1325 w 10000"/>
                <a:gd name="connsiteY71" fmla="*/ 9874 h 10000"/>
                <a:gd name="connsiteX72" fmla="*/ 1471 w 10000"/>
                <a:gd name="connsiteY72" fmla="*/ 9903 h 10000"/>
                <a:gd name="connsiteX73" fmla="*/ 1614 w 10000"/>
                <a:gd name="connsiteY73" fmla="*/ 9926 h 10000"/>
                <a:gd name="connsiteX74" fmla="*/ 1760 w 10000"/>
                <a:gd name="connsiteY74" fmla="*/ 9948 h 10000"/>
                <a:gd name="connsiteX75" fmla="*/ 1906 w 10000"/>
                <a:gd name="connsiteY75" fmla="*/ 9965 h 10000"/>
                <a:gd name="connsiteX76" fmla="*/ 2052 w 10000"/>
                <a:gd name="connsiteY76" fmla="*/ 9980 h 10000"/>
                <a:gd name="connsiteX77" fmla="*/ 2202 w 10000"/>
                <a:gd name="connsiteY77" fmla="*/ 9990 h 10000"/>
                <a:gd name="connsiteX78" fmla="*/ 2350 w 10000"/>
                <a:gd name="connsiteY78" fmla="*/ 9995 h 10000"/>
                <a:gd name="connsiteX79" fmla="*/ 2498 w 10000"/>
                <a:gd name="connsiteY79" fmla="*/ 10000 h 10000"/>
                <a:gd name="connsiteX80" fmla="*/ 2677 w 10000"/>
                <a:gd name="connsiteY80" fmla="*/ 9995 h 10000"/>
                <a:gd name="connsiteX81" fmla="*/ 2850 w 10000"/>
                <a:gd name="connsiteY81" fmla="*/ 9988 h 10000"/>
                <a:gd name="connsiteX82" fmla="*/ 3024 w 10000"/>
                <a:gd name="connsiteY82" fmla="*/ 9975 h 10000"/>
                <a:gd name="connsiteX83" fmla="*/ 3195 w 10000"/>
                <a:gd name="connsiteY83" fmla="*/ 9953 h 10000"/>
                <a:gd name="connsiteX84" fmla="*/ 3368 w 10000"/>
                <a:gd name="connsiteY84" fmla="*/ 9931 h 10000"/>
                <a:gd name="connsiteX85" fmla="*/ 3538 w 10000"/>
                <a:gd name="connsiteY85" fmla="*/ 9898 h 10000"/>
                <a:gd name="connsiteX86" fmla="*/ 3709 w 10000"/>
                <a:gd name="connsiteY86" fmla="*/ 9866 h 10000"/>
                <a:gd name="connsiteX87" fmla="*/ 3877 w 10000"/>
                <a:gd name="connsiteY87" fmla="*/ 9824 h 10000"/>
                <a:gd name="connsiteX88" fmla="*/ 4042 w 10000"/>
                <a:gd name="connsiteY88" fmla="*/ 9779 h 10000"/>
                <a:gd name="connsiteX89" fmla="*/ 4210 w 10000"/>
                <a:gd name="connsiteY89" fmla="*/ 9730 h 10000"/>
                <a:gd name="connsiteX90" fmla="*/ 4372 w 10000"/>
                <a:gd name="connsiteY90" fmla="*/ 9673 h 10000"/>
                <a:gd name="connsiteX91" fmla="*/ 4536 w 10000"/>
                <a:gd name="connsiteY91" fmla="*/ 9616 h 10000"/>
                <a:gd name="connsiteX92" fmla="*/ 4697 w 10000"/>
                <a:gd name="connsiteY92" fmla="*/ 9552 h 10000"/>
                <a:gd name="connsiteX93" fmla="*/ 4857 w 10000"/>
                <a:gd name="connsiteY93" fmla="*/ 9482 h 10000"/>
                <a:gd name="connsiteX94" fmla="*/ 5014 w 10000"/>
                <a:gd name="connsiteY94" fmla="*/ 9405 h 10000"/>
                <a:gd name="connsiteX95" fmla="*/ 5171 w 10000"/>
                <a:gd name="connsiteY95" fmla="*/ 9329 h 10000"/>
                <a:gd name="connsiteX96" fmla="*/ 5326 w 10000"/>
                <a:gd name="connsiteY96" fmla="*/ 9244 h 10000"/>
                <a:gd name="connsiteX97" fmla="*/ 5480 w 10000"/>
                <a:gd name="connsiteY97" fmla="*/ 9158 h 10000"/>
                <a:gd name="connsiteX98" fmla="*/ 5631 w 10000"/>
                <a:gd name="connsiteY98" fmla="*/ 9063 h 10000"/>
                <a:gd name="connsiteX99" fmla="*/ 5781 w 10000"/>
                <a:gd name="connsiteY99" fmla="*/ 8967 h 10000"/>
                <a:gd name="connsiteX100" fmla="*/ 5931 w 10000"/>
                <a:gd name="connsiteY100" fmla="*/ 8865 h 10000"/>
                <a:gd name="connsiteX101" fmla="*/ 6075 w 10000"/>
                <a:gd name="connsiteY101" fmla="*/ 8759 h 10000"/>
                <a:gd name="connsiteX102" fmla="*/ 6221 w 10000"/>
                <a:gd name="connsiteY102" fmla="*/ 8652 h 10000"/>
                <a:gd name="connsiteX103" fmla="*/ 6364 w 10000"/>
                <a:gd name="connsiteY103" fmla="*/ 8536 h 10000"/>
                <a:gd name="connsiteX104" fmla="*/ 6505 w 10000"/>
                <a:gd name="connsiteY104" fmla="*/ 8417 h 10000"/>
                <a:gd name="connsiteX105" fmla="*/ 6642 w 10000"/>
                <a:gd name="connsiteY105" fmla="*/ 8295 h 10000"/>
                <a:gd name="connsiteX106" fmla="*/ 6780 w 10000"/>
                <a:gd name="connsiteY106" fmla="*/ 8169 h 10000"/>
                <a:gd name="connsiteX107" fmla="*/ 6913 w 10000"/>
                <a:gd name="connsiteY107" fmla="*/ 8040 h 10000"/>
                <a:gd name="connsiteX108" fmla="*/ 7045 w 10000"/>
                <a:gd name="connsiteY108" fmla="*/ 7904 h 10000"/>
                <a:gd name="connsiteX109" fmla="*/ 7175 w 10000"/>
                <a:gd name="connsiteY109" fmla="*/ 7768 h 10000"/>
                <a:gd name="connsiteX110" fmla="*/ 7304 w 10000"/>
                <a:gd name="connsiteY110" fmla="*/ 7624 h 10000"/>
                <a:gd name="connsiteX111" fmla="*/ 7429 w 10000"/>
                <a:gd name="connsiteY111" fmla="*/ 7480 h 10000"/>
                <a:gd name="connsiteX112" fmla="*/ 7552 w 10000"/>
                <a:gd name="connsiteY112" fmla="*/ 7329 h 10000"/>
                <a:gd name="connsiteX113" fmla="*/ 7673 w 10000"/>
                <a:gd name="connsiteY113" fmla="*/ 7178 h 10000"/>
                <a:gd name="connsiteX114" fmla="*/ 7792 w 10000"/>
                <a:gd name="connsiteY114" fmla="*/ 7024 h 10000"/>
                <a:gd name="connsiteX115" fmla="*/ 7907 w 10000"/>
                <a:gd name="connsiteY115" fmla="*/ 6861 h 10000"/>
                <a:gd name="connsiteX116" fmla="*/ 8022 w 10000"/>
                <a:gd name="connsiteY116" fmla="*/ 6697 h 10000"/>
                <a:gd name="connsiteX117" fmla="*/ 8133 w 10000"/>
                <a:gd name="connsiteY117" fmla="*/ 6534 h 10000"/>
                <a:gd name="connsiteX118" fmla="*/ 8240 w 10000"/>
                <a:gd name="connsiteY118" fmla="*/ 6365 h 10000"/>
                <a:gd name="connsiteX119" fmla="*/ 8347 w 10000"/>
                <a:gd name="connsiteY119" fmla="*/ 6189 h 10000"/>
                <a:gd name="connsiteX120" fmla="*/ 8450 w 10000"/>
                <a:gd name="connsiteY120" fmla="*/ 6016 h 10000"/>
                <a:gd name="connsiteX121" fmla="*/ 8552 w 10000"/>
                <a:gd name="connsiteY121" fmla="*/ 5835 h 10000"/>
                <a:gd name="connsiteX122" fmla="*/ 8650 w 10000"/>
                <a:gd name="connsiteY122" fmla="*/ 5652 h 10000"/>
                <a:gd name="connsiteX123" fmla="*/ 8745 w 10000"/>
                <a:gd name="connsiteY123" fmla="*/ 5468 h 10000"/>
                <a:gd name="connsiteX124" fmla="*/ 8837 w 10000"/>
                <a:gd name="connsiteY124" fmla="*/ 5278 h 10000"/>
                <a:gd name="connsiteX125" fmla="*/ 8927 w 10000"/>
                <a:gd name="connsiteY125" fmla="*/ 5089 h 10000"/>
                <a:gd name="connsiteX126" fmla="*/ 9014 w 10000"/>
                <a:gd name="connsiteY126" fmla="*/ 4893 h 10000"/>
                <a:gd name="connsiteX127" fmla="*/ 9098 w 10000"/>
                <a:gd name="connsiteY127" fmla="*/ 4698 h 10000"/>
                <a:gd name="connsiteX128" fmla="*/ 9178 w 10000"/>
                <a:gd name="connsiteY128" fmla="*/ 4500 h 10000"/>
                <a:gd name="connsiteX129" fmla="*/ 9256 w 10000"/>
                <a:gd name="connsiteY129" fmla="*/ 4294 h 10000"/>
                <a:gd name="connsiteX130" fmla="*/ 9330 w 10000"/>
                <a:gd name="connsiteY130" fmla="*/ 4091 h 10000"/>
                <a:gd name="connsiteX131" fmla="*/ 9401 w 10000"/>
                <a:gd name="connsiteY131" fmla="*/ 3885 h 10000"/>
                <a:gd name="connsiteX132" fmla="*/ 9470 w 10000"/>
                <a:gd name="connsiteY132" fmla="*/ 3674 h 10000"/>
                <a:gd name="connsiteX133" fmla="*/ 9535 w 10000"/>
                <a:gd name="connsiteY133" fmla="*/ 3464 h 10000"/>
                <a:gd name="connsiteX134" fmla="*/ 9599 w 10000"/>
                <a:gd name="connsiteY134" fmla="*/ 3248 h 10000"/>
                <a:gd name="connsiteX135" fmla="*/ 9656 w 10000"/>
                <a:gd name="connsiteY135" fmla="*/ 3030 h 10000"/>
                <a:gd name="connsiteX136" fmla="*/ 9711 w 10000"/>
                <a:gd name="connsiteY136" fmla="*/ 2815 h 10000"/>
                <a:gd name="connsiteX137" fmla="*/ 9763 w 10000"/>
                <a:gd name="connsiteY137" fmla="*/ 2592 h 10000"/>
                <a:gd name="connsiteX138" fmla="*/ 9813 w 10000"/>
                <a:gd name="connsiteY138" fmla="*/ 2369 h 10000"/>
                <a:gd name="connsiteX139" fmla="*/ 9856 w 10000"/>
                <a:gd name="connsiteY139" fmla="*/ 2143 h 10000"/>
                <a:gd name="connsiteX140" fmla="*/ 9898 w 10000"/>
                <a:gd name="connsiteY140" fmla="*/ 1918 h 10000"/>
                <a:gd name="connsiteX141" fmla="*/ 9936 w 10000"/>
                <a:gd name="connsiteY141" fmla="*/ 1690 h 10000"/>
                <a:gd name="connsiteX142" fmla="*/ 9970 w 10000"/>
                <a:gd name="connsiteY142" fmla="*/ 1457 h 10000"/>
                <a:gd name="connsiteX143" fmla="*/ 10000 w 10000"/>
                <a:gd name="connsiteY143" fmla="*/ 1222 h 10000"/>
                <a:gd name="connsiteX144" fmla="*/ 7611 w 10000"/>
                <a:gd name="connsiteY144" fmla="*/ 1876 h 10000"/>
                <a:gd name="connsiteX145" fmla="*/ 5615 w 10000"/>
                <a:gd name="connsiteY14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0 w 10000"/>
                <a:gd name="connsiteY61" fmla="*/ 6085 h 10000"/>
                <a:gd name="connsiteX62" fmla="*/ 209 w 10000"/>
                <a:gd name="connsiteY62" fmla="*/ 9512 h 10000"/>
                <a:gd name="connsiteX63" fmla="*/ 344 w 10000"/>
                <a:gd name="connsiteY63" fmla="*/ 9569 h 10000"/>
                <a:gd name="connsiteX64" fmla="*/ 481 w 10000"/>
                <a:gd name="connsiteY64" fmla="*/ 9623 h 10000"/>
                <a:gd name="connsiteX65" fmla="*/ 621 w 10000"/>
                <a:gd name="connsiteY65" fmla="*/ 9673 h 10000"/>
                <a:gd name="connsiteX66" fmla="*/ 758 w 10000"/>
                <a:gd name="connsiteY66" fmla="*/ 9720 h 10000"/>
                <a:gd name="connsiteX67" fmla="*/ 899 w 10000"/>
                <a:gd name="connsiteY67" fmla="*/ 9765 h 10000"/>
                <a:gd name="connsiteX68" fmla="*/ 1040 w 10000"/>
                <a:gd name="connsiteY68" fmla="*/ 9804 h 10000"/>
                <a:gd name="connsiteX69" fmla="*/ 1182 w 10000"/>
                <a:gd name="connsiteY69" fmla="*/ 9839 h 10000"/>
                <a:gd name="connsiteX70" fmla="*/ 1325 w 10000"/>
                <a:gd name="connsiteY70" fmla="*/ 9874 h 10000"/>
                <a:gd name="connsiteX71" fmla="*/ 1471 w 10000"/>
                <a:gd name="connsiteY71" fmla="*/ 9903 h 10000"/>
                <a:gd name="connsiteX72" fmla="*/ 1614 w 10000"/>
                <a:gd name="connsiteY72" fmla="*/ 9926 h 10000"/>
                <a:gd name="connsiteX73" fmla="*/ 1760 w 10000"/>
                <a:gd name="connsiteY73" fmla="*/ 9948 h 10000"/>
                <a:gd name="connsiteX74" fmla="*/ 1906 w 10000"/>
                <a:gd name="connsiteY74" fmla="*/ 9965 h 10000"/>
                <a:gd name="connsiteX75" fmla="*/ 2052 w 10000"/>
                <a:gd name="connsiteY75" fmla="*/ 9980 h 10000"/>
                <a:gd name="connsiteX76" fmla="*/ 2202 w 10000"/>
                <a:gd name="connsiteY76" fmla="*/ 9990 h 10000"/>
                <a:gd name="connsiteX77" fmla="*/ 2350 w 10000"/>
                <a:gd name="connsiteY77" fmla="*/ 9995 h 10000"/>
                <a:gd name="connsiteX78" fmla="*/ 2498 w 10000"/>
                <a:gd name="connsiteY78" fmla="*/ 10000 h 10000"/>
                <a:gd name="connsiteX79" fmla="*/ 2677 w 10000"/>
                <a:gd name="connsiteY79" fmla="*/ 9995 h 10000"/>
                <a:gd name="connsiteX80" fmla="*/ 2850 w 10000"/>
                <a:gd name="connsiteY80" fmla="*/ 9988 h 10000"/>
                <a:gd name="connsiteX81" fmla="*/ 3024 w 10000"/>
                <a:gd name="connsiteY81" fmla="*/ 9975 h 10000"/>
                <a:gd name="connsiteX82" fmla="*/ 3195 w 10000"/>
                <a:gd name="connsiteY82" fmla="*/ 9953 h 10000"/>
                <a:gd name="connsiteX83" fmla="*/ 3368 w 10000"/>
                <a:gd name="connsiteY83" fmla="*/ 9931 h 10000"/>
                <a:gd name="connsiteX84" fmla="*/ 3538 w 10000"/>
                <a:gd name="connsiteY84" fmla="*/ 9898 h 10000"/>
                <a:gd name="connsiteX85" fmla="*/ 3709 w 10000"/>
                <a:gd name="connsiteY85" fmla="*/ 9866 h 10000"/>
                <a:gd name="connsiteX86" fmla="*/ 3877 w 10000"/>
                <a:gd name="connsiteY86" fmla="*/ 9824 h 10000"/>
                <a:gd name="connsiteX87" fmla="*/ 4042 w 10000"/>
                <a:gd name="connsiteY87" fmla="*/ 9779 h 10000"/>
                <a:gd name="connsiteX88" fmla="*/ 4210 w 10000"/>
                <a:gd name="connsiteY88" fmla="*/ 9730 h 10000"/>
                <a:gd name="connsiteX89" fmla="*/ 4372 w 10000"/>
                <a:gd name="connsiteY89" fmla="*/ 9673 h 10000"/>
                <a:gd name="connsiteX90" fmla="*/ 4536 w 10000"/>
                <a:gd name="connsiteY90" fmla="*/ 9616 h 10000"/>
                <a:gd name="connsiteX91" fmla="*/ 4697 w 10000"/>
                <a:gd name="connsiteY91" fmla="*/ 9552 h 10000"/>
                <a:gd name="connsiteX92" fmla="*/ 4857 w 10000"/>
                <a:gd name="connsiteY92" fmla="*/ 9482 h 10000"/>
                <a:gd name="connsiteX93" fmla="*/ 5014 w 10000"/>
                <a:gd name="connsiteY93" fmla="*/ 9405 h 10000"/>
                <a:gd name="connsiteX94" fmla="*/ 5171 w 10000"/>
                <a:gd name="connsiteY94" fmla="*/ 9329 h 10000"/>
                <a:gd name="connsiteX95" fmla="*/ 5326 w 10000"/>
                <a:gd name="connsiteY95" fmla="*/ 9244 h 10000"/>
                <a:gd name="connsiteX96" fmla="*/ 5480 w 10000"/>
                <a:gd name="connsiteY96" fmla="*/ 9158 h 10000"/>
                <a:gd name="connsiteX97" fmla="*/ 5631 w 10000"/>
                <a:gd name="connsiteY97" fmla="*/ 9063 h 10000"/>
                <a:gd name="connsiteX98" fmla="*/ 5781 w 10000"/>
                <a:gd name="connsiteY98" fmla="*/ 8967 h 10000"/>
                <a:gd name="connsiteX99" fmla="*/ 5931 w 10000"/>
                <a:gd name="connsiteY99" fmla="*/ 8865 h 10000"/>
                <a:gd name="connsiteX100" fmla="*/ 6075 w 10000"/>
                <a:gd name="connsiteY100" fmla="*/ 8759 h 10000"/>
                <a:gd name="connsiteX101" fmla="*/ 6221 w 10000"/>
                <a:gd name="connsiteY101" fmla="*/ 8652 h 10000"/>
                <a:gd name="connsiteX102" fmla="*/ 6364 w 10000"/>
                <a:gd name="connsiteY102" fmla="*/ 8536 h 10000"/>
                <a:gd name="connsiteX103" fmla="*/ 6505 w 10000"/>
                <a:gd name="connsiteY103" fmla="*/ 8417 h 10000"/>
                <a:gd name="connsiteX104" fmla="*/ 6642 w 10000"/>
                <a:gd name="connsiteY104" fmla="*/ 8295 h 10000"/>
                <a:gd name="connsiteX105" fmla="*/ 6780 w 10000"/>
                <a:gd name="connsiteY105" fmla="*/ 8169 h 10000"/>
                <a:gd name="connsiteX106" fmla="*/ 6913 w 10000"/>
                <a:gd name="connsiteY106" fmla="*/ 8040 h 10000"/>
                <a:gd name="connsiteX107" fmla="*/ 7045 w 10000"/>
                <a:gd name="connsiteY107" fmla="*/ 7904 h 10000"/>
                <a:gd name="connsiteX108" fmla="*/ 7175 w 10000"/>
                <a:gd name="connsiteY108" fmla="*/ 7768 h 10000"/>
                <a:gd name="connsiteX109" fmla="*/ 7304 w 10000"/>
                <a:gd name="connsiteY109" fmla="*/ 7624 h 10000"/>
                <a:gd name="connsiteX110" fmla="*/ 7429 w 10000"/>
                <a:gd name="connsiteY110" fmla="*/ 7480 h 10000"/>
                <a:gd name="connsiteX111" fmla="*/ 7552 w 10000"/>
                <a:gd name="connsiteY111" fmla="*/ 7329 h 10000"/>
                <a:gd name="connsiteX112" fmla="*/ 7673 w 10000"/>
                <a:gd name="connsiteY112" fmla="*/ 7178 h 10000"/>
                <a:gd name="connsiteX113" fmla="*/ 7792 w 10000"/>
                <a:gd name="connsiteY113" fmla="*/ 7024 h 10000"/>
                <a:gd name="connsiteX114" fmla="*/ 7907 w 10000"/>
                <a:gd name="connsiteY114" fmla="*/ 6861 h 10000"/>
                <a:gd name="connsiteX115" fmla="*/ 8022 w 10000"/>
                <a:gd name="connsiteY115" fmla="*/ 6697 h 10000"/>
                <a:gd name="connsiteX116" fmla="*/ 8133 w 10000"/>
                <a:gd name="connsiteY116" fmla="*/ 6534 h 10000"/>
                <a:gd name="connsiteX117" fmla="*/ 8240 w 10000"/>
                <a:gd name="connsiteY117" fmla="*/ 6365 h 10000"/>
                <a:gd name="connsiteX118" fmla="*/ 8347 w 10000"/>
                <a:gd name="connsiteY118" fmla="*/ 6189 h 10000"/>
                <a:gd name="connsiteX119" fmla="*/ 8450 w 10000"/>
                <a:gd name="connsiteY119" fmla="*/ 6016 h 10000"/>
                <a:gd name="connsiteX120" fmla="*/ 8552 w 10000"/>
                <a:gd name="connsiteY120" fmla="*/ 5835 h 10000"/>
                <a:gd name="connsiteX121" fmla="*/ 8650 w 10000"/>
                <a:gd name="connsiteY121" fmla="*/ 5652 h 10000"/>
                <a:gd name="connsiteX122" fmla="*/ 8745 w 10000"/>
                <a:gd name="connsiteY122" fmla="*/ 5468 h 10000"/>
                <a:gd name="connsiteX123" fmla="*/ 8837 w 10000"/>
                <a:gd name="connsiteY123" fmla="*/ 5278 h 10000"/>
                <a:gd name="connsiteX124" fmla="*/ 8927 w 10000"/>
                <a:gd name="connsiteY124" fmla="*/ 5089 h 10000"/>
                <a:gd name="connsiteX125" fmla="*/ 9014 w 10000"/>
                <a:gd name="connsiteY125" fmla="*/ 4893 h 10000"/>
                <a:gd name="connsiteX126" fmla="*/ 9098 w 10000"/>
                <a:gd name="connsiteY126" fmla="*/ 4698 h 10000"/>
                <a:gd name="connsiteX127" fmla="*/ 9178 w 10000"/>
                <a:gd name="connsiteY127" fmla="*/ 4500 h 10000"/>
                <a:gd name="connsiteX128" fmla="*/ 9256 w 10000"/>
                <a:gd name="connsiteY128" fmla="*/ 4294 h 10000"/>
                <a:gd name="connsiteX129" fmla="*/ 9330 w 10000"/>
                <a:gd name="connsiteY129" fmla="*/ 4091 h 10000"/>
                <a:gd name="connsiteX130" fmla="*/ 9401 w 10000"/>
                <a:gd name="connsiteY130" fmla="*/ 3885 h 10000"/>
                <a:gd name="connsiteX131" fmla="*/ 9470 w 10000"/>
                <a:gd name="connsiteY131" fmla="*/ 3674 h 10000"/>
                <a:gd name="connsiteX132" fmla="*/ 9535 w 10000"/>
                <a:gd name="connsiteY132" fmla="*/ 3464 h 10000"/>
                <a:gd name="connsiteX133" fmla="*/ 9599 w 10000"/>
                <a:gd name="connsiteY133" fmla="*/ 3248 h 10000"/>
                <a:gd name="connsiteX134" fmla="*/ 9656 w 10000"/>
                <a:gd name="connsiteY134" fmla="*/ 3030 h 10000"/>
                <a:gd name="connsiteX135" fmla="*/ 9711 w 10000"/>
                <a:gd name="connsiteY135" fmla="*/ 2815 h 10000"/>
                <a:gd name="connsiteX136" fmla="*/ 9763 w 10000"/>
                <a:gd name="connsiteY136" fmla="*/ 2592 h 10000"/>
                <a:gd name="connsiteX137" fmla="*/ 9813 w 10000"/>
                <a:gd name="connsiteY137" fmla="*/ 2369 h 10000"/>
                <a:gd name="connsiteX138" fmla="*/ 9856 w 10000"/>
                <a:gd name="connsiteY138" fmla="*/ 2143 h 10000"/>
                <a:gd name="connsiteX139" fmla="*/ 9898 w 10000"/>
                <a:gd name="connsiteY139" fmla="*/ 1918 h 10000"/>
                <a:gd name="connsiteX140" fmla="*/ 9936 w 10000"/>
                <a:gd name="connsiteY140" fmla="*/ 1690 h 10000"/>
                <a:gd name="connsiteX141" fmla="*/ 9970 w 10000"/>
                <a:gd name="connsiteY141" fmla="*/ 1457 h 10000"/>
                <a:gd name="connsiteX142" fmla="*/ 10000 w 10000"/>
                <a:gd name="connsiteY142" fmla="*/ 1222 h 10000"/>
                <a:gd name="connsiteX143" fmla="*/ 7611 w 10000"/>
                <a:gd name="connsiteY143" fmla="*/ 1876 h 10000"/>
                <a:gd name="connsiteX144" fmla="*/ 5615 w 10000"/>
                <a:gd name="connsiteY14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0 w 10000"/>
                <a:gd name="connsiteY60" fmla="*/ 6085 h 10000"/>
                <a:gd name="connsiteX61" fmla="*/ 209 w 10000"/>
                <a:gd name="connsiteY61" fmla="*/ 9512 h 10000"/>
                <a:gd name="connsiteX62" fmla="*/ 344 w 10000"/>
                <a:gd name="connsiteY62" fmla="*/ 9569 h 10000"/>
                <a:gd name="connsiteX63" fmla="*/ 481 w 10000"/>
                <a:gd name="connsiteY63" fmla="*/ 9623 h 10000"/>
                <a:gd name="connsiteX64" fmla="*/ 621 w 10000"/>
                <a:gd name="connsiteY64" fmla="*/ 9673 h 10000"/>
                <a:gd name="connsiteX65" fmla="*/ 758 w 10000"/>
                <a:gd name="connsiteY65" fmla="*/ 9720 h 10000"/>
                <a:gd name="connsiteX66" fmla="*/ 899 w 10000"/>
                <a:gd name="connsiteY66" fmla="*/ 9765 h 10000"/>
                <a:gd name="connsiteX67" fmla="*/ 1040 w 10000"/>
                <a:gd name="connsiteY67" fmla="*/ 9804 h 10000"/>
                <a:gd name="connsiteX68" fmla="*/ 1182 w 10000"/>
                <a:gd name="connsiteY68" fmla="*/ 9839 h 10000"/>
                <a:gd name="connsiteX69" fmla="*/ 1325 w 10000"/>
                <a:gd name="connsiteY69" fmla="*/ 9874 h 10000"/>
                <a:gd name="connsiteX70" fmla="*/ 1471 w 10000"/>
                <a:gd name="connsiteY70" fmla="*/ 9903 h 10000"/>
                <a:gd name="connsiteX71" fmla="*/ 1614 w 10000"/>
                <a:gd name="connsiteY71" fmla="*/ 9926 h 10000"/>
                <a:gd name="connsiteX72" fmla="*/ 1760 w 10000"/>
                <a:gd name="connsiteY72" fmla="*/ 9948 h 10000"/>
                <a:gd name="connsiteX73" fmla="*/ 1906 w 10000"/>
                <a:gd name="connsiteY73" fmla="*/ 9965 h 10000"/>
                <a:gd name="connsiteX74" fmla="*/ 2052 w 10000"/>
                <a:gd name="connsiteY74" fmla="*/ 9980 h 10000"/>
                <a:gd name="connsiteX75" fmla="*/ 2202 w 10000"/>
                <a:gd name="connsiteY75" fmla="*/ 9990 h 10000"/>
                <a:gd name="connsiteX76" fmla="*/ 2350 w 10000"/>
                <a:gd name="connsiteY76" fmla="*/ 9995 h 10000"/>
                <a:gd name="connsiteX77" fmla="*/ 2498 w 10000"/>
                <a:gd name="connsiteY77" fmla="*/ 10000 h 10000"/>
                <a:gd name="connsiteX78" fmla="*/ 2677 w 10000"/>
                <a:gd name="connsiteY78" fmla="*/ 9995 h 10000"/>
                <a:gd name="connsiteX79" fmla="*/ 2850 w 10000"/>
                <a:gd name="connsiteY79" fmla="*/ 9988 h 10000"/>
                <a:gd name="connsiteX80" fmla="*/ 3024 w 10000"/>
                <a:gd name="connsiteY80" fmla="*/ 9975 h 10000"/>
                <a:gd name="connsiteX81" fmla="*/ 3195 w 10000"/>
                <a:gd name="connsiteY81" fmla="*/ 9953 h 10000"/>
                <a:gd name="connsiteX82" fmla="*/ 3368 w 10000"/>
                <a:gd name="connsiteY82" fmla="*/ 9931 h 10000"/>
                <a:gd name="connsiteX83" fmla="*/ 3538 w 10000"/>
                <a:gd name="connsiteY83" fmla="*/ 9898 h 10000"/>
                <a:gd name="connsiteX84" fmla="*/ 3709 w 10000"/>
                <a:gd name="connsiteY84" fmla="*/ 9866 h 10000"/>
                <a:gd name="connsiteX85" fmla="*/ 3877 w 10000"/>
                <a:gd name="connsiteY85" fmla="*/ 9824 h 10000"/>
                <a:gd name="connsiteX86" fmla="*/ 4042 w 10000"/>
                <a:gd name="connsiteY86" fmla="*/ 9779 h 10000"/>
                <a:gd name="connsiteX87" fmla="*/ 4210 w 10000"/>
                <a:gd name="connsiteY87" fmla="*/ 9730 h 10000"/>
                <a:gd name="connsiteX88" fmla="*/ 4372 w 10000"/>
                <a:gd name="connsiteY88" fmla="*/ 9673 h 10000"/>
                <a:gd name="connsiteX89" fmla="*/ 4536 w 10000"/>
                <a:gd name="connsiteY89" fmla="*/ 9616 h 10000"/>
                <a:gd name="connsiteX90" fmla="*/ 4697 w 10000"/>
                <a:gd name="connsiteY90" fmla="*/ 9552 h 10000"/>
                <a:gd name="connsiteX91" fmla="*/ 4857 w 10000"/>
                <a:gd name="connsiteY91" fmla="*/ 9482 h 10000"/>
                <a:gd name="connsiteX92" fmla="*/ 5014 w 10000"/>
                <a:gd name="connsiteY92" fmla="*/ 9405 h 10000"/>
                <a:gd name="connsiteX93" fmla="*/ 5171 w 10000"/>
                <a:gd name="connsiteY93" fmla="*/ 9329 h 10000"/>
                <a:gd name="connsiteX94" fmla="*/ 5326 w 10000"/>
                <a:gd name="connsiteY94" fmla="*/ 9244 h 10000"/>
                <a:gd name="connsiteX95" fmla="*/ 5480 w 10000"/>
                <a:gd name="connsiteY95" fmla="*/ 9158 h 10000"/>
                <a:gd name="connsiteX96" fmla="*/ 5631 w 10000"/>
                <a:gd name="connsiteY96" fmla="*/ 9063 h 10000"/>
                <a:gd name="connsiteX97" fmla="*/ 5781 w 10000"/>
                <a:gd name="connsiteY97" fmla="*/ 8967 h 10000"/>
                <a:gd name="connsiteX98" fmla="*/ 5931 w 10000"/>
                <a:gd name="connsiteY98" fmla="*/ 8865 h 10000"/>
                <a:gd name="connsiteX99" fmla="*/ 6075 w 10000"/>
                <a:gd name="connsiteY99" fmla="*/ 8759 h 10000"/>
                <a:gd name="connsiteX100" fmla="*/ 6221 w 10000"/>
                <a:gd name="connsiteY100" fmla="*/ 8652 h 10000"/>
                <a:gd name="connsiteX101" fmla="*/ 6364 w 10000"/>
                <a:gd name="connsiteY101" fmla="*/ 8536 h 10000"/>
                <a:gd name="connsiteX102" fmla="*/ 6505 w 10000"/>
                <a:gd name="connsiteY102" fmla="*/ 8417 h 10000"/>
                <a:gd name="connsiteX103" fmla="*/ 6642 w 10000"/>
                <a:gd name="connsiteY103" fmla="*/ 8295 h 10000"/>
                <a:gd name="connsiteX104" fmla="*/ 6780 w 10000"/>
                <a:gd name="connsiteY104" fmla="*/ 8169 h 10000"/>
                <a:gd name="connsiteX105" fmla="*/ 6913 w 10000"/>
                <a:gd name="connsiteY105" fmla="*/ 8040 h 10000"/>
                <a:gd name="connsiteX106" fmla="*/ 7045 w 10000"/>
                <a:gd name="connsiteY106" fmla="*/ 7904 h 10000"/>
                <a:gd name="connsiteX107" fmla="*/ 7175 w 10000"/>
                <a:gd name="connsiteY107" fmla="*/ 7768 h 10000"/>
                <a:gd name="connsiteX108" fmla="*/ 7304 w 10000"/>
                <a:gd name="connsiteY108" fmla="*/ 7624 h 10000"/>
                <a:gd name="connsiteX109" fmla="*/ 7429 w 10000"/>
                <a:gd name="connsiteY109" fmla="*/ 7480 h 10000"/>
                <a:gd name="connsiteX110" fmla="*/ 7552 w 10000"/>
                <a:gd name="connsiteY110" fmla="*/ 7329 h 10000"/>
                <a:gd name="connsiteX111" fmla="*/ 7673 w 10000"/>
                <a:gd name="connsiteY111" fmla="*/ 7178 h 10000"/>
                <a:gd name="connsiteX112" fmla="*/ 7792 w 10000"/>
                <a:gd name="connsiteY112" fmla="*/ 7024 h 10000"/>
                <a:gd name="connsiteX113" fmla="*/ 7907 w 10000"/>
                <a:gd name="connsiteY113" fmla="*/ 6861 h 10000"/>
                <a:gd name="connsiteX114" fmla="*/ 8022 w 10000"/>
                <a:gd name="connsiteY114" fmla="*/ 6697 h 10000"/>
                <a:gd name="connsiteX115" fmla="*/ 8133 w 10000"/>
                <a:gd name="connsiteY115" fmla="*/ 6534 h 10000"/>
                <a:gd name="connsiteX116" fmla="*/ 8240 w 10000"/>
                <a:gd name="connsiteY116" fmla="*/ 6365 h 10000"/>
                <a:gd name="connsiteX117" fmla="*/ 8347 w 10000"/>
                <a:gd name="connsiteY117" fmla="*/ 6189 h 10000"/>
                <a:gd name="connsiteX118" fmla="*/ 8450 w 10000"/>
                <a:gd name="connsiteY118" fmla="*/ 6016 h 10000"/>
                <a:gd name="connsiteX119" fmla="*/ 8552 w 10000"/>
                <a:gd name="connsiteY119" fmla="*/ 5835 h 10000"/>
                <a:gd name="connsiteX120" fmla="*/ 8650 w 10000"/>
                <a:gd name="connsiteY120" fmla="*/ 5652 h 10000"/>
                <a:gd name="connsiteX121" fmla="*/ 8745 w 10000"/>
                <a:gd name="connsiteY121" fmla="*/ 5468 h 10000"/>
                <a:gd name="connsiteX122" fmla="*/ 8837 w 10000"/>
                <a:gd name="connsiteY122" fmla="*/ 5278 h 10000"/>
                <a:gd name="connsiteX123" fmla="*/ 8927 w 10000"/>
                <a:gd name="connsiteY123" fmla="*/ 5089 h 10000"/>
                <a:gd name="connsiteX124" fmla="*/ 9014 w 10000"/>
                <a:gd name="connsiteY124" fmla="*/ 4893 h 10000"/>
                <a:gd name="connsiteX125" fmla="*/ 9098 w 10000"/>
                <a:gd name="connsiteY125" fmla="*/ 4698 h 10000"/>
                <a:gd name="connsiteX126" fmla="*/ 9178 w 10000"/>
                <a:gd name="connsiteY126" fmla="*/ 4500 h 10000"/>
                <a:gd name="connsiteX127" fmla="*/ 9256 w 10000"/>
                <a:gd name="connsiteY127" fmla="*/ 4294 h 10000"/>
                <a:gd name="connsiteX128" fmla="*/ 9330 w 10000"/>
                <a:gd name="connsiteY128" fmla="*/ 4091 h 10000"/>
                <a:gd name="connsiteX129" fmla="*/ 9401 w 10000"/>
                <a:gd name="connsiteY129" fmla="*/ 3885 h 10000"/>
                <a:gd name="connsiteX130" fmla="*/ 9470 w 10000"/>
                <a:gd name="connsiteY130" fmla="*/ 3674 h 10000"/>
                <a:gd name="connsiteX131" fmla="*/ 9535 w 10000"/>
                <a:gd name="connsiteY131" fmla="*/ 3464 h 10000"/>
                <a:gd name="connsiteX132" fmla="*/ 9599 w 10000"/>
                <a:gd name="connsiteY132" fmla="*/ 3248 h 10000"/>
                <a:gd name="connsiteX133" fmla="*/ 9656 w 10000"/>
                <a:gd name="connsiteY133" fmla="*/ 3030 h 10000"/>
                <a:gd name="connsiteX134" fmla="*/ 9711 w 10000"/>
                <a:gd name="connsiteY134" fmla="*/ 2815 h 10000"/>
                <a:gd name="connsiteX135" fmla="*/ 9763 w 10000"/>
                <a:gd name="connsiteY135" fmla="*/ 2592 h 10000"/>
                <a:gd name="connsiteX136" fmla="*/ 9813 w 10000"/>
                <a:gd name="connsiteY136" fmla="*/ 2369 h 10000"/>
                <a:gd name="connsiteX137" fmla="*/ 9856 w 10000"/>
                <a:gd name="connsiteY137" fmla="*/ 2143 h 10000"/>
                <a:gd name="connsiteX138" fmla="*/ 9898 w 10000"/>
                <a:gd name="connsiteY138" fmla="*/ 1918 h 10000"/>
                <a:gd name="connsiteX139" fmla="*/ 9936 w 10000"/>
                <a:gd name="connsiteY139" fmla="*/ 1690 h 10000"/>
                <a:gd name="connsiteX140" fmla="*/ 9970 w 10000"/>
                <a:gd name="connsiteY140" fmla="*/ 1457 h 10000"/>
                <a:gd name="connsiteX141" fmla="*/ 10000 w 10000"/>
                <a:gd name="connsiteY141" fmla="*/ 1222 h 10000"/>
                <a:gd name="connsiteX142" fmla="*/ 7611 w 10000"/>
                <a:gd name="connsiteY142" fmla="*/ 1876 h 10000"/>
                <a:gd name="connsiteX143" fmla="*/ 5615 w 10000"/>
                <a:gd name="connsiteY14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0 w 10000"/>
                <a:gd name="connsiteY59" fmla="*/ 6085 h 10000"/>
                <a:gd name="connsiteX60" fmla="*/ 209 w 10000"/>
                <a:gd name="connsiteY60" fmla="*/ 9512 h 10000"/>
                <a:gd name="connsiteX61" fmla="*/ 344 w 10000"/>
                <a:gd name="connsiteY61" fmla="*/ 9569 h 10000"/>
                <a:gd name="connsiteX62" fmla="*/ 481 w 10000"/>
                <a:gd name="connsiteY62" fmla="*/ 9623 h 10000"/>
                <a:gd name="connsiteX63" fmla="*/ 621 w 10000"/>
                <a:gd name="connsiteY63" fmla="*/ 9673 h 10000"/>
                <a:gd name="connsiteX64" fmla="*/ 758 w 10000"/>
                <a:gd name="connsiteY64" fmla="*/ 9720 h 10000"/>
                <a:gd name="connsiteX65" fmla="*/ 899 w 10000"/>
                <a:gd name="connsiteY65" fmla="*/ 9765 h 10000"/>
                <a:gd name="connsiteX66" fmla="*/ 1040 w 10000"/>
                <a:gd name="connsiteY66" fmla="*/ 9804 h 10000"/>
                <a:gd name="connsiteX67" fmla="*/ 1182 w 10000"/>
                <a:gd name="connsiteY67" fmla="*/ 9839 h 10000"/>
                <a:gd name="connsiteX68" fmla="*/ 1325 w 10000"/>
                <a:gd name="connsiteY68" fmla="*/ 9874 h 10000"/>
                <a:gd name="connsiteX69" fmla="*/ 1471 w 10000"/>
                <a:gd name="connsiteY69" fmla="*/ 9903 h 10000"/>
                <a:gd name="connsiteX70" fmla="*/ 1614 w 10000"/>
                <a:gd name="connsiteY70" fmla="*/ 9926 h 10000"/>
                <a:gd name="connsiteX71" fmla="*/ 1760 w 10000"/>
                <a:gd name="connsiteY71" fmla="*/ 9948 h 10000"/>
                <a:gd name="connsiteX72" fmla="*/ 1906 w 10000"/>
                <a:gd name="connsiteY72" fmla="*/ 9965 h 10000"/>
                <a:gd name="connsiteX73" fmla="*/ 2052 w 10000"/>
                <a:gd name="connsiteY73" fmla="*/ 9980 h 10000"/>
                <a:gd name="connsiteX74" fmla="*/ 2202 w 10000"/>
                <a:gd name="connsiteY74" fmla="*/ 9990 h 10000"/>
                <a:gd name="connsiteX75" fmla="*/ 2350 w 10000"/>
                <a:gd name="connsiteY75" fmla="*/ 9995 h 10000"/>
                <a:gd name="connsiteX76" fmla="*/ 2498 w 10000"/>
                <a:gd name="connsiteY76" fmla="*/ 10000 h 10000"/>
                <a:gd name="connsiteX77" fmla="*/ 2677 w 10000"/>
                <a:gd name="connsiteY77" fmla="*/ 9995 h 10000"/>
                <a:gd name="connsiteX78" fmla="*/ 2850 w 10000"/>
                <a:gd name="connsiteY78" fmla="*/ 9988 h 10000"/>
                <a:gd name="connsiteX79" fmla="*/ 3024 w 10000"/>
                <a:gd name="connsiteY79" fmla="*/ 9975 h 10000"/>
                <a:gd name="connsiteX80" fmla="*/ 3195 w 10000"/>
                <a:gd name="connsiteY80" fmla="*/ 9953 h 10000"/>
                <a:gd name="connsiteX81" fmla="*/ 3368 w 10000"/>
                <a:gd name="connsiteY81" fmla="*/ 9931 h 10000"/>
                <a:gd name="connsiteX82" fmla="*/ 3538 w 10000"/>
                <a:gd name="connsiteY82" fmla="*/ 9898 h 10000"/>
                <a:gd name="connsiteX83" fmla="*/ 3709 w 10000"/>
                <a:gd name="connsiteY83" fmla="*/ 9866 h 10000"/>
                <a:gd name="connsiteX84" fmla="*/ 3877 w 10000"/>
                <a:gd name="connsiteY84" fmla="*/ 9824 h 10000"/>
                <a:gd name="connsiteX85" fmla="*/ 4042 w 10000"/>
                <a:gd name="connsiteY85" fmla="*/ 9779 h 10000"/>
                <a:gd name="connsiteX86" fmla="*/ 4210 w 10000"/>
                <a:gd name="connsiteY86" fmla="*/ 9730 h 10000"/>
                <a:gd name="connsiteX87" fmla="*/ 4372 w 10000"/>
                <a:gd name="connsiteY87" fmla="*/ 9673 h 10000"/>
                <a:gd name="connsiteX88" fmla="*/ 4536 w 10000"/>
                <a:gd name="connsiteY88" fmla="*/ 9616 h 10000"/>
                <a:gd name="connsiteX89" fmla="*/ 4697 w 10000"/>
                <a:gd name="connsiteY89" fmla="*/ 9552 h 10000"/>
                <a:gd name="connsiteX90" fmla="*/ 4857 w 10000"/>
                <a:gd name="connsiteY90" fmla="*/ 9482 h 10000"/>
                <a:gd name="connsiteX91" fmla="*/ 5014 w 10000"/>
                <a:gd name="connsiteY91" fmla="*/ 9405 h 10000"/>
                <a:gd name="connsiteX92" fmla="*/ 5171 w 10000"/>
                <a:gd name="connsiteY92" fmla="*/ 9329 h 10000"/>
                <a:gd name="connsiteX93" fmla="*/ 5326 w 10000"/>
                <a:gd name="connsiteY93" fmla="*/ 9244 h 10000"/>
                <a:gd name="connsiteX94" fmla="*/ 5480 w 10000"/>
                <a:gd name="connsiteY94" fmla="*/ 9158 h 10000"/>
                <a:gd name="connsiteX95" fmla="*/ 5631 w 10000"/>
                <a:gd name="connsiteY95" fmla="*/ 9063 h 10000"/>
                <a:gd name="connsiteX96" fmla="*/ 5781 w 10000"/>
                <a:gd name="connsiteY96" fmla="*/ 8967 h 10000"/>
                <a:gd name="connsiteX97" fmla="*/ 5931 w 10000"/>
                <a:gd name="connsiteY97" fmla="*/ 8865 h 10000"/>
                <a:gd name="connsiteX98" fmla="*/ 6075 w 10000"/>
                <a:gd name="connsiteY98" fmla="*/ 8759 h 10000"/>
                <a:gd name="connsiteX99" fmla="*/ 6221 w 10000"/>
                <a:gd name="connsiteY99" fmla="*/ 8652 h 10000"/>
                <a:gd name="connsiteX100" fmla="*/ 6364 w 10000"/>
                <a:gd name="connsiteY100" fmla="*/ 8536 h 10000"/>
                <a:gd name="connsiteX101" fmla="*/ 6505 w 10000"/>
                <a:gd name="connsiteY101" fmla="*/ 8417 h 10000"/>
                <a:gd name="connsiteX102" fmla="*/ 6642 w 10000"/>
                <a:gd name="connsiteY102" fmla="*/ 8295 h 10000"/>
                <a:gd name="connsiteX103" fmla="*/ 6780 w 10000"/>
                <a:gd name="connsiteY103" fmla="*/ 8169 h 10000"/>
                <a:gd name="connsiteX104" fmla="*/ 6913 w 10000"/>
                <a:gd name="connsiteY104" fmla="*/ 8040 h 10000"/>
                <a:gd name="connsiteX105" fmla="*/ 7045 w 10000"/>
                <a:gd name="connsiteY105" fmla="*/ 7904 h 10000"/>
                <a:gd name="connsiteX106" fmla="*/ 7175 w 10000"/>
                <a:gd name="connsiteY106" fmla="*/ 7768 h 10000"/>
                <a:gd name="connsiteX107" fmla="*/ 7304 w 10000"/>
                <a:gd name="connsiteY107" fmla="*/ 7624 h 10000"/>
                <a:gd name="connsiteX108" fmla="*/ 7429 w 10000"/>
                <a:gd name="connsiteY108" fmla="*/ 7480 h 10000"/>
                <a:gd name="connsiteX109" fmla="*/ 7552 w 10000"/>
                <a:gd name="connsiteY109" fmla="*/ 7329 h 10000"/>
                <a:gd name="connsiteX110" fmla="*/ 7673 w 10000"/>
                <a:gd name="connsiteY110" fmla="*/ 7178 h 10000"/>
                <a:gd name="connsiteX111" fmla="*/ 7792 w 10000"/>
                <a:gd name="connsiteY111" fmla="*/ 7024 h 10000"/>
                <a:gd name="connsiteX112" fmla="*/ 7907 w 10000"/>
                <a:gd name="connsiteY112" fmla="*/ 6861 h 10000"/>
                <a:gd name="connsiteX113" fmla="*/ 8022 w 10000"/>
                <a:gd name="connsiteY113" fmla="*/ 6697 h 10000"/>
                <a:gd name="connsiteX114" fmla="*/ 8133 w 10000"/>
                <a:gd name="connsiteY114" fmla="*/ 6534 h 10000"/>
                <a:gd name="connsiteX115" fmla="*/ 8240 w 10000"/>
                <a:gd name="connsiteY115" fmla="*/ 6365 h 10000"/>
                <a:gd name="connsiteX116" fmla="*/ 8347 w 10000"/>
                <a:gd name="connsiteY116" fmla="*/ 6189 h 10000"/>
                <a:gd name="connsiteX117" fmla="*/ 8450 w 10000"/>
                <a:gd name="connsiteY117" fmla="*/ 6016 h 10000"/>
                <a:gd name="connsiteX118" fmla="*/ 8552 w 10000"/>
                <a:gd name="connsiteY118" fmla="*/ 5835 h 10000"/>
                <a:gd name="connsiteX119" fmla="*/ 8650 w 10000"/>
                <a:gd name="connsiteY119" fmla="*/ 5652 h 10000"/>
                <a:gd name="connsiteX120" fmla="*/ 8745 w 10000"/>
                <a:gd name="connsiteY120" fmla="*/ 5468 h 10000"/>
                <a:gd name="connsiteX121" fmla="*/ 8837 w 10000"/>
                <a:gd name="connsiteY121" fmla="*/ 5278 h 10000"/>
                <a:gd name="connsiteX122" fmla="*/ 8927 w 10000"/>
                <a:gd name="connsiteY122" fmla="*/ 5089 h 10000"/>
                <a:gd name="connsiteX123" fmla="*/ 9014 w 10000"/>
                <a:gd name="connsiteY123" fmla="*/ 4893 h 10000"/>
                <a:gd name="connsiteX124" fmla="*/ 9098 w 10000"/>
                <a:gd name="connsiteY124" fmla="*/ 4698 h 10000"/>
                <a:gd name="connsiteX125" fmla="*/ 9178 w 10000"/>
                <a:gd name="connsiteY125" fmla="*/ 4500 h 10000"/>
                <a:gd name="connsiteX126" fmla="*/ 9256 w 10000"/>
                <a:gd name="connsiteY126" fmla="*/ 4294 h 10000"/>
                <a:gd name="connsiteX127" fmla="*/ 9330 w 10000"/>
                <a:gd name="connsiteY127" fmla="*/ 4091 h 10000"/>
                <a:gd name="connsiteX128" fmla="*/ 9401 w 10000"/>
                <a:gd name="connsiteY128" fmla="*/ 3885 h 10000"/>
                <a:gd name="connsiteX129" fmla="*/ 9470 w 10000"/>
                <a:gd name="connsiteY129" fmla="*/ 3674 h 10000"/>
                <a:gd name="connsiteX130" fmla="*/ 9535 w 10000"/>
                <a:gd name="connsiteY130" fmla="*/ 3464 h 10000"/>
                <a:gd name="connsiteX131" fmla="*/ 9599 w 10000"/>
                <a:gd name="connsiteY131" fmla="*/ 3248 h 10000"/>
                <a:gd name="connsiteX132" fmla="*/ 9656 w 10000"/>
                <a:gd name="connsiteY132" fmla="*/ 3030 h 10000"/>
                <a:gd name="connsiteX133" fmla="*/ 9711 w 10000"/>
                <a:gd name="connsiteY133" fmla="*/ 2815 h 10000"/>
                <a:gd name="connsiteX134" fmla="*/ 9763 w 10000"/>
                <a:gd name="connsiteY134" fmla="*/ 2592 h 10000"/>
                <a:gd name="connsiteX135" fmla="*/ 9813 w 10000"/>
                <a:gd name="connsiteY135" fmla="*/ 2369 h 10000"/>
                <a:gd name="connsiteX136" fmla="*/ 9856 w 10000"/>
                <a:gd name="connsiteY136" fmla="*/ 2143 h 10000"/>
                <a:gd name="connsiteX137" fmla="*/ 9898 w 10000"/>
                <a:gd name="connsiteY137" fmla="*/ 1918 h 10000"/>
                <a:gd name="connsiteX138" fmla="*/ 9936 w 10000"/>
                <a:gd name="connsiteY138" fmla="*/ 1690 h 10000"/>
                <a:gd name="connsiteX139" fmla="*/ 9970 w 10000"/>
                <a:gd name="connsiteY139" fmla="*/ 1457 h 10000"/>
                <a:gd name="connsiteX140" fmla="*/ 10000 w 10000"/>
                <a:gd name="connsiteY140" fmla="*/ 1222 h 10000"/>
                <a:gd name="connsiteX141" fmla="*/ 7611 w 10000"/>
                <a:gd name="connsiteY141" fmla="*/ 1876 h 10000"/>
                <a:gd name="connsiteX142" fmla="*/ 5615 w 10000"/>
                <a:gd name="connsiteY14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0 w 10000"/>
                <a:gd name="connsiteY58" fmla="*/ 6085 h 10000"/>
                <a:gd name="connsiteX59" fmla="*/ 209 w 10000"/>
                <a:gd name="connsiteY59" fmla="*/ 9512 h 10000"/>
                <a:gd name="connsiteX60" fmla="*/ 344 w 10000"/>
                <a:gd name="connsiteY60" fmla="*/ 9569 h 10000"/>
                <a:gd name="connsiteX61" fmla="*/ 481 w 10000"/>
                <a:gd name="connsiteY61" fmla="*/ 9623 h 10000"/>
                <a:gd name="connsiteX62" fmla="*/ 621 w 10000"/>
                <a:gd name="connsiteY62" fmla="*/ 9673 h 10000"/>
                <a:gd name="connsiteX63" fmla="*/ 758 w 10000"/>
                <a:gd name="connsiteY63" fmla="*/ 9720 h 10000"/>
                <a:gd name="connsiteX64" fmla="*/ 899 w 10000"/>
                <a:gd name="connsiteY64" fmla="*/ 9765 h 10000"/>
                <a:gd name="connsiteX65" fmla="*/ 1040 w 10000"/>
                <a:gd name="connsiteY65" fmla="*/ 9804 h 10000"/>
                <a:gd name="connsiteX66" fmla="*/ 1182 w 10000"/>
                <a:gd name="connsiteY66" fmla="*/ 9839 h 10000"/>
                <a:gd name="connsiteX67" fmla="*/ 1325 w 10000"/>
                <a:gd name="connsiteY67" fmla="*/ 9874 h 10000"/>
                <a:gd name="connsiteX68" fmla="*/ 1471 w 10000"/>
                <a:gd name="connsiteY68" fmla="*/ 9903 h 10000"/>
                <a:gd name="connsiteX69" fmla="*/ 1614 w 10000"/>
                <a:gd name="connsiteY69" fmla="*/ 9926 h 10000"/>
                <a:gd name="connsiteX70" fmla="*/ 1760 w 10000"/>
                <a:gd name="connsiteY70" fmla="*/ 9948 h 10000"/>
                <a:gd name="connsiteX71" fmla="*/ 1906 w 10000"/>
                <a:gd name="connsiteY71" fmla="*/ 9965 h 10000"/>
                <a:gd name="connsiteX72" fmla="*/ 2052 w 10000"/>
                <a:gd name="connsiteY72" fmla="*/ 9980 h 10000"/>
                <a:gd name="connsiteX73" fmla="*/ 2202 w 10000"/>
                <a:gd name="connsiteY73" fmla="*/ 9990 h 10000"/>
                <a:gd name="connsiteX74" fmla="*/ 2350 w 10000"/>
                <a:gd name="connsiteY74" fmla="*/ 9995 h 10000"/>
                <a:gd name="connsiteX75" fmla="*/ 2498 w 10000"/>
                <a:gd name="connsiteY75" fmla="*/ 10000 h 10000"/>
                <a:gd name="connsiteX76" fmla="*/ 2677 w 10000"/>
                <a:gd name="connsiteY76" fmla="*/ 9995 h 10000"/>
                <a:gd name="connsiteX77" fmla="*/ 2850 w 10000"/>
                <a:gd name="connsiteY77" fmla="*/ 9988 h 10000"/>
                <a:gd name="connsiteX78" fmla="*/ 3024 w 10000"/>
                <a:gd name="connsiteY78" fmla="*/ 9975 h 10000"/>
                <a:gd name="connsiteX79" fmla="*/ 3195 w 10000"/>
                <a:gd name="connsiteY79" fmla="*/ 9953 h 10000"/>
                <a:gd name="connsiteX80" fmla="*/ 3368 w 10000"/>
                <a:gd name="connsiteY80" fmla="*/ 9931 h 10000"/>
                <a:gd name="connsiteX81" fmla="*/ 3538 w 10000"/>
                <a:gd name="connsiteY81" fmla="*/ 9898 h 10000"/>
                <a:gd name="connsiteX82" fmla="*/ 3709 w 10000"/>
                <a:gd name="connsiteY82" fmla="*/ 9866 h 10000"/>
                <a:gd name="connsiteX83" fmla="*/ 3877 w 10000"/>
                <a:gd name="connsiteY83" fmla="*/ 9824 h 10000"/>
                <a:gd name="connsiteX84" fmla="*/ 4042 w 10000"/>
                <a:gd name="connsiteY84" fmla="*/ 9779 h 10000"/>
                <a:gd name="connsiteX85" fmla="*/ 4210 w 10000"/>
                <a:gd name="connsiteY85" fmla="*/ 9730 h 10000"/>
                <a:gd name="connsiteX86" fmla="*/ 4372 w 10000"/>
                <a:gd name="connsiteY86" fmla="*/ 9673 h 10000"/>
                <a:gd name="connsiteX87" fmla="*/ 4536 w 10000"/>
                <a:gd name="connsiteY87" fmla="*/ 9616 h 10000"/>
                <a:gd name="connsiteX88" fmla="*/ 4697 w 10000"/>
                <a:gd name="connsiteY88" fmla="*/ 9552 h 10000"/>
                <a:gd name="connsiteX89" fmla="*/ 4857 w 10000"/>
                <a:gd name="connsiteY89" fmla="*/ 9482 h 10000"/>
                <a:gd name="connsiteX90" fmla="*/ 5014 w 10000"/>
                <a:gd name="connsiteY90" fmla="*/ 9405 h 10000"/>
                <a:gd name="connsiteX91" fmla="*/ 5171 w 10000"/>
                <a:gd name="connsiteY91" fmla="*/ 9329 h 10000"/>
                <a:gd name="connsiteX92" fmla="*/ 5326 w 10000"/>
                <a:gd name="connsiteY92" fmla="*/ 9244 h 10000"/>
                <a:gd name="connsiteX93" fmla="*/ 5480 w 10000"/>
                <a:gd name="connsiteY93" fmla="*/ 9158 h 10000"/>
                <a:gd name="connsiteX94" fmla="*/ 5631 w 10000"/>
                <a:gd name="connsiteY94" fmla="*/ 9063 h 10000"/>
                <a:gd name="connsiteX95" fmla="*/ 5781 w 10000"/>
                <a:gd name="connsiteY95" fmla="*/ 8967 h 10000"/>
                <a:gd name="connsiteX96" fmla="*/ 5931 w 10000"/>
                <a:gd name="connsiteY96" fmla="*/ 8865 h 10000"/>
                <a:gd name="connsiteX97" fmla="*/ 6075 w 10000"/>
                <a:gd name="connsiteY97" fmla="*/ 8759 h 10000"/>
                <a:gd name="connsiteX98" fmla="*/ 6221 w 10000"/>
                <a:gd name="connsiteY98" fmla="*/ 8652 h 10000"/>
                <a:gd name="connsiteX99" fmla="*/ 6364 w 10000"/>
                <a:gd name="connsiteY99" fmla="*/ 8536 h 10000"/>
                <a:gd name="connsiteX100" fmla="*/ 6505 w 10000"/>
                <a:gd name="connsiteY100" fmla="*/ 8417 h 10000"/>
                <a:gd name="connsiteX101" fmla="*/ 6642 w 10000"/>
                <a:gd name="connsiteY101" fmla="*/ 8295 h 10000"/>
                <a:gd name="connsiteX102" fmla="*/ 6780 w 10000"/>
                <a:gd name="connsiteY102" fmla="*/ 8169 h 10000"/>
                <a:gd name="connsiteX103" fmla="*/ 6913 w 10000"/>
                <a:gd name="connsiteY103" fmla="*/ 8040 h 10000"/>
                <a:gd name="connsiteX104" fmla="*/ 7045 w 10000"/>
                <a:gd name="connsiteY104" fmla="*/ 7904 h 10000"/>
                <a:gd name="connsiteX105" fmla="*/ 7175 w 10000"/>
                <a:gd name="connsiteY105" fmla="*/ 7768 h 10000"/>
                <a:gd name="connsiteX106" fmla="*/ 7304 w 10000"/>
                <a:gd name="connsiteY106" fmla="*/ 7624 h 10000"/>
                <a:gd name="connsiteX107" fmla="*/ 7429 w 10000"/>
                <a:gd name="connsiteY107" fmla="*/ 7480 h 10000"/>
                <a:gd name="connsiteX108" fmla="*/ 7552 w 10000"/>
                <a:gd name="connsiteY108" fmla="*/ 7329 h 10000"/>
                <a:gd name="connsiteX109" fmla="*/ 7673 w 10000"/>
                <a:gd name="connsiteY109" fmla="*/ 7178 h 10000"/>
                <a:gd name="connsiteX110" fmla="*/ 7792 w 10000"/>
                <a:gd name="connsiteY110" fmla="*/ 7024 h 10000"/>
                <a:gd name="connsiteX111" fmla="*/ 7907 w 10000"/>
                <a:gd name="connsiteY111" fmla="*/ 6861 h 10000"/>
                <a:gd name="connsiteX112" fmla="*/ 8022 w 10000"/>
                <a:gd name="connsiteY112" fmla="*/ 6697 h 10000"/>
                <a:gd name="connsiteX113" fmla="*/ 8133 w 10000"/>
                <a:gd name="connsiteY113" fmla="*/ 6534 h 10000"/>
                <a:gd name="connsiteX114" fmla="*/ 8240 w 10000"/>
                <a:gd name="connsiteY114" fmla="*/ 6365 h 10000"/>
                <a:gd name="connsiteX115" fmla="*/ 8347 w 10000"/>
                <a:gd name="connsiteY115" fmla="*/ 6189 h 10000"/>
                <a:gd name="connsiteX116" fmla="*/ 8450 w 10000"/>
                <a:gd name="connsiteY116" fmla="*/ 6016 h 10000"/>
                <a:gd name="connsiteX117" fmla="*/ 8552 w 10000"/>
                <a:gd name="connsiteY117" fmla="*/ 5835 h 10000"/>
                <a:gd name="connsiteX118" fmla="*/ 8650 w 10000"/>
                <a:gd name="connsiteY118" fmla="*/ 5652 h 10000"/>
                <a:gd name="connsiteX119" fmla="*/ 8745 w 10000"/>
                <a:gd name="connsiteY119" fmla="*/ 5468 h 10000"/>
                <a:gd name="connsiteX120" fmla="*/ 8837 w 10000"/>
                <a:gd name="connsiteY120" fmla="*/ 5278 h 10000"/>
                <a:gd name="connsiteX121" fmla="*/ 8927 w 10000"/>
                <a:gd name="connsiteY121" fmla="*/ 5089 h 10000"/>
                <a:gd name="connsiteX122" fmla="*/ 9014 w 10000"/>
                <a:gd name="connsiteY122" fmla="*/ 4893 h 10000"/>
                <a:gd name="connsiteX123" fmla="*/ 9098 w 10000"/>
                <a:gd name="connsiteY123" fmla="*/ 4698 h 10000"/>
                <a:gd name="connsiteX124" fmla="*/ 9178 w 10000"/>
                <a:gd name="connsiteY124" fmla="*/ 4500 h 10000"/>
                <a:gd name="connsiteX125" fmla="*/ 9256 w 10000"/>
                <a:gd name="connsiteY125" fmla="*/ 4294 h 10000"/>
                <a:gd name="connsiteX126" fmla="*/ 9330 w 10000"/>
                <a:gd name="connsiteY126" fmla="*/ 4091 h 10000"/>
                <a:gd name="connsiteX127" fmla="*/ 9401 w 10000"/>
                <a:gd name="connsiteY127" fmla="*/ 3885 h 10000"/>
                <a:gd name="connsiteX128" fmla="*/ 9470 w 10000"/>
                <a:gd name="connsiteY128" fmla="*/ 3674 h 10000"/>
                <a:gd name="connsiteX129" fmla="*/ 9535 w 10000"/>
                <a:gd name="connsiteY129" fmla="*/ 3464 h 10000"/>
                <a:gd name="connsiteX130" fmla="*/ 9599 w 10000"/>
                <a:gd name="connsiteY130" fmla="*/ 3248 h 10000"/>
                <a:gd name="connsiteX131" fmla="*/ 9656 w 10000"/>
                <a:gd name="connsiteY131" fmla="*/ 3030 h 10000"/>
                <a:gd name="connsiteX132" fmla="*/ 9711 w 10000"/>
                <a:gd name="connsiteY132" fmla="*/ 2815 h 10000"/>
                <a:gd name="connsiteX133" fmla="*/ 9763 w 10000"/>
                <a:gd name="connsiteY133" fmla="*/ 2592 h 10000"/>
                <a:gd name="connsiteX134" fmla="*/ 9813 w 10000"/>
                <a:gd name="connsiteY134" fmla="*/ 2369 h 10000"/>
                <a:gd name="connsiteX135" fmla="*/ 9856 w 10000"/>
                <a:gd name="connsiteY135" fmla="*/ 2143 h 10000"/>
                <a:gd name="connsiteX136" fmla="*/ 9898 w 10000"/>
                <a:gd name="connsiteY136" fmla="*/ 1918 h 10000"/>
                <a:gd name="connsiteX137" fmla="*/ 9936 w 10000"/>
                <a:gd name="connsiteY137" fmla="*/ 1690 h 10000"/>
                <a:gd name="connsiteX138" fmla="*/ 9970 w 10000"/>
                <a:gd name="connsiteY138" fmla="*/ 1457 h 10000"/>
                <a:gd name="connsiteX139" fmla="*/ 10000 w 10000"/>
                <a:gd name="connsiteY139" fmla="*/ 1222 h 10000"/>
                <a:gd name="connsiteX140" fmla="*/ 7611 w 10000"/>
                <a:gd name="connsiteY140" fmla="*/ 1876 h 10000"/>
                <a:gd name="connsiteX141" fmla="*/ 5615 w 10000"/>
                <a:gd name="connsiteY14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0 w 10000"/>
                <a:gd name="connsiteY57" fmla="*/ 6085 h 10000"/>
                <a:gd name="connsiteX58" fmla="*/ 209 w 10000"/>
                <a:gd name="connsiteY58" fmla="*/ 9512 h 10000"/>
                <a:gd name="connsiteX59" fmla="*/ 344 w 10000"/>
                <a:gd name="connsiteY59" fmla="*/ 9569 h 10000"/>
                <a:gd name="connsiteX60" fmla="*/ 481 w 10000"/>
                <a:gd name="connsiteY60" fmla="*/ 9623 h 10000"/>
                <a:gd name="connsiteX61" fmla="*/ 621 w 10000"/>
                <a:gd name="connsiteY61" fmla="*/ 9673 h 10000"/>
                <a:gd name="connsiteX62" fmla="*/ 758 w 10000"/>
                <a:gd name="connsiteY62" fmla="*/ 9720 h 10000"/>
                <a:gd name="connsiteX63" fmla="*/ 899 w 10000"/>
                <a:gd name="connsiteY63" fmla="*/ 9765 h 10000"/>
                <a:gd name="connsiteX64" fmla="*/ 1040 w 10000"/>
                <a:gd name="connsiteY64" fmla="*/ 9804 h 10000"/>
                <a:gd name="connsiteX65" fmla="*/ 1182 w 10000"/>
                <a:gd name="connsiteY65" fmla="*/ 9839 h 10000"/>
                <a:gd name="connsiteX66" fmla="*/ 1325 w 10000"/>
                <a:gd name="connsiteY66" fmla="*/ 9874 h 10000"/>
                <a:gd name="connsiteX67" fmla="*/ 1471 w 10000"/>
                <a:gd name="connsiteY67" fmla="*/ 9903 h 10000"/>
                <a:gd name="connsiteX68" fmla="*/ 1614 w 10000"/>
                <a:gd name="connsiteY68" fmla="*/ 9926 h 10000"/>
                <a:gd name="connsiteX69" fmla="*/ 1760 w 10000"/>
                <a:gd name="connsiteY69" fmla="*/ 9948 h 10000"/>
                <a:gd name="connsiteX70" fmla="*/ 1906 w 10000"/>
                <a:gd name="connsiteY70" fmla="*/ 9965 h 10000"/>
                <a:gd name="connsiteX71" fmla="*/ 2052 w 10000"/>
                <a:gd name="connsiteY71" fmla="*/ 9980 h 10000"/>
                <a:gd name="connsiteX72" fmla="*/ 2202 w 10000"/>
                <a:gd name="connsiteY72" fmla="*/ 9990 h 10000"/>
                <a:gd name="connsiteX73" fmla="*/ 2350 w 10000"/>
                <a:gd name="connsiteY73" fmla="*/ 9995 h 10000"/>
                <a:gd name="connsiteX74" fmla="*/ 2498 w 10000"/>
                <a:gd name="connsiteY74" fmla="*/ 10000 h 10000"/>
                <a:gd name="connsiteX75" fmla="*/ 2677 w 10000"/>
                <a:gd name="connsiteY75" fmla="*/ 9995 h 10000"/>
                <a:gd name="connsiteX76" fmla="*/ 2850 w 10000"/>
                <a:gd name="connsiteY76" fmla="*/ 9988 h 10000"/>
                <a:gd name="connsiteX77" fmla="*/ 3024 w 10000"/>
                <a:gd name="connsiteY77" fmla="*/ 9975 h 10000"/>
                <a:gd name="connsiteX78" fmla="*/ 3195 w 10000"/>
                <a:gd name="connsiteY78" fmla="*/ 9953 h 10000"/>
                <a:gd name="connsiteX79" fmla="*/ 3368 w 10000"/>
                <a:gd name="connsiteY79" fmla="*/ 9931 h 10000"/>
                <a:gd name="connsiteX80" fmla="*/ 3538 w 10000"/>
                <a:gd name="connsiteY80" fmla="*/ 9898 h 10000"/>
                <a:gd name="connsiteX81" fmla="*/ 3709 w 10000"/>
                <a:gd name="connsiteY81" fmla="*/ 9866 h 10000"/>
                <a:gd name="connsiteX82" fmla="*/ 3877 w 10000"/>
                <a:gd name="connsiteY82" fmla="*/ 9824 h 10000"/>
                <a:gd name="connsiteX83" fmla="*/ 4042 w 10000"/>
                <a:gd name="connsiteY83" fmla="*/ 9779 h 10000"/>
                <a:gd name="connsiteX84" fmla="*/ 4210 w 10000"/>
                <a:gd name="connsiteY84" fmla="*/ 9730 h 10000"/>
                <a:gd name="connsiteX85" fmla="*/ 4372 w 10000"/>
                <a:gd name="connsiteY85" fmla="*/ 9673 h 10000"/>
                <a:gd name="connsiteX86" fmla="*/ 4536 w 10000"/>
                <a:gd name="connsiteY86" fmla="*/ 9616 h 10000"/>
                <a:gd name="connsiteX87" fmla="*/ 4697 w 10000"/>
                <a:gd name="connsiteY87" fmla="*/ 9552 h 10000"/>
                <a:gd name="connsiteX88" fmla="*/ 4857 w 10000"/>
                <a:gd name="connsiteY88" fmla="*/ 9482 h 10000"/>
                <a:gd name="connsiteX89" fmla="*/ 5014 w 10000"/>
                <a:gd name="connsiteY89" fmla="*/ 9405 h 10000"/>
                <a:gd name="connsiteX90" fmla="*/ 5171 w 10000"/>
                <a:gd name="connsiteY90" fmla="*/ 9329 h 10000"/>
                <a:gd name="connsiteX91" fmla="*/ 5326 w 10000"/>
                <a:gd name="connsiteY91" fmla="*/ 9244 h 10000"/>
                <a:gd name="connsiteX92" fmla="*/ 5480 w 10000"/>
                <a:gd name="connsiteY92" fmla="*/ 9158 h 10000"/>
                <a:gd name="connsiteX93" fmla="*/ 5631 w 10000"/>
                <a:gd name="connsiteY93" fmla="*/ 9063 h 10000"/>
                <a:gd name="connsiteX94" fmla="*/ 5781 w 10000"/>
                <a:gd name="connsiteY94" fmla="*/ 8967 h 10000"/>
                <a:gd name="connsiteX95" fmla="*/ 5931 w 10000"/>
                <a:gd name="connsiteY95" fmla="*/ 8865 h 10000"/>
                <a:gd name="connsiteX96" fmla="*/ 6075 w 10000"/>
                <a:gd name="connsiteY96" fmla="*/ 8759 h 10000"/>
                <a:gd name="connsiteX97" fmla="*/ 6221 w 10000"/>
                <a:gd name="connsiteY97" fmla="*/ 8652 h 10000"/>
                <a:gd name="connsiteX98" fmla="*/ 6364 w 10000"/>
                <a:gd name="connsiteY98" fmla="*/ 8536 h 10000"/>
                <a:gd name="connsiteX99" fmla="*/ 6505 w 10000"/>
                <a:gd name="connsiteY99" fmla="*/ 8417 h 10000"/>
                <a:gd name="connsiteX100" fmla="*/ 6642 w 10000"/>
                <a:gd name="connsiteY100" fmla="*/ 8295 h 10000"/>
                <a:gd name="connsiteX101" fmla="*/ 6780 w 10000"/>
                <a:gd name="connsiteY101" fmla="*/ 8169 h 10000"/>
                <a:gd name="connsiteX102" fmla="*/ 6913 w 10000"/>
                <a:gd name="connsiteY102" fmla="*/ 8040 h 10000"/>
                <a:gd name="connsiteX103" fmla="*/ 7045 w 10000"/>
                <a:gd name="connsiteY103" fmla="*/ 7904 h 10000"/>
                <a:gd name="connsiteX104" fmla="*/ 7175 w 10000"/>
                <a:gd name="connsiteY104" fmla="*/ 7768 h 10000"/>
                <a:gd name="connsiteX105" fmla="*/ 7304 w 10000"/>
                <a:gd name="connsiteY105" fmla="*/ 7624 h 10000"/>
                <a:gd name="connsiteX106" fmla="*/ 7429 w 10000"/>
                <a:gd name="connsiteY106" fmla="*/ 7480 h 10000"/>
                <a:gd name="connsiteX107" fmla="*/ 7552 w 10000"/>
                <a:gd name="connsiteY107" fmla="*/ 7329 h 10000"/>
                <a:gd name="connsiteX108" fmla="*/ 7673 w 10000"/>
                <a:gd name="connsiteY108" fmla="*/ 7178 h 10000"/>
                <a:gd name="connsiteX109" fmla="*/ 7792 w 10000"/>
                <a:gd name="connsiteY109" fmla="*/ 7024 h 10000"/>
                <a:gd name="connsiteX110" fmla="*/ 7907 w 10000"/>
                <a:gd name="connsiteY110" fmla="*/ 6861 h 10000"/>
                <a:gd name="connsiteX111" fmla="*/ 8022 w 10000"/>
                <a:gd name="connsiteY111" fmla="*/ 6697 h 10000"/>
                <a:gd name="connsiteX112" fmla="*/ 8133 w 10000"/>
                <a:gd name="connsiteY112" fmla="*/ 6534 h 10000"/>
                <a:gd name="connsiteX113" fmla="*/ 8240 w 10000"/>
                <a:gd name="connsiteY113" fmla="*/ 6365 h 10000"/>
                <a:gd name="connsiteX114" fmla="*/ 8347 w 10000"/>
                <a:gd name="connsiteY114" fmla="*/ 6189 h 10000"/>
                <a:gd name="connsiteX115" fmla="*/ 8450 w 10000"/>
                <a:gd name="connsiteY115" fmla="*/ 6016 h 10000"/>
                <a:gd name="connsiteX116" fmla="*/ 8552 w 10000"/>
                <a:gd name="connsiteY116" fmla="*/ 5835 h 10000"/>
                <a:gd name="connsiteX117" fmla="*/ 8650 w 10000"/>
                <a:gd name="connsiteY117" fmla="*/ 5652 h 10000"/>
                <a:gd name="connsiteX118" fmla="*/ 8745 w 10000"/>
                <a:gd name="connsiteY118" fmla="*/ 5468 h 10000"/>
                <a:gd name="connsiteX119" fmla="*/ 8837 w 10000"/>
                <a:gd name="connsiteY119" fmla="*/ 5278 h 10000"/>
                <a:gd name="connsiteX120" fmla="*/ 8927 w 10000"/>
                <a:gd name="connsiteY120" fmla="*/ 5089 h 10000"/>
                <a:gd name="connsiteX121" fmla="*/ 9014 w 10000"/>
                <a:gd name="connsiteY121" fmla="*/ 4893 h 10000"/>
                <a:gd name="connsiteX122" fmla="*/ 9098 w 10000"/>
                <a:gd name="connsiteY122" fmla="*/ 4698 h 10000"/>
                <a:gd name="connsiteX123" fmla="*/ 9178 w 10000"/>
                <a:gd name="connsiteY123" fmla="*/ 4500 h 10000"/>
                <a:gd name="connsiteX124" fmla="*/ 9256 w 10000"/>
                <a:gd name="connsiteY124" fmla="*/ 4294 h 10000"/>
                <a:gd name="connsiteX125" fmla="*/ 9330 w 10000"/>
                <a:gd name="connsiteY125" fmla="*/ 4091 h 10000"/>
                <a:gd name="connsiteX126" fmla="*/ 9401 w 10000"/>
                <a:gd name="connsiteY126" fmla="*/ 3885 h 10000"/>
                <a:gd name="connsiteX127" fmla="*/ 9470 w 10000"/>
                <a:gd name="connsiteY127" fmla="*/ 3674 h 10000"/>
                <a:gd name="connsiteX128" fmla="*/ 9535 w 10000"/>
                <a:gd name="connsiteY128" fmla="*/ 3464 h 10000"/>
                <a:gd name="connsiteX129" fmla="*/ 9599 w 10000"/>
                <a:gd name="connsiteY129" fmla="*/ 3248 h 10000"/>
                <a:gd name="connsiteX130" fmla="*/ 9656 w 10000"/>
                <a:gd name="connsiteY130" fmla="*/ 3030 h 10000"/>
                <a:gd name="connsiteX131" fmla="*/ 9711 w 10000"/>
                <a:gd name="connsiteY131" fmla="*/ 2815 h 10000"/>
                <a:gd name="connsiteX132" fmla="*/ 9763 w 10000"/>
                <a:gd name="connsiteY132" fmla="*/ 2592 h 10000"/>
                <a:gd name="connsiteX133" fmla="*/ 9813 w 10000"/>
                <a:gd name="connsiteY133" fmla="*/ 2369 h 10000"/>
                <a:gd name="connsiteX134" fmla="*/ 9856 w 10000"/>
                <a:gd name="connsiteY134" fmla="*/ 2143 h 10000"/>
                <a:gd name="connsiteX135" fmla="*/ 9898 w 10000"/>
                <a:gd name="connsiteY135" fmla="*/ 1918 h 10000"/>
                <a:gd name="connsiteX136" fmla="*/ 9936 w 10000"/>
                <a:gd name="connsiteY136" fmla="*/ 1690 h 10000"/>
                <a:gd name="connsiteX137" fmla="*/ 9970 w 10000"/>
                <a:gd name="connsiteY137" fmla="*/ 1457 h 10000"/>
                <a:gd name="connsiteX138" fmla="*/ 10000 w 10000"/>
                <a:gd name="connsiteY138" fmla="*/ 1222 h 10000"/>
                <a:gd name="connsiteX139" fmla="*/ 7611 w 10000"/>
                <a:gd name="connsiteY139" fmla="*/ 1876 h 10000"/>
                <a:gd name="connsiteX140" fmla="*/ 5615 w 10000"/>
                <a:gd name="connsiteY14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0 w 10000"/>
                <a:gd name="connsiteY56" fmla="*/ 6085 h 10000"/>
                <a:gd name="connsiteX57" fmla="*/ 209 w 10000"/>
                <a:gd name="connsiteY57" fmla="*/ 9512 h 10000"/>
                <a:gd name="connsiteX58" fmla="*/ 344 w 10000"/>
                <a:gd name="connsiteY58" fmla="*/ 9569 h 10000"/>
                <a:gd name="connsiteX59" fmla="*/ 481 w 10000"/>
                <a:gd name="connsiteY59" fmla="*/ 9623 h 10000"/>
                <a:gd name="connsiteX60" fmla="*/ 621 w 10000"/>
                <a:gd name="connsiteY60" fmla="*/ 9673 h 10000"/>
                <a:gd name="connsiteX61" fmla="*/ 758 w 10000"/>
                <a:gd name="connsiteY61" fmla="*/ 9720 h 10000"/>
                <a:gd name="connsiteX62" fmla="*/ 899 w 10000"/>
                <a:gd name="connsiteY62" fmla="*/ 9765 h 10000"/>
                <a:gd name="connsiteX63" fmla="*/ 1040 w 10000"/>
                <a:gd name="connsiteY63" fmla="*/ 9804 h 10000"/>
                <a:gd name="connsiteX64" fmla="*/ 1182 w 10000"/>
                <a:gd name="connsiteY64" fmla="*/ 9839 h 10000"/>
                <a:gd name="connsiteX65" fmla="*/ 1325 w 10000"/>
                <a:gd name="connsiteY65" fmla="*/ 9874 h 10000"/>
                <a:gd name="connsiteX66" fmla="*/ 1471 w 10000"/>
                <a:gd name="connsiteY66" fmla="*/ 9903 h 10000"/>
                <a:gd name="connsiteX67" fmla="*/ 1614 w 10000"/>
                <a:gd name="connsiteY67" fmla="*/ 9926 h 10000"/>
                <a:gd name="connsiteX68" fmla="*/ 1760 w 10000"/>
                <a:gd name="connsiteY68" fmla="*/ 9948 h 10000"/>
                <a:gd name="connsiteX69" fmla="*/ 1906 w 10000"/>
                <a:gd name="connsiteY69" fmla="*/ 9965 h 10000"/>
                <a:gd name="connsiteX70" fmla="*/ 2052 w 10000"/>
                <a:gd name="connsiteY70" fmla="*/ 9980 h 10000"/>
                <a:gd name="connsiteX71" fmla="*/ 2202 w 10000"/>
                <a:gd name="connsiteY71" fmla="*/ 9990 h 10000"/>
                <a:gd name="connsiteX72" fmla="*/ 2350 w 10000"/>
                <a:gd name="connsiteY72" fmla="*/ 9995 h 10000"/>
                <a:gd name="connsiteX73" fmla="*/ 2498 w 10000"/>
                <a:gd name="connsiteY73" fmla="*/ 10000 h 10000"/>
                <a:gd name="connsiteX74" fmla="*/ 2677 w 10000"/>
                <a:gd name="connsiteY74" fmla="*/ 9995 h 10000"/>
                <a:gd name="connsiteX75" fmla="*/ 2850 w 10000"/>
                <a:gd name="connsiteY75" fmla="*/ 9988 h 10000"/>
                <a:gd name="connsiteX76" fmla="*/ 3024 w 10000"/>
                <a:gd name="connsiteY76" fmla="*/ 9975 h 10000"/>
                <a:gd name="connsiteX77" fmla="*/ 3195 w 10000"/>
                <a:gd name="connsiteY77" fmla="*/ 9953 h 10000"/>
                <a:gd name="connsiteX78" fmla="*/ 3368 w 10000"/>
                <a:gd name="connsiteY78" fmla="*/ 9931 h 10000"/>
                <a:gd name="connsiteX79" fmla="*/ 3538 w 10000"/>
                <a:gd name="connsiteY79" fmla="*/ 9898 h 10000"/>
                <a:gd name="connsiteX80" fmla="*/ 3709 w 10000"/>
                <a:gd name="connsiteY80" fmla="*/ 9866 h 10000"/>
                <a:gd name="connsiteX81" fmla="*/ 3877 w 10000"/>
                <a:gd name="connsiteY81" fmla="*/ 9824 h 10000"/>
                <a:gd name="connsiteX82" fmla="*/ 4042 w 10000"/>
                <a:gd name="connsiteY82" fmla="*/ 9779 h 10000"/>
                <a:gd name="connsiteX83" fmla="*/ 4210 w 10000"/>
                <a:gd name="connsiteY83" fmla="*/ 9730 h 10000"/>
                <a:gd name="connsiteX84" fmla="*/ 4372 w 10000"/>
                <a:gd name="connsiteY84" fmla="*/ 9673 h 10000"/>
                <a:gd name="connsiteX85" fmla="*/ 4536 w 10000"/>
                <a:gd name="connsiteY85" fmla="*/ 9616 h 10000"/>
                <a:gd name="connsiteX86" fmla="*/ 4697 w 10000"/>
                <a:gd name="connsiteY86" fmla="*/ 9552 h 10000"/>
                <a:gd name="connsiteX87" fmla="*/ 4857 w 10000"/>
                <a:gd name="connsiteY87" fmla="*/ 9482 h 10000"/>
                <a:gd name="connsiteX88" fmla="*/ 5014 w 10000"/>
                <a:gd name="connsiteY88" fmla="*/ 9405 h 10000"/>
                <a:gd name="connsiteX89" fmla="*/ 5171 w 10000"/>
                <a:gd name="connsiteY89" fmla="*/ 9329 h 10000"/>
                <a:gd name="connsiteX90" fmla="*/ 5326 w 10000"/>
                <a:gd name="connsiteY90" fmla="*/ 9244 h 10000"/>
                <a:gd name="connsiteX91" fmla="*/ 5480 w 10000"/>
                <a:gd name="connsiteY91" fmla="*/ 9158 h 10000"/>
                <a:gd name="connsiteX92" fmla="*/ 5631 w 10000"/>
                <a:gd name="connsiteY92" fmla="*/ 9063 h 10000"/>
                <a:gd name="connsiteX93" fmla="*/ 5781 w 10000"/>
                <a:gd name="connsiteY93" fmla="*/ 8967 h 10000"/>
                <a:gd name="connsiteX94" fmla="*/ 5931 w 10000"/>
                <a:gd name="connsiteY94" fmla="*/ 8865 h 10000"/>
                <a:gd name="connsiteX95" fmla="*/ 6075 w 10000"/>
                <a:gd name="connsiteY95" fmla="*/ 8759 h 10000"/>
                <a:gd name="connsiteX96" fmla="*/ 6221 w 10000"/>
                <a:gd name="connsiteY96" fmla="*/ 8652 h 10000"/>
                <a:gd name="connsiteX97" fmla="*/ 6364 w 10000"/>
                <a:gd name="connsiteY97" fmla="*/ 8536 h 10000"/>
                <a:gd name="connsiteX98" fmla="*/ 6505 w 10000"/>
                <a:gd name="connsiteY98" fmla="*/ 8417 h 10000"/>
                <a:gd name="connsiteX99" fmla="*/ 6642 w 10000"/>
                <a:gd name="connsiteY99" fmla="*/ 8295 h 10000"/>
                <a:gd name="connsiteX100" fmla="*/ 6780 w 10000"/>
                <a:gd name="connsiteY100" fmla="*/ 8169 h 10000"/>
                <a:gd name="connsiteX101" fmla="*/ 6913 w 10000"/>
                <a:gd name="connsiteY101" fmla="*/ 8040 h 10000"/>
                <a:gd name="connsiteX102" fmla="*/ 7045 w 10000"/>
                <a:gd name="connsiteY102" fmla="*/ 7904 h 10000"/>
                <a:gd name="connsiteX103" fmla="*/ 7175 w 10000"/>
                <a:gd name="connsiteY103" fmla="*/ 7768 h 10000"/>
                <a:gd name="connsiteX104" fmla="*/ 7304 w 10000"/>
                <a:gd name="connsiteY104" fmla="*/ 7624 h 10000"/>
                <a:gd name="connsiteX105" fmla="*/ 7429 w 10000"/>
                <a:gd name="connsiteY105" fmla="*/ 7480 h 10000"/>
                <a:gd name="connsiteX106" fmla="*/ 7552 w 10000"/>
                <a:gd name="connsiteY106" fmla="*/ 7329 h 10000"/>
                <a:gd name="connsiteX107" fmla="*/ 7673 w 10000"/>
                <a:gd name="connsiteY107" fmla="*/ 7178 h 10000"/>
                <a:gd name="connsiteX108" fmla="*/ 7792 w 10000"/>
                <a:gd name="connsiteY108" fmla="*/ 7024 h 10000"/>
                <a:gd name="connsiteX109" fmla="*/ 7907 w 10000"/>
                <a:gd name="connsiteY109" fmla="*/ 6861 h 10000"/>
                <a:gd name="connsiteX110" fmla="*/ 8022 w 10000"/>
                <a:gd name="connsiteY110" fmla="*/ 6697 h 10000"/>
                <a:gd name="connsiteX111" fmla="*/ 8133 w 10000"/>
                <a:gd name="connsiteY111" fmla="*/ 6534 h 10000"/>
                <a:gd name="connsiteX112" fmla="*/ 8240 w 10000"/>
                <a:gd name="connsiteY112" fmla="*/ 6365 h 10000"/>
                <a:gd name="connsiteX113" fmla="*/ 8347 w 10000"/>
                <a:gd name="connsiteY113" fmla="*/ 6189 h 10000"/>
                <a:gd name="connsiteX114" fmla="*/ 8450 w 10000"/>
                <a:gd name="connsiteY114" fmla="*/ 6016 h 10000"/>
                <a:gd name="connsiteX115" fmla="*/ 8552 w 10000"/>
                <a:gd name="connsiteY115" fmla="*/ 5835 h 10000"/>
                <a:gd name="connsiteX116" fmla="*/ 8650 w 10000"/>
                <a:gd name="connsiteY116" fmla="*/ 5652 h 10000"/>
                <a:gd name="connsiteX117" fmla="*/ 8745 w 10000"/>
                <a:gd name="connsiteY117" fmla="*/ 5468 h 10000"/>
                <a:gd name="connsiteX118" fmla="*/ 8837 w 10000"/>
                <a:gd name="connsiteY118" fmla="*/ 5278 h 10000"/>
                <a:gd name="connsiteX119" fmla="*/ 8927 w 10000"/>
                <a:gd name="connsiteY119" fmla="*/ 5089 h 10000"/>
                <a:gd name="connsiteX120" fmla="*/ 9014 w 10000"/>
                <a:gd name="connsiteY120" fmla="*/ 4893 h 10000"/>
                <a:gd name="connsiteX121" fmla="*/ 9098 w 10000"/>
                <a:gd name="connsiteY121" fmla="*/ 4698 h 10000"/>
                <a:gd name="connsiteX122" fmla="*/ 9178 w 10000"/>
                <a:gd name="connsiteY122" fmla="*/ 4500 h 10000"/>
                <a:gd name="connsiteX123" fmla="*/ 9256 w 10000"/>
                <a:gd name="connsiteY123" fmla="*/ 4294 h 10000"/>
                <a:gd name="connsiteX124" fmla="*/ 9330 w 10000"/>
                <a:gd name="connsiteY124" fmla="*/ 4091 h 10000"/>
                <a:gd name="connsiteX125" fmla="*/ 9401 w 10000"/>
                <a:gd name="connsiteY125" fmla="*/ 3885 h 10000"/>
                <a:gd name="connsiteX126" fmla="*/ 9470 w 10000"/>
                <a:gd name="connsiteY126" fmla="*/ 3674 h 10000"/>
                <a:gd name="connsiteX127" fmla="*/ 9535 w 10000"/>
                <a:gd name="connsiteY127" fmla="*/ 3464 h 10000"/>
                <a:gd name="connsiteX128" fmla="*/ 9599 w 10000"/>
                <a:gd name="connsiteY128" fmla="*/ 3248 h 10000"/>
                <a:gd name="connsiteX129" fmla="*/ 9656 w 10000"/>
                <a:gd name="connsiteY129" fmla="*/ 3030 h 10000"/>
                <a:gd name="connsiteX130" fmla="*/ 9711 w 10000"/>
                <a:gd name="connsiteY130" fmla="*/ 2815 h 10000"/>
                <a:gd name="connsiteX131" fmla="*/ 9763 w 10000"/>
                <a:gd name="connsiteY131" fmla="*/ 2592 h 10000"/>
                <a:gd name="connsiteX132" fmla="*/ 9813 w 10000"/>
                <a:gd name="connsiteY132" fmla="*/ 2369 h 10000"/>
                <a:gd name="connsiteX133" fmla="*/ 9856 w 10000"/>
                <a:gd name="connsiteY133" fmla="*/ 2143 h 10000"/>
                <a:gd name="connsiteX134" fmla="*/ 9898 w 10000"/>
                <a:gd name="connsiteY134" fmla="*/ 1918 h 10000"/>
                <a:gd name="connsiteX135" fmla="*/ 9936 w 10000"/>
                <a:gd name="connsiteY135" fmla="*/ 1690 h 10000"/>
                <a:gd name="connsiteX136" fmla="*/ 9970 w 10000"/>
                <a:gd name="connsiteY136" fmla="*/ 1457 h 10000"/>
                <a:gd name="connsiteX137" fmla="*/ 10000 w 10000"/>
                <a:gd name="connsiteY137" fmla="*/ 1222 h 10000"/>
                <a:gd name="connsiteX138" fmla="*/ 7611 w 10000"/>
                <a:gd name="connsiteY138" fmla="*/ 1876 h 10000"/>
                <a:gd name="connsiteX139" fmla="*/ 5615 w 10000"/>
                <a:gd name="connsiteY13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0 w 10000"/>
                <a:gd name="connsiteY55" fmla="*/ 6085 h 10000"/>
                <a:gd name="connsiteX56" fmla="*/ 209 w 10000"/>
                <a:gd name="connsiteY56" fmla="*/ 9512 h 10000"/>
                <a:gd name="connsiteX57" fmla="*/ 344 w 10000"/>
                <a:gd name="connsiteY57" fmla="*/ 9569 h 10000"/>
                <a:gd name="connsiteX58" fmla="*/ 481 w 10000"/>
                <a:gd name="connsiteY58" fmla="*/ 9623 h 10000"/>
                <a:gd name="connsiteX59" fmla="*/ 621 w 10000"/>
                <a:gd name="connsiteY59" fmla="*/ 9673 h 10000"/>
                <a:gd name="connsiteX60" fmla="*/ 758 w 10000"/>
                <a:gd name="connsiteY60" fmla="*/ 9720 h 10000"/>
                <a:gd name="connsiteX61" fmla="*/ 899 w 10000"/>
                <a:gd name="connsiteY61" fmla="*/ 9765 h 10000"/>
                <a:gd name="connsiteX62" fmla="*/ 1040 w 10000"/>
                <a:gd name="connsiteY62" fmla="*/ 9804 h 10000"/>
                <a:gd name="connsiteX63" fmla="*/ 1182 w 10000"/>
                <a:gd name="connsiteY63" fmla="*/ 9839 h 10000"/>
                <a:gd name="connsiteX64" fmla="*/ 1325 w 10000"/>
                <a:gd name="connsiteY64" fmla="*/ 9874 h 10000"/>
                <a:gd name="connsiteX65" fmla="*/ 1471 w 10000"/>
                <a:gd name="connsiteY65" fmla="*/ 9903 h 10000"/>
                <a:gd name="connsiteX66" fmla="*/ 1614 w 10000"/>
                <a:gd name="connsiteY66" fmla="*/ 9926 h 10000"/>
                <a:gd name="connsiteX67" fmla="*/ 1760 w 10000"/>
                <a:gd name="connsiteY67" fmla="*/ 9948 h 10000"/>
                <a:gd name="connsiteX68" fmla="*/ 1906 w 10000"/>
                <a:gd name="connsiteY68" fmla="*/ 9965 h 10000"/>
                <a:gd name="connsiteX69" fmla="*/ 2052 w 10000"/>
                <a:gd name="connsiteY69" fmla="*/ 9980 h 10000"/>
                <a:gd name="connsiteX70" fmla="*/ 2202 w 10000"/>
                <a:gd name="connsiteY70" fmla="*/ 9990 h 10000"/>
                <a:gd name="connsiteX71" fmla="*/ 2350 w 10000"/>
                <a:gd name="connsiteY71" fmla="*/ 9995 h 10000"/>
                <a:gd name="connsiteX72" fmla="*/ 2498 w 10000"/>
                <a:gd name="connsiteY72" fmla="*/ 10000 h 10000"/>
                <a:gd name="connsiteX73" fmla="*/ 2677 w 10000"/>
                <a:gd name="connsiteY73" fmla="*/ 9995 h 10000"/>
                <a:gd name="connsiteX74" fmla="*/ 2850 w 10000"/>
                <a:gd name="connsiteY74" fmla="*/ 9988 h 10000"/>
                <a:gd name="connsiteX75" fmla="*/ 3024 w 10000"/>
                <a:gd name="connsiteY75" fmla="*/ 9975 h 10000"/>
                <a:gd name="connsiteX76" fmla="*/ 3195 w 10000"/>
                <a:gd name="connsiteY76" fmla="*/ 9953 h 10000"/>
                <a:gd name="connsiteX77" fmla="*/ 3368 w 10000"/>
                <a:gd name="connsiteY77" fmla="*/ 9931 h 10000"/>
                <a:gd name="connsiteX78" fmla="*/ 3538 w 10000"/>
                <a:gd name="connsiteY78" fmla="*/ 9898 h 10000"/>
                <a:gd name="connsiteX79" fmla="*/ 3709 w 10000"/>
                <a:gd name="connsiteY79" fmla="*/ 9866 h 10000"/>
                <a:gd name="connsiteX80" fmla="*/ 3877 w 10000"/>
                <a:gd name="connsiteY80" fmla="*/ 9824 h 10000"/>
                <a:gd name="connsiteX81" fmla="*/ 4042 w 10000"/>
                <a:gd name="connsiteY81" fmla="*/ 9779 h 10000"/>
                <a:gd name="connsiteX82" fmla="*/ 4210 w 10000"/>
                <a:gd name="connsiteY82" fmla="*/ 9730 h 10000"/>
                <a:gd name="connsiteX83" fmla="*/ 4372 w 10000"/>
                <a:gd name="connsiteY83" fmla="*/ 9673 h 10000"/>
                <a:gd name="connsiteX84" fmla="*/ 4536 w 10000"/>
                <a:gd name="connsiteY84" fmla="*/ 9616 h 10000"/>
                <a:gd name="connsiteX85" fmla="*/ 4697 w 10000"/>
                <a:gd name="connsiteY85" fmla="*/ 9552 h 10000"/>
                <a:gd name="connsiteX86" fmla="*/ 4857 w 10000"/>
                <a:gd name="connsiteY86" fmla="*/ 9482 h 10000"/>
                <a:gd name="connsiteX87" fmla="*/ 5014 w 10000"/>
                <a:gd name="connsiteY87" fmla="*/ 9405 h 10000"/>
                <a:gd name="connsiteX88" fmla="*/ 5171 w 10000"/>
                <a:gd name="connsiteY88" fmla="*/ 9329 h 10000"/>
                <a:gd name="connsiteX89" fmla="*/ 5326 w 10000"/>
                <a:gd name="connsiteY89" fmla="*/ 9244 h 10000"/>
                <a:gd name="connsiteX90" fmla="*/ 5480 w 10000"/>
                <a:gd name="connsiteY90" fmla="*/ 9158 h 10000"/>
                <a:gd name="connsiteX91" fmla="*/ 5631 w 10000"/>
                <a:gd name="connsiteY91" fmla="*/ 9063 h 10000"/>
                <a:gd name="connsiteX92" fmla="*/ 5781 w 10000"/>
                <a:gd name="connsiteY92" fmla="*/ 8967 h 10000"/>
                <a:gd name="connsiteX93" fmla="*/ 5931 w 10000"/>
                <a:gd name="connsiteY93" fmla="*/ 8865 h 10000"/>
                <a:gd name="connsiteX94" fmla="*/ 6075 w 10000"/>
                <a:gd name="connsiteY94" fmla="*/ 8759 h 10000"/>
                <a:gd name="connsiteX95" fmla="*/ 6221 w 10000"/>
                <a:gd name="connsiteY95" fmla="*/ 8652 h 10000"/>
                <a:gd name="connsiteX96" fmla="*/ 6364 w 10000"/>
                <a:gd name="connsiteY96" fmla="*/ 8536 h 10000"/>
                <a:gd name="connsiteX97" fmla="*/ 6505 w 10000"/>
                <a:gd name="connsiteY97" fmla="*/ 8417 h 10000"/>
                <a:gd name="connsiteX98" fmla="*/ 6642 w 10000"/>
                <a:gd name="connsiteY98" fmla="*/ 8295 h 10000"/>
                <a:gd name="connsiteX99" fmla="*/ 6780 w 10000"/>
                <a:gd name="connsiteY99" fmla="*/ 8169 h 10000"/>
                <a:gd name="connsiteX100" fmla="*/ 6913 w 10000"/>
                <a:gd name="connsiteY100" fmla="*/ 8040 h 10000"/>
                <a:gd name="connsiteX101" fmla="*/ 7045 w 10000"/>
                <a:gd name="connsiteY101" fmla="*/ 7904 h 10000"/>
                <a:gd name="connsiteX102" fmla="*/ 7175 w 10000"/>
                <a:gd name="connsiteY102" fmla="*/ 7768 h 10000"/>
                <a:gd name="connsiteX103" fmla="*/ 7304 w 10000"/>
                <a:gd name="connsiteY103" fmla="*/ 7624 h 10000"/>
                <a:gd name="connsiteX104" fmla="*/ 7429 w 10000"/>
                <a:gd name="connsiteY104" fmla="*/ 7480 h 10000"/>
                <a:gd name="connsiteX105" fmla="*/ 7552 w 10000"/>
                <a:gd name="connsiteY105" fmla="*/ 7329 h 10000"/>
                <a:gd name="connsiteX106" fmla="*/ 7673 w 10000"/>
                <a:gd name="connsiteY106" fmla="*/ 7178 h 10000"/>
                <a:gd name="connsiteX107" fmla="*/ 7792 w 10000"/>
                <a:gd name="connsiteY107" fmla="*/ 7024 h 10000"/>
                <a:gd name="connsiteX108" fmla="*/ 7907 w 10000"/>
                <a:gd name="connsiteY108" fmla="*/ 6861 h 10000"/>
                <a:gd name="connsiteX109" fmla="*/ 8022 w 10000"/>
                <a:gd name="connsiteY109" fmla="*/ 6697 h 10000"/>
                <a:gd name="connsiteX110" fmla="*/ 8133 w 10000"/>
                <a:gd name="connsiteY110" fmla="*/ 6534 h 10000"/>
                <a:gd name="connsiteX111" fmla="*/ 8240 w 10000"/>
                <a:gd name="connsiteY111" fmla="*/ 6365 h 10000"/>
                <a:gd name="connsiteX112" fmla="*/ 8347 w 10000"/>
                <a:gd name="connsiteY112" fmla="*/ 6189 h 10000"/>
                <a:gd name="connsiteX113" fmla="*/ 8450 w 10000"/>
                <a:gd name="connsiteY113" fmla="*/ 6016 h 10000"/>
                <a:gd name="connsiteX114" fmla="*/ 8552 w 10000"/>
                <a:gd name="connsiteY114" fmla="*/ 5835 h 10000"/>
                <a:gd name="connsiteX115" fmla="*/ 8650 w 10000"/>
                <a:gd name="connsiteY115" fmla="*/ 5652 h 10000"/>
                <a:gd name="connsiteX116" fmla="*/ 8745 w 10000"/>
                <a:gd name="connsiteY116" fmla="*/ 5468 h 10000"/>
                <a:gd name="connsiteX117" fmla="*/ 8837 w 10000"/>
                <a:gd name="connsiteY117" fmla="*/ 5278 h 10000"/>
                <a:gd name="connsiteX118" fmla="*/ 8927 w 10000"/>
                <a:gd name="connsiteY118" fmla="*/ 5089 h 10000"/>
                <a:gd name="connsiteX119" fmla="*/ 9014 w 10000"/>
                <a:gd name="connsiteY119" fmla="*/ 4893 h 10000"/>
                <a:gd name="connsiteX120" fmla="*/ 9098 w 10000"/>
                <a:gd name="connsiteY120" fmla="*/ 4698 h 10000"/>
                <a:gd name="connsiteX121" fmla="*/ 9178 w 10000"/>
                <a:gd name="connsiteY121" fmla="*/ 4500 h 10000"/>
                <a:gd name="connsiteX122" fmla="*/ 9256 w 10000"/>
                <a:gd name="connsiteY122" fmla="*/ 4294 h 10000"/>
                <a:gd name="connsiteX123" fmla="*/ 9330 w 10000"/>
                <a:gd name="connsiteY123" fmla="*/ 4091 h 10000"/>
                <a:gd name="connsiteX124" fmla="*/ 9401 w 10000"/>
                <a:gd name="connsiteY124" fmla="*/ 3885 h 10000"/>
                <a:gd name="connsiteX125" fmla="*/ 9470 w 10000"/>
                <a:gd name="connsiteY125" fmla="*/ 3674 h 10000"/>
                <a:gd name="connsiteX126" fmla="*/ 9535 w 10000"/>
                <a:gd name="connsiteY126" fmla="*/ 3464 h 10000"/>
                <a:gd name="connsiteX127" fmla="*/ 9599 w 10000"/>
                <a:gd name="connsiteY127" fmla="*/ 3248 h 10000"/>
                <a:gd name="connsiteX128" fmla="*/ 9656 w 10000"/>
                <a:gd name="connsiteY128" fmla="*/ 3030 h 10000"/>
                <a:gd name="connsiteX129" fmla="*/ 9711 w 10000"/>
                <a:gd name="connsiteY129" fmla="*/ 2815 h 10000"/>
                <a:gd name="connsiteX130" fmla="*/ 9763 w 10000"/>
                <a:gd name="connsiteY130" fmla="*/ 2592 h 10000"/>
                <a:gd name="connsiteX131" fmla="*/ 9813 w 10000"/>
                <a:gd name="connsiteY131" fmla="*/ 2369 h 10000"/>
                <a:gd name="connsiteX132" fmla="*/ 9856 w 10000"/>
                <a:gd name="connsiteY132" fmla="*/ 2143 h 10000"/>
                <a:gd name="connsiteX133" fmla="*/ 9898 w 10000"/>
                <a:gd name="connsiteY133" fmla="*/ 1918 h 10000"/>
                <a:gd name="connsiteX134" fmla="*/ 9936 w 10000"/>
                <a:gd name="connsiteY134" fmla="*/ 1690 h 10000"/>
                <a:gd name="connsiteX135" fmla="*/ 9970 w 10000"/>
                <a:gd name="connsiteY135" fmla="*/ 1457 h 10000"/>
                <a:gd name="connsiteX136" fmla="*/ 10000 w 10000"/>
                <a:gd name="connsiteY136" fmla="*/ 1222 h 10000"/>
                <a:gd name="connsiteX137" fmla="*/ 7611 w 10000"/>
                <a:gd name="connsiteY137" fmla="*/ 1876 h 10000"/>
                <a:gd name="connsiteX138" fmla="*/ 5615 w 10000"/>
                <a:gd name="connsiteY13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58 w 10000"/>
                <a:gd name="connsiteY53" fmla="*/ 3583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0 w 10000"/>
                <a:gd name="connsiteY52" fmla="*/ 6085 h 10000"/>
                <a:gd name="connsiteX53" fmla="*/ 209 w 10000"/>
                <a:gd name="connsiteY53" fmla="*/ 9512 h 10000"/>
                <a:gd name="connsiteX54" fmla="*/ 344 w 10000"/>
                <a:gd name="connsiteY54" fmla="*/ 9569 h 10000"/>
                <a:gd name="connsiteX55" fmla="*/ 481 w 10000"/>
                <a:gd name="connsiteY55" fmla="*/ 9623 h 10000"/>
                <a:gd name="connsiteX56" fmla="*/ 621 w 10000"/>
                <a:gd name="connsiteY56" fmla="*/ 9673 h 10000"/>
                <a:gd name="connsiteX57" fmla="*/ 758 w 10000"/>
                <a:gd name="connsiteY57" fmla="*/ 9720 h 10000"/>
                <a:gd name="connsiteX58" fmla="*/ 899 w 10000"/>
                <a:gd name="connsiteY58" fmla="*/ 9765 h 10000"/>
                <a:gd name="connsiteX59" fmla="*/ 1040 w 10000"/>
                <a:gd name="connsiteY59" fmla="*/ 9804 h 10000"/>
                <a:gd name="connsiteX60" fmla="*/ 1182 w 10000"/>
                <a:gd name="connsiteY60" fmla="*/ 9839 h 10000"/>
                <a:gd name="connsiteX61" fmla="*/ 1325 w 10000"/>
                <a:gd name="connsiteY61" fmla="*/ 9874 h 10000"/>
                <a:gd name="connsiteX62" fmla="*/ 1471 w 10000"/>
                <a:gd name="connsiteY62" fmla="*/ 9903 h 10000"/>
                <a:gd name="connsiteX63" fmla="*/ 1614 w 10000"/>
                <a:gd name="connsiteY63" fmla="*/ 9926 h 10000"/>
                <a:gd name="connsiteX64" fmla="*/ 1760 w 10000"/>
                <a:gd name="connsiteY64" fmla="*/ 9948 h 10000"/>
                <a:gd name="connsiteX65" fmla="*/ 1906 w 10000"/>
                <a:gd name="connsiteY65" fmla="*/ 9965 h 10000"/>
                <a:gd name="connsiteX66" fmla="*/ 2052 w 10000"/>
                <a:gd name="connsiteY66" fmla="*/ 9980 h 10000"/>
                <a:gd name="connsiteX67" fmla="*/ 2202 w 10000"/>
                <a:gd name="connsiteY67" fmla="*/ 9990 h 10000"/>
                <a:gd name="connsiteX68" fmla="*/ 2350 w 10000"/>
                <a:gd name="connsiteY68" fmla="*/ 9995 h 10000"/>
                <a:gd name="connsiteX69" fmla="*/ 2498 w 10000"/>
                <a:gd name="connsiteY69" fmla="*/ 10000 h 10000"/>
                <a:gd name="connsiteX70" fmla="*/ 2677 w 10000"/>
                <a:gd name="connsiteY70" fmla="*/ 9995 h 10000"/>
                <a:gd name="connsiteX71" fmla="*/ 2850 w 10000"/>
                <a:gd name="connsiteY71" fmla="*/ 9988 h 10000"/>
                <a:gd name="connsiteX72" fmla="*/ 3024 w 10000"/>
                <a:gd name="connsiteY72" fmla="*/ 9975 h 10000"/>
                <a:gd name="connsiteX73" fmla="*/ 3195 w 10000"/>
                <a:gd name="connsiteY73" fmla="*/ 9953 h 10000"/>
                <a:gd name="connsiteX74" fmla="*/ 3368 w 10000"/>
                <a:gd name="connsiteY74" fmla="*/ 9931 h 10000"/>
                <a:gd name="connsiteX75" fmla="*/ 3538 w 10000"/>
                <a:gd name="connsiteY75" fmla="*/ 9898 h 10000"/>
                <a:gd name="connsiteX76" fmla="*/ 3709 w 10000"/>
                <a:gd name="connsiteY76" fmla="*/ 9866 h 10000"/>
                <a:gd name="connsiteX77" fmla="*/ 3877 w 10000"/>
                <a:gd name="connsiteY77" fmla="*/ 9824 h 10000"/>
                <a:gd name="connsiteX78" fmla="*/ 4042 w 10000"/>
                <a:gd name="connsiteY78" fmla="*/ 9779 h 10000"/>
                <a:gd name="connsiteX79" fmla="*/ 4210 w 10000"/>
                <a:gd name="connsiteY79" fmla="*/ 9730 h 10000"/>
                <a:gd name="connsiteX80" fmla="*/ 4372 w 10000"/>
                <a:gd name="connsiteY80" fmla="*/ 9673 h 10000"/>
                <a:gd name="connsiteX81" fmla="*/ 4536 w 10000"/>
                <a:gd name="connsiteY81" fmla="*/ 9616 h 10000"/>
                <a:gd name="connsiteX82" fmla="*/ 4697 w 10000"/>
                <a:gd name="connsiteY82" fmla="*/ 9552 h 10000"/>
                <a:gd name="connsiteX83" fmla="*/ 4857 w 10000"/>
                <a:gd name="connsiteY83" fmla="*/ 9482 h 10000"/>
                <a:gd name="connsiteX84" fmla="*/ 5014 w 10000"/>
                <a:gd name="connsiteY84" fmla="*/ 9405 h 10000"/>
                <a:gd name="connsiteX85" fmla="*/ 5171 w 10000"/>
                <a:gd name="connsiteY85" fmla="*/ 9329 h 10000"/>
                <a:gd name="connsiteX86" fmla="*/ 5326 w 10000"/>
                <a:gd name="connsiteY86" fmla="*/ 9244 h 10000"/>
                <a:gd name="connsiteX87" fmla="*/ 5480 w 10000"/>
                <a:gd name="connsiteY87" fmla="*/ 9158 h 10000"/>
                <a:gd name="connsiteX88" fmla="*/ 5631 w 10000"/>
                <a:gd name="connsiteY88" fmla="*/ 9063 h 10000"/>
                <a:gd name="connsiteX89" fmla="*/ 5781 w 10000"/>
                <a:gd name="connsiteY89" fmla="*/ 8967 h 10000"/>
                <a:gd name="connsiteX90" fmla="*/ 5931 w 10000"/>
                <a:gd name="connsiteY90" fmla="*/ 8865 h 10000"/>
                <a:gd name="connsiteX91" fmla="*/ 6075 w 10000"/>
                <a:gd name="connsiteY91" fmla="*/ 8759 h 10000"/>
                <a:gd name="connsiteX92" fmla="*/ 6221 w 10000"/>
                <a:gd name="connsiteY92" fmla="*/ 8652 h 10000"/>
                <a:gd name="connsiteX93" fmla="*/ 6364 w 10000"/>
                <a:gd name="connsiteY93" fmla="*/ 8536 h 10000"/>
                <a:gd name="connsiteX94" fmla="*/ 6505 w 10000"/>
                <a:gd name="connsiteY94" fmla="*/ 8417 h 10000"/>
                <a:gd name="connsiteX95" fmla="*/ 6642 w 10000"/>
                <a:gd name="connsiteY95" fmla="*/ 8295 h 10000"/>
                <a:gd name="connsiteX96" fmla="*/ 6780 w 10000"/>
                <a:gd name="connsiteY96" fmla="*/ 8169 h 10000"/>
                <a:gd name="connsiteX97" fmla="*/ 6913 w 10000"/>
                <a:gd name="connsiteY97" fmla="*/ 8040 h 10000"/>
                <a:gd name="connsiteX98" fmla="*/ 7045 w 10000"/>
                <a:gd name="connsiteY98" fmla="*/ 7904 h 10000"/>
                <a:gd name="connsiteX99" fmla="*/ 7175 w 10000"/>
                <a:gd name="connsiteY99" fmla="*/ 7768 h 10000"/>
                <a:gd name="connsiteX100" fmla="*/ 7304 w 10000"/>
                <a:gd name="connsiteY100" fmla="*/ 7624 h 10000"/>
                <a:gd name="connsiteX101" fmla="*/ 7429 w 10000"/>
                <a:gd name="connsiteY101" fmla="*/ 7480 h 10000"/>
                <a:gd name="connsiteX102" fmla="*/ 7552 w 10000"/>
                <a:gd name="connsiteY102" fmla="*/ 7329 h 10000"/>
                <a:gd name="connsiteX103" fmla="*/ 7673 w 10000"/>
                <a:gd name="connsiteY103" fmla="*/ 7178 h 10000"/>
                <a:gd name="connsiteX104" fmla="*/ 7792 w 10000"/>
                <a:gd name="connsiteY104" fmla="*/ 7024 h 10000"/>
                <a:gd name="connsiteX105" fmla="*/ 7907 w 10000"/>
                <a:gd name="connsiteY105" fmla="*/ 6861 h 10000"/>
                <a:gd name="connsiteX106" fmla="*/ 8022 w 10000"/>
                <a:gd name="connsiteY106" fmla="*/ 6697 h 10000"/>
                <a:gd name="connsiteX107" fmla="*/ 8133 w 10000"/>
                <a:gd name="connsiteY107" fmla="*/ 6534 h 10000"/>
                <a:gd name="connsiteX108" fmla="*/ 8240 w 10000"/>
                <a:gd name="connsiteY108" fmla="*/ 6365 h 10000"/>
                <a:gd name="connsiteX109" fmla="*/ 8347 w 10000"/>
                <a:gd name="connsiteY109" fmla="*/ 6189 h 10000"/>
                <a:gd name="connsiteX110" fmla="*/ 8450 w 10000"/>
                <a:gd name="connsiteY110" fmla="*/ 6016 h 10000"/>
                <a:gd name="connsiteX111" fmla="*/ 8552 w 10000"/>
                <a:gd name="connsiteY111" fmla="*/ 5835 h 10000"/>
                <a:gd name="connsiteX112" fmla="*/ 8650 w 10000"/>
                <a:gd name="connsiteY112" fmla="*/ 5652 h 10000"/>
                <a:gd name="connsiteX113" fmla="*/ 8745 w 10000"/>
                <a:gd name="connsiteY113" fmla="*/ 5468 h 10000"/>
                <a:gd name="connsiteX114" fmla="*/ 8837 w 10000"/>
                <a:gd name="connsiteY114" fmla="*/ 5278 h 10000"/>
                <a:gd name="connsiteX115" fmla="*/ 8927 w 10000"/>
                <a:gd name="connsiteY115" fmla="*/ 5089 h 10000"/>
                <a:gd name="connsiteX116" fmla="*/ 9014 w 10000"/>
                <a:gd name="connsiteY116" fmla="*/ 4893 h 10000"/>
                <a:gd name="connsiteX117" fmla="*/ 9098 w 10000"/>
                <a:gd name="connsiteY117" fmla="*/ 4698 h 10000"/>
                <a:gd name="connsiteX118" fmla="*/ 9178 w 10000"/>
                <a:gd name="connsiteY118" fmla="*/ 4500 h 10000"/>
                <a:gd name="connsiteX119" fmla="*/ 9256 w 10000"/>
                <a:gd name="connsiteY119" fmla="*/ 4294 h 10000"/>
                <a:gd name="connsiteX120" fmla="*/ 9330 w 10000"/>
                <a:gd name="connsiteY120" fmla="*/ 4091 h 10000"/>
                <a:gd name="connsiteX121" fmla="*/ 9401 w 10000"/>
                <a:gd name="connsiteY121" fmla="*/ 3885 h 10000"/>
                <a:gd name="connsiteX122" fmla="*/ 9470 w 10000"/>
                <a:gd name="connsiteY122" fmla="*/ 3674 h 10000"/>
                <a:gd name="connsiteX123" fmla="*/ 9535 w 10000"/>
                <a:gd name="connsiteY123" fmla="*/ 3464 h 10000"/>
                <a:gd name="connsiteX124" fmla="*/ 9599 w 10000"/>
                <a:gd name="connsiteY124" fmla="*/ 3248 h 10000"/>
                <a:gd name="connsiteX125" fmla="*/ 9656 w 10000"/>
                <a:gd name="connsiteY125" fmla="*/ 3030 h 10000"/>
                <a:gd name="connsiteX126" fmla="*/ 9711 w 10000"/>
                <a:gd name="connsiteY126" fmla="*/ 2815 h 10000"/>
                <a:gd name="connsiteX127" fmla="*/ 9763 w 10000"/>
                <a:gd name="connsiteY127" fmla="*/ 2592 h 10000"/>
                <a:gd name="connsiteX128" fmla="*/ 9813 w 10000"/>
                <a:gd name="connsiteY128" fmla="*/ 2369 h 10000"/>
                <a:gd name="connsiteX129" fmla="*/ 9856 w 10000"/>
                <a:gd name="connsiteY129" fmla="*/ 2143 h 10000"/>
                <a:gd name="connsiteX130" fmla="*/ 9898 w 10000"/>
                <a:gd name="connsiteY130" fmla="*/ 1918 h 10000"/>
                <a:gd name="connsiteX131" fmla="*/ 9936 w 10000"/>
                <a:gd name="connsiteY131" fmla="*/ 1690 h 10000"/>
                <a:gd name="connsiteX132" fmla="*/ 9970 w 10000"/>
                <a:gd name="connsiteY132" fmla="*/ 1457 h 10000"/>
                <a:gd name="connsiteX133" fmla="*/ 10000 w 10000"/>
                <a:gd name="connsiteY133" fmla="*/ 1222 h 10000"/>
                <a:gd name="connsiteX134" fmla="*/ 7611 w 10000"/>
                <a:gd name="connsiteY134" fmla="*/ 1876 h 10000"/>
                <a:gd name="connsiteX135" fmla="*/ 5615 w 10000"/>
                <a:gd name="connsiteY13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0 w 10000"/>
                <a:gd name="connsiteY51" fmla="*/ 6085 h 10000"/>
                <a:gd name="connsiteX52" fmla="*/ 209 w 10000"/>
                <a:gd name="connsiteY52" fmla="*/ 9512 h 10000"/>
                <a:gd name="connsiteX53" fmla="*/ 344 w 10000"/>
                <a:gd name="connsiteY53" fmla="*/ 9569 h 10000"/>
                <a:gd name="connsiteX54" fmla="*/ 481 w 10000"/>
                <a:gd name="connsiteY54" fmla="*/ 9623 h 10000"/>
                <a:gd name="connsiteX55" fmla="*/ 621 w 10000"/>
                <a:gd name="connsiteY55" fmla="*/ 9673 h 10000"/>
                <a:gd name="connsiteX56" fmla="*/ 758 w 10000"/>
                <a:gd name="connsiteY56" fmla="*/ 9720 h 10000"/>
                <a:gd name="connsiteX57" fmla="*/ 899 w 10000"/>
                <a:gd name="connsiteY57" fmla="*/ 9765 h 10000"/>
                <a:gd name="connsiteX58" fmla="*/ 1040 w 10000"/>
                <a:gd name="connsiteY58" fmla="*/ 9804 h 10000"/>
                <a:gd name="connsiteX59" fmla="*/ 1182 w 10000"/>
                <a:gd name="connsiteY59" fmla="*/ 9839 h 10000"/>
                <a:gd name="connsiteX60" fmla="*/ 1325 w 10000"/>
                <a:gd name="connsiteY60" fmla="*/ 9874 h 10000"/>
                <a:gd name="connsiteX61" fmla="*/ 1471 w 10000"/>
                <a:gd name="connsiteY61" fmla="*/ 9903 h 10000"/>
                <a:gd name="connsiteX62" fmla="*/ 1614 w 10000"/>
                <a:gd name="connsiteY62" fmla="*/ 9926 h 10000"/>
                <a:gd name="connsiteX63" fmla="*/ 1760 w 10000"/>
                <a:gd name="connsiteY63" fmla="*/ 9948 h 10000"/>
                <a:gd name="connsiteX64" fmla="*/ 1906 w 10000"/>
                <a:gd name="connsiteY64" fmla="*/ 9965 h 10000"/>
                <a:gd name="connsiteX65" fmla="*/ 2052 w 10000"/>
                <a:gd name="connsiteY65" fmla="*/ 9980 h 10000"/>
                <a:gd name="connsiteX66" fmla="*/ 2202 w 10000"/>
                <a:gd name="connsiteY66" fmla="*/ 9990 h 10000"/>
                <a:gd name="connsiteX67" fmla="*/ 2350 w 10000"/>
                <a:gd name="connsiteY67" fmla="*/ 9995 h 10000"/>
                <a:gd name="connsiteX68" fmla="*/ 2498 w 10000"/>
                <a:gd name="connsiteY68" fmla="*/ 10000 h 10000"/>
                <a:gd name="connsiteX69" fmla="*/ 2677 w 10000"/>
                <a:gd name="connsiteY69" fmla="*/ 9995 h 10000"/>
                <a:gd name="connsiteX70" fmla="*/ 2850 w 10000"/>
                <a:gd name="connsiteY70" fmla="*/ 9988 h 10000"/>
                <a:gd name="connsiteX71" fmla="*/ 3024 w 10000"/>
                <a:gd name="connsiteY71" fmla="*/ 9975 h 10000"/>
                <a:gd name="connsiteX72" fmla="*/ 3195 w 10000"/>
                <a:gd name="connsiteY72" fmla="*/ 9953 h 10000"/>
                <a:gd name="connsiteX73" fmla="*/ 3368 w 10000"/>
                <a:gd name="connsiteY73" fmla="*/ 9931 h 10000"/>
                <a:gd name="connsiteX74" fmla="*/ 3538 w 10000"/>
                <a:gd name="connsiteY74" fmla="*/ 9898 h 10000"/>
                <a:gd name="connsiteX75" fmla="*/ 3709 w 10000"/>
                <a:gd name="connsiteY75" fmla="*/ 9866 h 10000"/>
                <a:gd name="connsiteX76" fmla="*/ 3877 w 10000"/>
                <a:gd name="connsiteY76" fmla="*/ 9824 h 10000"/>
                <a:gd name="connsiteX77" fmla="*/ 4042 w 10000"/>
                <a:gd name="connsiteY77" fmla="*/ 9779 h 10000"/>
                <a:gd name="connsiteX78" fmla="*/ 4210 w 10000"/>
                <a:gd name="connsiteY78" fmla="*/ 9730 h 10000"/>
                <a:gd name="connsiteX79" fmla="*/ 4372 w 10000"/>
                <a:gd name="connsiteY79" fmla="*/ 9673 h 10000"/>
                <a:gd name="connsiteX80" fmla="*/ 4536 w 10000"/>
                <a:gd name="connsiteY80" fmla="*/ 9616 h 10000"/>
                <a:gd name="connsiteX81" fmla="*/ 4697 w 10000"/>
                <a:gd name="connsiteY81" fmla="*/ 9552 h 10000"/>
                <a:gd name="connsiteX82" fmla="*/ 4857 w 10000"/>
                <a:gd name="connsiteY82" fmla="*/ 9482 h 10000"/>
                <a:gd name="connsiteX83" fmla="*/ 5014 w 10000"/>
                <a:gd name="connsiteY83" fmla="*/ 9405 h 10000"/>
                <a:gd name="connsiteX84" fmla="*/ 5171 w 10000"/>
                <a:gd name="connsiteY84" fmla="*/ 9329 h 10000"/>
                <a:gd name="connsiteX85" fmla="*/ 5326 w 10000"/>
                <a:gd name="connsiteY85" fmla="*/ 9244 h 10000"/>
                <a:gd name="connsiteX86" fmla="*/ 5480 w 10000"/>
                <a:gd name="connsiteY86" fmla="*/ 9158 h 10000"/>
                <a:gd name="connsiteX87" fmla="*/ 5631 w 10000"/>
                <a:gd name="connsiteY87" fmla="*/ 9063 h 10000"/>
                <a:gd name="connsiteX88" fmla="*/ 5781 w 10000"/>
                <a:gd name="connsiteY88" fmla="*/ 8967 h 10000"/>
                <a:gd name="connsiteX89" fmla="*/ 5931 w 10000"/>
                <a:gd name="connsiteY89" fmla="*/ 8865 h 10000"/>
                <a:gd name="connsiteX90" fmla="*/ 6075 w 10000"/>
                <a:gd name="connsiteY90" fmla="*/ 8759 h 10000"/>
                <a:gd name="connsiteX91" fmla="*/ 6221 w 10000"/>
                <a:gd name="connsiteY91" fmla="*/ 8652 h 10000"/>
                <a:gd name="connsiteX92" fmla="*/ 6364 w 10000"/>
                <a:gd name="connsiteY92" fmla="*/ 8536 h 10000"/>
                <a:gd name="connsiteX93" fmla="*/ 6505 w 10000"/>
                <a:gd name="connsiteY93" fmla="*/ 8417 h 10000"/>
                <a:gd name="connsiteX94" fmla="*/ 6642 w 10000"/>
                <a:gd name="connsiteY94" fmla="*/ 8295 h 10000"/>
                <a:gd name="connsiteX95" fmla="*/ 6780 w 10000"/>
                <a:gd name="connsiteY95" fmla="*/ 8169 h 10000"/>
                <a:gd name="connsiteX96" fmla="*/ 6913 w 10000"/>
                <a:gd name="connsiteY96" fmla="*/ 8040 h 10000"/>
                <a:gd name="connsiteX97" fmla="*/ 7045 w 10000"/>
                <a:gd name="connsiteY97" fmla="*/ 7904 h 10000"/>
                <a:gd name="connsiteX98" fmla="*/ 7175 w 10000"/>
                <a:gd name="connsiteY98" fmla="*/ 7768 h 10000"/>
                <a:gd name="connsiteX99" fmla="*/ 7304 w 10000"/>
                <a:gd name="connsiteY99" fmla="*/ 7624 h 10000"/>
                <a:gd name="connsiteX100" fmla="*/ 7429 w 10000"/>
                <a:gd name="connsiteY100" fmla="*/ 7480 h 10000"/>
                <a:gd name="connsiteX101" fmla="*/ 7552 w 10000"/>
                <a:gd name="connsiteY101" fmla="*/ 7329 h 10000"/>
                <a:gd name="connsiteX102" fmla="*/ 7673 w 10000"/>
                <a:gd name="connsiteY102" fmla="*/ 7178 h 10000"/>
                <a:gd name="connsiteX103" fmla="*/ 7792 w 10000"/>
                <a:gd name="connsiteY103" fmla="*/ 7024 h 10000"/>
                <a:gd name="connsiteX104" fmla="*/ 7907 w 10000"/>
                <a:gd name="connsiteY104" fmla="*/ 6861 h 10000"/>
                <a:gd name="connsiteX105" fmla="*/ 8022 w 10000"/>
                <a:gd name="connsiteY105" fmla="*/ 6697 h 10000"/>
                <a:gd name="connsiteX106" fmla="*/ 8133 w 10000"/>
                <a:gd name="connsiteY106" fmla="*/ 6534 h 10000"/>
                <a:gd name="connsiteX107" fmla="*/ 8240 w 10000"/>
                <a:gd name="connsiteY107" fmla="*/ 6365 h 10000"/>
                <a:gd name="connsiteX108" fmla="*/ 8347 w 10000"/>
                <a:gd name="connsiteY108" fmla="*/ 6189 h 10000"/>
                <a:gd name="connsiteX109" fmla="*/ 8450 w 10000"/>
                <a:gd name="connsiteY109" fmla="*/ 6016 h 10000"/>
                <a:gd name="connsiteX110" fmla="*/ 8552 w 10000"/>
                <a:gd name="connsiteY110" fmla="*/ 5835 h 10000"/>
                <a:gd name="connsiteX111" fmla="*/ 8650 w 10000"/>
                <a:gd name="connsiteY111" fmla="*/ 5652 h 10000"/>
                <a:gd name="connsiteX112" fmla="*/ 8745 w 10000"/>
                <a:gd name="connsiteY112" fmla="*/ 5468 h 10000"/>
                <a:gd name="connsiteX113" fmla="*/ 8837 w 10000"/>
                <a:gd name="connsiteY113" fmla="*/ 5278 h 10000"/>
                <a:gd name="connsiteX114" fmla="*/ 8927 w 10000"/>
                <a:gd name="connsiteY114" fmla="*/ 5089 h 10000"/>
                <a:gd name="connsiteX115" fmla="*/ 9014 w 10000"/>
                <a:gd name="connsiteY115" fmla="*/ 4893 h 10000"/>
                <a:gd name="connsiteX116" fmla="*/ 9098 w 10000"/>
                <a:gd name="connsiteY116" fmla="*/ 4698 h 10000"/>
                <a:gd name="connsiteX117" fmla="*/ 9178 w 10000"/>
                <a:gd name="connsiteY117" fmla="*/ 4500 h 10000"/>
                <a:gd name="connsiteX118" fmla="*/ 9256 w 10000"/>
                <a:gd name="connsiteY118" fmla="*/ 4294 h 10000"/>
                <a:gd name="connsiteX119" fmla="*/ 9330 w 10000"/>
                <a:gd name="connsiteY119" fmla="*/ 4091 h 10000"/>
                <a:gd name="connsiteX120" fmla="*/ 9401 w 10000"/>
                <a:gd name="connsiteY120" fmla="*/ 3885 h 10000"/>
                <a:gd name="connsiteX121" fmla="*/ 9470 w 10000"/>
                <a:gd name="connsiteY121" fmla="*/ 3674 h 10000"/>
                <a:gd name="connsiteX122" fmla="*/ 9535 w 10000"/>
                <a:gd name="connsiteY122" fmla="*/ 3464 h 10000"/>
                <a:gd name="connsiteX123" fmla="*/ 9599 w 10000"/>
                <a:gd name="connsiteY123" fmla="*/ 3248 h 10000"/>
                <a:gd name="connsiteX124" fmla="*/ 9656 w 10000"/>
                <a:gd name="connsiteY124" fmla="*/ 3030 h 10000"/>
                <a:gd name="connsiteX125" fmla="*/ 9711 w 10000"/>
                <a:gd name="connsiteY125" fmla="*/ 2815 h 10000"/>
                <a:gd name="connsiteX126" fmla="*/ 9763 w 10000"/>
                <a:gd name="connsiteY126" fmla="*/ 2592 h 10000"/>
                <a:gd name="connsiteX127" fmla="*/ 9813 w 10000"/>
                <a:gd name="connsiteY127" fmla="*/ 2369 h 10000"/>
                <a:gd name="connsiteX128" fmla="*/ 9856 w 10000"/>
                <a:gd name="connsiteY128" fmla="*/ 2143 h 10000"/>
                <a:gd name="connsiteX129" fmla="*/ 9898 w 10000"/>
                <a:gd name="connsiteY129" fmla="*/ 1918 h 10000"/>
                <a:gd name="connsiteX130" fmla="*/ 9936 w 10000"/>
                <a:gd name="connsiteY130" fmla="*/ 1690 h 10000"/>
                <a:gd name="connsiteX131" fmla="*/ 9970 w 10000"/>
                <a:gd name="connsiteY131" fmla="*/ 1457 h 10000"/>
                <a:gd name="connsiteX132" fmla="*/ 10000 w 10000"/>
                <a:gd name="connsiteY132" fmla="*/ 1222 h 10000"/>
                <a:gd name="connsiteX133" fmla="*/ 7611 w 10000"/>
                <a:gd name="connsiteY133" fmla="*/ 1876 h 10000"/>
                <a:gd name="connsiteX134" fmla="*/ 5615 w 10000"/>
                <a:gd name="connsiteY13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0 w 10000"/>
                <a:gd name="connsiteY50" fmla="*/ 6085 h 10000"/>
                <a:gd name="connsiteX51" fmla="*/ 209 w 10000"/>
                <a:gd name="connsiteY51" fmla="*/ 9512 h 10000"/>
                <a:gd name="connsiteX52" fmla="*/ 344 w 10000"/>
                <a:gd name="connsiteY52" fmla="*/ 9569 h 10000"/>
                <a:gd name="connsiteX53" fmla="*/ 481 w 10000"/>
                <a:gd name="connsiteY53" fmla="*/ 9623 h 10000"/>
                <a:gd name="connsiteX54" fmla="*/ 621 w 10000"/>
                <a:gd name="connsiteY54" fmla="*/ 9673 h 10000"/>
                <a:gd name="connsiteX55" fmla="*/ 758 w 10000"/>
                <a:gd name="connsiteY55" fmla="*/ 9720 h 10000"/>
                <a:gd name="connsiteX56" fmla="*/ 899 w 10000"/>
                <a:gd name="connsiteY56" fmla="*/ 9765 h 10000"/>
                <a:gd name="connsiteX57" fmla="*/ 1040 w 10000"/>
                <a:gd name="connsiteY57" fmla="*/ 9804 h 10000"/>
                <a:gd name="connsiteX58" fmla="*/ 1182 w 10000"/>
                <a:gd name="connsiteY58" fmla="*/ 9839 h 10000"/>
                <a:gd name="connsiteX59" fmla="*/ 1325 w 10000"/>
                <a:gd name="connsiteY59" fmla="*/ 9874 h 10000"/>
                <a:gd name="connsiteX60" fmla="*/ 1471 w 10000"/>
                <a:gd name="connsiteY60" fmla="*/ 9903 h 10000"/>
                <a:gd name="connsiteX61" fmla="*/ 1614 w 10000"/>
                <a:gd name="connsiteY61" fmla="*/ 9926 h 10000"/>
                <a:gd name="connsiteX62" fmla="*/ 1760 w 10000"/>
                <a:gd name="connsiteY62" fmla="*/ 9948 h 10000"/>
                <a:gd name="connsiteX63" fmla="*/ 1906 w 10000"/>
                <a:gd name="connsiteY63" fmla="*/ 9965 h 10000"/>
                <a:gd name="connsiteX64" fmla="*/ 2052 w 10000"/>
                <a:gd name="connsiteY64" fmla="*/ 9980 h 10000"/>
                <a:gd name="connsiteX65" fmla="*/ 2202 w 10000"/>
                <a:gd name="connsiteY65" fmla="*/ 9990 h 10000"/>
                <a:gd name="connsiteX66" fmla="*/ 2350 w 10000"/>
                <a:gd name="connsiteY66" fmla="*/ 9995 h 10000"/>
                <a:gd name="connsiteX67" fmla="*/ 2498 w 10000"/>
                <a:gd name="connsiteY67" fmla="*/ 10000 h 10000"/>
                <a:gd name="connsiteX68" fmla="*/ 2677 w 10000"/>
                <a:gd name="connsiteY68" fmla="*/ 9995 h 10000"/>
                <a:gd name="connsiteX69" fmla="*/ 2850 w 10000"/>
                <a:gd name="connsiteY69" fmla="*/ 9988 h 10000"/>
                <a:gd name="connsiteX70" fmla="*/ 3024 w 10000"/>
                <a:gd name="connsiteY70" fmla="*/ 9975 h 10000"/>
                <a:gd name="connsiteX71" fmla="*/ 3195 w 10000"/>
                <a:gd name="connsiteY71" fmla="*/ 9953 h 10000"/>
                <a:gd name="connsiteX72" fmla="*/ 3368 w 10000"/>
                <a:gd name="connsiteY72" fmla="*/ 9931 h 10000"/>
                <a:gd name="connsiteX73" fmla="*/ 3538 w 10000"/>
                <a:gd name="connsiteY73" fmla="*/ 9898 h 10000"/>
                <a:gd name="connsiteX74" fmla="*/ 3709 w 10000"/>
                <a:gd name="connsiteY74" fmla="*/ 9866 h 10000"/>
                <a:gd name="connsiteX75" fmla="*/ 3877 w 10000"/>
                <a:gd name="connsiteY75" fmla="*/ 9824 h 10000"/>
                <a:gd name="connsiteX76" fmla="*/ 4042 w 10000"/>
                <a:gd name="connsiteY76" fmla="*/ 9779 h 10000"/>
                <a:gd name="connsiteX77" fmla="*/ 4210 w 10000"/>
                <a:gd name="connsiteY77" fmla="*/ 9730 h 10000"/>
                <a:gd name="connsiteX78" fmla="*/ 4372 w 10000"/>
                <a:gd name="connsiteY78" fmla="*/ 9673 h 10000"/>
                <a:gd name="connsiteX79" fmla="*/ 4536 w 10000"/>
                <a:gd name="connsiteY79" fmla="*/ 9616 h 10000"/>
                <a:gd name="connsiteX80" fmla="*/ 4697 w 10000"/>
                <a:gd name="connsiteY80" fmla="*/ 9552 h 10000"/>
                <a:gd name="connsiteX81" fmla="*/ 4857 w 10000"/>
                <a:gd name="connsiteY81" fmla="*/ 9482 h 10000"/>
                <a:gd name="connsiteX82" fmla="*/ 5014 w 10000"/>
                <a:gd name="connsiteY82" fmla="*/ 9405 h 10000"/>
                <a:gd name="connsiteX83" fmla="*/ 5171 w 10000"/>
                <a:gd name="connsiteY83" fmla="*/ 9329 h 10000"/>
                <a:gd name="connsiteX84" fmla="*/ 5326 w 10000"/>
                <a:gd name="connsiteY84" fmla="*/ 9244 h 10000"/>
                <a:gd name="connsiteX85" fmla="*/ 5480 w 10000"/>
                <a:gd name="connsiteY85" fmla="*/ 9158 h 10000"/>
                <a:gd name="connsiteX86" fmla="*/ 5631 w 10000"/>
                <a:gd name="connsiteY86" fmla="*/ 9063 h 10000"/>
                <a:gd name="connsiteX87" fmla="*/ 5781 w 10000"/>
                <a:gd name="connsiteY87" fmla="*/ 8967 h 10000"/>
                <a:gd name="connsiteX88" fmla="*/ 5931 w 10000"/>
                <a:gd name="connsiteY88" fmla="*/ 8865 h 10000"/>
                <a:gd name="connsiteX89" fmla="*/ 6075 w 10000"/>
                <a:gd name="connsiteY89" fmla="*/ 8759 h 10000"/>
                <a:gd name="connsiteX90" fmla="*/ 6221 w 10000"/>
                <a:gd name="connsiteY90" fmla="*/ 8652 h 10000"/>
                <a:gd name="connsiteX91" fmla="*/ 6364 w 10000"/>
                <a:gd name="connsiteY91" fmla="*/ 8536 h 10000"/>
                <a:gd name="connsiteX92" fmla="*/ 6505 w 10000"/>
                <a:gd name="connsiteY92" fmla="*/ 8417 h 10000"/>
                <a:gd name="connsiteX93" fmla="*/ 6642 w 10000"/>
                <a:gd name="connsiteY93" fmla="*/ 8295 h 10000"/>
                <a:gd name="connsiteX94" fmla="*/ 6780 w 10000"/>
                <a:gd name="connsiteY94" fmla="*/ 8169 h 10000"/>
                <a:gd name="connsiteX95" fmla="*/ 6913 w 10000"/>
                <a:gd name="connsiteY95" fmla="*/ 8040 h 10000"/>
                <a:gd name="connsiteX96" fmla="*/ 7045 w 10000"/>
                <a:gd name="connsiteY96" fmla="*/ 7904 h 10000"/>
                <a:gd name="connsiteX97" fmla="*/ 7175 w 10000"/>
                <a:gd name="connsiteY97" fmla="*/ 7768 h 10000"/>
                <a:gd name="connsiteX98" fmla="*/ 7304 w 10000"/>
                <a:gd name="connsiteY98" fmla="*/ 7624 h 10000"/>
                <a:gd name="connsiteX99" fmla="*/ 7429 w 10000"/>
                <a:gd name="connsiteY99" fmla="*/ 7480 h 10000"/>
                <a:gd name="connsiteX100" fmla="*/ 7552 w 10000"/>
                <a:gd name="connsiteY100" fmla="*/ 7329 h 10000"/>
                <a:gd name="connsiteX101" fmla="*/ 7673 w 10000"/>
                <a:gd name="connsiteY101" fmla="*/ 7178 h 10000"/>
                <a:gd name="connsiteX102" fmla="*/ 7792 w 10000"/>
                <a:gd name="connsiteY102" fmla="*/ 7024 h 10000"/>
                <a:gd name="connsiteX103" fmla="*/ 7907 w 10000"/>
                <a:gd name="connsiteY103" fmla="*/ 6861 h 10000"/>
                <a:gd name="connsiteX104" fmla="*/ 8022 w 10000"/>
                <a:gd name="connsiteY104" fmla="*/ 6697 h 10000"/>
                <a:gd name="connsiteX105" fmla="*/ 8133 w 10000"/>
                <a:gd name="connsiteY105" fmla="*/ 6534 h 10000"/>
                <a:gd name="connsiteX106" fmla="*/ 8240 w 10000"/>
                <a:gd name="connsiteY106" fmla="*/ 6365 h 10000"/>
                <a:gd name="connsiteX107" fmla="*/ 8347 w 10000"/>
                <a:gd name="connsiteY107" fmla="*/ 6189 h 10000"/>
                <a:gd name="connsiteX108" fmla="*/ 8450 w 10000"/>
                <a:gd name="connsiteY108" fmla="*/ 6016 h 10000"/>
                <a:gd name="connsiteX109" fmla="*/ 8552 w 10000"/>
                <a:gd name="connsiteY109" fmla="*/ 5835 h 10000"/>
                <a:gd name="connsiteX110" fmla="*/ 8650 w 10000"/>
                <a:gd name="connsiteY110" fmla="*/ 5652 h 10000"/>
                <a:gd name="connsiteX111" fmla="*/ 8745 w 10000"/>
                <a:gd name="connsiteY111" fmla="*/ 5468 h 10000"/>
                <a:gd name="connsiteX112" fmla="*/ 8837 w 10000"/>
                <a:gd name="connsiteY112" fmla="*/ 5278 h 10000"/>
                <a:gd name="connsiteX113" fmla="*/ 8927 w 10000"/>
                <a:gd name="connsiteY113" fmla="*/ 5089 h 10000"/>
                <a:gd name="connsiteX114" fmla="*/ 9014 w 10000"/>
                <a:gd name="connsiteY114" fmla="*/ 4893 h 10000"/>
                <a:gd name="connsiteX115" fmla="*/ 9098 w 10000"/>
                <a:gd name="connsiteY115" fmla="*/ 4698 h 10000"/>
                <a:gd name="connsiteX116" fmla="*/ 9178 w 10000"/>
                <a:gd name="connsiteY116" fmla="*/ 4500 h 10000"/>
                <a:gd name="connsiteX117" fmla="*/ 9256 w 10000"/>
                <a:gd name="connsiteY117" fmla="*/ 4294 h 10000"/>
                <a:gd name="connsiteX118" fmla="*/ 9330 w 10000"/>
                <a:gd name="connsiteY118" fmla="*/ 4091 h 10000"/>
                <a:gd name="connsiteX119" fmla="*/ 9401 w 10000"/>
                <a:gd name="connsiteY119" fmla="*/ 3885 h 10000"/>
                <a:gd name="connsiteX120" fmla="*/ 9470 w 10000"/>
                <a:gd name="connsiteY120" fmla="*/ 3674 h 10000"/>
                <a:gd name="connsiteX121" fmla="*/ 9535 w 10000"/>
                <a:gd name="connsiteY121" fmla="*/ 3464 h 10000"/>
                <a:gd name="connsiteX122" fmla="*/ 9599 w 10000"/>
                <a:gd name="connsiteY122" fmla="*/ 3248 h 10000"/>
                <a:gd name="connsiteX123" fmla="*/ 9656 w 10000"/>
                <a:gd name="connsiteY123" fmla="*/ 3030 h 10000"/>
                <a:gd name="connsiteX124" fmla="*/ 9711 w 10000"/>
                <a:gd name="connsiteY124" fmla="*/ 2815 h 10000"/>
                <a:gd name="connsiteX125" fmla="*/ 9763 w 10000"/>
                <a:gd name="connsiteY125" fmla="*/ 2592 h 10000"/>
                <a:gd name="connsiteX126" fmla="*/ 9813 w 10000"/>
                <a:gd name="connsiteY126" fmla="*/ 2369 h 10000"/>
                <a:gd name="connsiteX127" fmla="*/ 9856 w 10000"/>
                <a:gd name="connsiteY127" fmla="*/ 2143 h 10000"/>
                <a:gd name="connsiteX128" fmla="*/ 9898 w 10000"/>
                <a:gd name="connsiteY128" fmla="*/ 1918 h 10000"/>
                <a:gd name="connsiteX129" fmla="*/ 9936 w 10000"/>
                <a:gd name="connsiteY129" fmla="*/ 1690 h 10000"/>
                <a:gd name="connsiteX130" fmla="*/ 9970 w 10000"/>
                <a:gd name="connsiteY130" fmla="*/ 1457 h 10000"/>
                <a:gd name="connsiteX131" fmla="*/ 10000 w 10000"/>
                <a:gd name="connsiteY131" fmla="*/ 1222 h 10000"/>
                <a:gd name="connsiteX132" fmla="*/ 7611 w 10000"/>
                <a:gd name="connsiteY132" fmla="*/ 1876 h 10000"/>
                <a:gd name="connsiteX133" fmla="*/ 5615 w 10000"/>
                <a:gd name="connsiteY13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0 w 10000"/>
                <a:gd name="connsiteY49" fmla="*/ 6085 h 10000"/>
                <a:gd name="connsiteX50" fmla="*/ 209 w 10000"/>
                <a:gd name="connsiteY50" fmla="*/ 9512 h 10000"/>
                <a:gd name="connsiteX51" fmla="*/ 344 w 10000"/>
                <a:gd name="connsiteY51" fmla="*/ 9569 h 10000"/>
                <a:gd name="connsiteX52" fmla="*/ 481 w 10000"/>
                <a:gd name="connsiteY52" fmla="*/ 9623 h 10000"/>
                <a:gd name="connsiteX53" fmla="*/ 621 w 10000"/>
                <a:gd name="connsiteY53" fmla="*/ 9673 h 10000"/>
                <a:gd name="connsiteX54" fmla="*/ 758 w 10000"/>
                <a:gd name="connsiteY54" fmla="*/ 9720 h 10000"/>
                <a:gd name="connsiteX55" fmla="*/ 899 w 10000"/>
                <a:gd name="connsiteY55" fmla="*/ 9765 h 10000"/>
                <a:gd name="connsiteX56" fmla="*/ 1040 w 10000"/>
                <a:gd name="connsiteY56" fmla="*/ 9804 h 10000"/>
                <a:gd name="connsiteX57" fmla="*/ 1182 w 10000"/>
                <a:gd name="connsiteY57" fmla="*/ 9839 h 10000"/>
                <a:gd name="connsiteX58" fmla="*/ 1325 w 10000"/>
                <a:gd name="connsiteY58" fmla="*/ 9874 h 10000"/>
                <a:gd name="connsiteX59" fmla="*/ 1471 w 10000"/>
                <a:gd name="connsiteY59" fmla="*/ 9903 h 10000"/>
                <a:gd name="connsiteX60" fmla="*/ 1614 w 10000"/>
                <a:gd name="connsiteY60" fmla="*/ 9926 h 10000"/>
                <a:gd name="connsiteX61" fmla="*/ 1760 w 10000"/>
                <a:gd name="connsiteY61" fmla="*/ 9948 h 10000"/>
                <a:gd name="connsiteX62" fmla="*/ 1906 w 10000"/>
                <a:gd name="connsiteY62" fmla="*/ 9965 h 10000"/>
                <a:gd name="connsiteX63" fmla="*/ 2052 w 10000"/>
                <a:gd name="connsiteY63" fmla="*/ 9980 h 10000"/>
                <a:gd name="connsiteX64" fmla="*/ 2202 w 10000"/>
                <a:gd name="connsiteY64" fmla="*/ 9990 h 10000"/>
                <a:gd name="connsiteX65" fmla="*/ 2350 w 10000"/>
                <a:gd name="connsiteY65" fmla="*/ 9995 h 10000"/>
                <a:gd name="connsiteX66" fmla="*/ 2498 w 10000"/>
                <a:gd name="connsiteY66" fmla="*/ 10000 h 10000"/>
                <a:gd name="connsiteX67" fmla="*/ 2677 w 10000"/>
                <a:gd name="connsiteY67" fmla="*/ 9995 h 10000"/>
                <a:gd name="connsiteX68" fmla="*/ 2850 w 10000"/>
                <a:gd name="connsiteY68" fmla="*/ 9988 h 10000"/>
                <a:gd name="connsiteX69" fmla="*/ 3024 w 10000"/>
                <a:gd name="connsiteY69" fmla="*/ 9975 h 10000"/>
                <a:gd name="connsiteX70" fmla="*/ 3195 w 10000"/>
                <a:gd name="connsiteY70" fmla="*/ 9953 h 10000"/>
                <a:gd name="connsiteX71" fmla="*/ 3368 w 10000"/>
                <a:gd name="connsiteY71" fmla="*/ 9931 h 10000"/>
                <a:gd name="connsiteX72" fmla="*/ 3538 w 10000"/>
                <a:gd name="connsiteY72" fmla="*/ 9898 h 10000"/>
                <a:gd name="connsiteX73" fmla="*/ 3709 w 10000"/>
                <a:gd name="connsiteY73" fmla="*/ 9866 h 10000"/>
                <a:gd name="connsiteX74" fmla="*/ 3877 w 10000"/>
                <a:gd name="connsiteY74" fmla="*/ 9824 h 10000"/>
                <a:gd name="connsiteX75" fmla="*/ 4042 w 10000"/>
                <a:gd name="connsiteY75" fmla="*/ 9779 h 10000"/>
                <a:gd name="connsiteX76" fmla="*/ 4210 w 10000"/>
                <a:gd name="connsiteY76" fmla="*/ 9730 h 10000"/>
                <a:gd name="connsiteX77" fmla="*/ 4372 w 10000"/>
                <a:gd name="connsiteY77" fmla="*/ 9673 h 10000"/>
                <a:gd name="connsiteX78" fmla="*/ 4536 w 10000"/>
                <a:gd name="connsiteY78" fmla="*/ 9616 h 10000"/>
                <a:gd name="connsiteX79" fmla="*/ 4697 w 10000"/>
                <a:gd name="connsiteY79" fmla="*/ 9552 h 10000"/>
                <a:gd name="connsiteX80" fmla="*/ 4857 w 10000"/>
                <a:gd name="connsiteY80" fmla="*/ 9482 h 10000"/>
                <a:gd name="connsiteX81" fmla="*/ 5014 w 10000"/>
                <a:gd name="connsiteY81" fmla="*/ 9405 h 10000"/>
                <a:gd name="connsiteX82" fmla="*/ 5171 w 10000"/>
                <a:gd name="connsiteY82" fmla="*/ 9329 h 10000"/>
                <a:gd name="connsiteX83" fmla="*/ 5326 w 10000"/>
                <a:gd name="connsiteY83" fmla="*/ 9244 h 10000"/>
                <a:gd name="connsiteX84" fmla="*/ 5480 w 10000"/>
                <a:gd name="connsiteY84" fmla="*/ 9158 h 10000"/>
                <a:gd name="connsiteX85" fmla="*/ 5631 w 10000"/>
                <a:gd name="connsiteY85" fmla="*/ 9063 h 10000"/>
                <a:gd name="connsiteX86" fmla="*/ 5781 w 10000"/>
                <a:gd name="connsiteY86" fmla="*/ 8967 h 10000"/>
                <a:gd name="connsiteX87" fmla="*/ 5931 w 10000"/>
                <a:gd name="connsiteY87" fmla="*/ 8865 h 10000"/>
                <a:gd name="connsiteX88" fmla="*/ 6075 w 10000"/>
                <a:gd name="connsiteY88" fmla="*/ 8759 h 10000"/>
                <a:gd name="connsiteX89" fmla="*/ 6221 w 10000"/>
                <a:gd name="connsiteY89" fmla="*/ 8652 h 10000"/>
                <a:gd name="connsiteX90" fmla="*/ 6364 w 10000"/>
                <a:gd name="connsiteY90" fmla="*/ 8536 h 10000"/>
                <a:gd name="connsiteX91" fmla="*/ 6505 w 10000"/>
                <a:gd name="connsiteY91" fmla="*/ 8417 h 10000"/>
                <a:gd name="connsiteX92" fmla="*/ 6642 w 10000"/>
                <a:gd name="connsiteY92" fmla="*/ 8295 h 10000"/>
                <a:gd name="connsiteX93" fmla="*/ 6780 w 10000"/>
                <a:gd name="connsiteY93" fmla="*/ 8169 h 10000"/>
                <a:gd name="connsiteX94" fmla="*/ 6913 w 10000"/>
                <a:gd name="connsiteY94" fmla="*/ 8040 h 10000"/>
                <a:gd name="connsiteX95" fmla="*/ 7045 w 10000"/>
                <a:gd name="connsiteY95" fmla="*/ 7904 h 10000"/>
                <a:gd name="connsiteX96" fmla="*/ 7175 w 10000"/>
                <a:gd name="connsiteY96" fmla="*/ 7768 h 10000"/>
                <a:gd name="connsiteX97" fmla="*/ 7304 w 10000"/>
                <a:gd name="connsiteY97" fmla="*/ 7624 h 10000"/>
                <a:gd name="connsiteX98" fmla="*/ 7429 w 10000"/>
                <a:gd name="connsiteY98" fmla="*/ 7480 h 10000"/>
                <a:gd name="connsiteX99" fmla="*/ 7552 w 10000"/>
                <a:gd name="connsiteY99" fmla="*/ 7329 h 10000"/>
                <a:gd name="connsiteX100" fmla="*/ 7673 w 10000"/>
                <a:gd name="connsiteY100" fmla="*/ 7178 h 10000"/>
                <a:gd name="connsiteX101" fmla="*/ 7792 w 10000"/>
                <a:gd name="connsiteY101" fmla="*/ 7024 h 10000"/>
                <a:gd name="connsiteX102" fmla="*/ 7907 w 10000"/>
                <a:gd name="connsiteY102" fmla="*/ 6861 h 10000"/>
                <a:gd name="connsiteX103" fmla="*/ 8022 w 10000"/>
                <a:gd name="connsiteY103" fmla="*/ 6697 h 10000"/>
                <a:gd name="connsiteX104" fmla="*/ 8133 w 10000"/>
                <a:gd name="connsiteY104" fmla="*/ 6534 h 10000"/>
                <a:gd name="connsiteX105" fmla="*/ 8240 w 10000"/>
                <a:gd name="connsiteY105" fmla="*/ 6365 h 10000"/>
                <a:gd name="connsiteX106" fmla="*/ 8347 w 10000"/>
                <a:gd name="connsiteY106" fmla="*/ 6189 h 10000"/>
                <a:gd name="connsiteX107" fmla="*/ 8450 w 10000"/>
                <a:gd name="connsiteY107" fmla="*/ 6016 h 10000"/>
                <a:gd name="connsiteX108" fmla="*/ 8552 w 10000"/>
                <a:gd name="connsiteY108" fmla="*/ 5835 h 10000"/>
                <a:gd name="connsiteX109" fmla="*/ 8650 w 10000"/>
                <a:gd name="connsiteY109" fmla="*/ 5652 h 10000"/>
                <a:gd name="connsiteX110" fmla="*/ 8745 w 10000"/>
                <a:gd name="connsiteY110" fmla="*/ 5468 h 10000"/>
                <a:gd name="connsiteX111" fmla="*/ 8837 w 10000"/>
                <a:gd name="connsiteY111" fmla="*/ 5278 h 10000"/>
                <a:gd name="connsiteX112" fmla="*/ 8927 w 10000"/>
                <a:gd name="connsiteY112" fmla="*/ 5089 h 10000"/>
                <a:gd name="connsiteX113" fmla="*/ 9014 w 10000"/>
                <a:gd name="connsiteY113" fmla="*/ 4893 h 10000"/>
                <a:gd name="connsiteX114" fmla="*/ 9098 w 10000"/>
                <a:gd name="connsiteY114" fmla="*/ 4698 h 10000"/>
                <a:gd name="connsiteX115" fmla="*/ 9178 w 10000"/>
                <a:gd name="connsiteY115" fmla="*/ 4500 h 10000"/>
                <a:gd name="connsiteX116" fmla="*/ 9256 w 10000"/>
                <a:gd name="connsiteY116" fmla="*/ 4294 h 10000"/>
                <a:gd name="connsiteX117" fmla="*/ 9330 w 10000"/>
                <a:gd name="connsiteY117" fmla="*/ 4091 h 10000"/>
                <a:gd name="connsiteX118" fmla="*/ 9401 w 10000"/>
                <a:gd name="connsiteY118" fmla="*/ 3885 h 10000"/>
                <a:gd name="connsiteX119" fmla="*/ 9470 w 10000"/>
                <a:gd name="connsiteY119" fmla="*/ 3674 h 10000"/>
                <a:gd name="connsiteX120" fmla="*/ 9535 w 10000"/>
                <a:gd name="connsiteY120" fmla="*/ 3464 h 10000"/>
                <a:gd name="connsiteX121" fmla="*/ 9599 w 10000"/>
                <a:gd name="connsiteY121" fmla="*/ 3248 h 10000"/>
                <a:gd name="connsiteX122" fmla="*/ 9656 w 10000"/>
                <a:gd name="connsiteY122" fmla="*/ 3030 h 10000"/>
                <a:gd name="connsiteX123" fmla="*/ 9711 w 10000"/>
                <a:gd name="connsiteY123" fmla="*/ 2815 h 10000"/>
                <a:gd name="connsiteX124" fmla="*/ 9763 w 10000"/>
                <a:gd name="connsiteY124" fmla="*/ 2592 h 10000"/>
                <a:gd name="connsiteX125" fmla="*/ 9813 w 10000"/>
                <a:gd name="connsiteY125" fmla="*/ 2369 h 10000"/>
                <a:gd name="connsiteX126" fmla="*/ 9856 w 10000"/>
                <a:gd name="connsiteY126" fmla="*/ 2143 h 10000"/>
                <a:gd name="connsiteX127" fmla="*/ 9898 w 10000"/>
                <a:gd name="connsiteY127" fmla="*/ 1918 h 10000"/>
                <a:gd name="connsiteX128" fmla="*/ 9936 w 10000"/>
                <a:gd name="connsiteY128" fmla="*/ 1690 h 10000"/>
                <a:gd name="connsiteX129" fmla="*/ 9970 w 10000"/>
                <a:gd name="connsiteY129" fmla="*/ 1457 h 10000"/>
                <a:gd name="connsiteX130" fmla="*/ 10000 w 10000"/>
                <a:gd name="connsiteY130" fmla="*/ 1222 h 10000"/>
                <a:gd name="connsiteX131" fmla="*/ 7611 w 10000"/>
                <a:gd name="connsiteY131" fmla="*/ 1876 h 10000"/>
                <a:gd name="connsiteX132" fmla="*/ 5615 w 10000"/>
                <a:gd name="connsiteY13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0 w 10000"/>
                <a:gd name="connsiteY48" fmla="*/ 6085 h 10000"/>
                <a:gd name="connsiteX49" fmla="*/ 209 w 10000"/>
                <a:gd name="connsiteY49" fmla="*/ 9512 h 10000"/>
                <a:gd name="connsiteX50" fmla="*/ 344 w 10000"/>
                <a:gd name="connsiteY50" fmla="*/ 9569 h 10000"/>
                <a:gd name="connsiteX51" fmla="*/ 481 w 10000"/>
                <a:gd name="connsiteY51" fmla="*/ 9623 h 10000"/>
                <a:gd name="connsiteX52" fmla="*/ 621 w 10000"/>
                <a:gd name="connsiteY52" fmla="*/ 9673 h 10000"/>
                <a:gd name="connsiteX53" fmla="*/ 758 w 10000"/>
                <a:gd name="connsiteY53" fmla="*/ 9720 h 10000"/>
                <a:gd name="connsiteX54" fmla="*/ 899 w 10000"/>
                <a:gd name="connsiteY54" fmla="*/ 9765 h 10000"/>
                <a:gd name="connsiteX55" fmla="*/ 1040 w 10000"/>
                <a:gd name="connsiteY55" fmla="*/ 9804 h 10000"/>
                <a:gd name="connsiteX56" fmla="*/ 1182 w 10000"/>
                <a:gd name="connsiteY56" fmla="*/ 9839 h 10000"/>
                <a:gd name="connsiteX57" fmla="*/ 1325 w 10000"/>
                <a:gd name="connsiteY57" fmla="*/ 9874 h 10000"/>
                <a:gd name="connsiteX58" fmla="*/ 1471 w 10000"/>
                <a:gd name="connsiteY58" fmla="*/ 9903 h 10000"/>
                <a:gd name="connsiteX59" fmla="*/ 1614 w 10000"/>
                <a:gd name="connsiteY59" fmla="*/ 9926 h 10000"/>
                <a:gd name="connsiteX60" fmla="*/ 1760 w 10000"/>
                <a:gd name="connsiteY60" fmla="*/ 9948 h 10000"/>
                <a:gd name="connsiteX61" fmla="*/ 1906 w 10000"/>
                <a:gd name="connsiteY61" fmla="*/ 9965 h 10000"/>
                <a:gd name="connsiteX62" fmla="*/ 2052 w 10000"/>
                <a:gd name="connsiteY62" fmla="*/ 9980 h 10000"/>
                <a:gd name="connsiteX63" fmla="*/ 2202 w 10000"/>
                <a:gd name="connsiteY63" fmla="*/ 9990 h 10000"/>
                <a:gd name="connsiteX64" fmla="*/ 2350 w 10000"/>
                <a:gd name="connsiteY64" fmla="*/ 9995 h 10000"/>
                <a:gd name="connsiteX65" fmla="*/ 2498 w 10000"/>
                <a:gd name="connsiteY65" fmla="*/ 10000 h 10000"/>
                <a:gd name="connsiteX66" fmla="*/ 2677 w 10000"/>
                <a:gd name="connsiteY66" fmla="*/ 9995 h 10000"/>
                <a:gd name="connsiteX67" fmla="*/ 2850 w 10000"/>
                <a:gd name="connsiteY67" fmla="*/ 9988 h 10000"/>
                <a:gd name="connsiteX68" fmla="*/ 3024 w 10000"/>
                <a:gd name="connsiteY68" fmla="*/ 9975 h 10000"/>
                <a:gd name="connsiteX69" fmla="*/ 3195 w 10000"/>
                <a:gd name="connsiteY69" fmla="*/ 9953 h 10000"/>
                <a:gd name="connsiteX70" fmla="*/ 3368 w 10000"/>
                <a:gd name="connsiteY70" fmla="*/ 9931 h 10000"/>
                <a:gd name="connsiteX71" fmla="*/ 3538 w 10000"/>
                <a:gd name="connsiteY71" fmla="*/ 9898 h 10000"/>
                <a:gd name="connsiteX72" fmla="*/ 3709 w 10000"/>
                <a:gd name="connsiteY72" fmla="*/ 9866 h 10000"/>
                <a:gd name="connsiteX73" fmla="*/ 3877 w 10000"/>
                <a:gd name="connsiteY73" fmla="*/ 9824 h 10000"/>
                <a:gd name="connsiteX74" fmla="*/ 4042 w 10000"/>
                <a:gd name="connsiteY74" fmla="*/ 9779 h 10000"/>
                <a:gd name="connsiteX75" fmla="*/ 4210 w 10000"/>
                <a:gd name="connsiteY75" fmla="*/ 9730 h 10000"/>
                <a:gd name="connsiteX76" fmla="*/ 4372 w 10000"/>
                <a:gd name="connsiteY76" fmla="*/ 9673 h 10000"/>
                <a:gd name="connsiteX77" fmla="*/ 4536 w 10000"/>
                <a:gd name="connsiteY77" fmla="*/ 9616 h 10000"/>
                <a:gd name="connsiteX78" fmla="*/ 4697 w 10000"/>
                <a:gd name="connsiteY78" fmla="*/ 9552 h 10000"/>
                <a:gd name="connsiteX79" fmla="*/ 4857 w 10000"/>
                <a:gd name="connsiteY79" fmla="*/ 9482 h 10000"/>
                <a:gd name="connsiteX80" fmla="*/ 5014 w 10000"/>
                <a:gd name="connsiteY80" fmla="*/ 9405 h 10000"/>
                <a:gd name="connsiteX81" fmla="*/ 5171 w 10000"/>
                <a:gd name="connsiteY81" fmla="*/ 9329 h 10000"/>
                <a:gd name="connsiteX82" fmla="*/ 5326 w 10000"/>
                <a:gd name="connsiteY82" fmla="*/ 9244 h 10000"/>
                <a:gd name="connsiteX83" fmla="*/ 5480 w 10000"/>
                <a:gd name="connsiteY83" fmla="*/ 9158 h 10000"/>
                <a:gd name="connsiteX84" fmla="*/ 5631 w 10000"/>
                <a:gd name="connsiteY84" fmla="*/ 9063 h 10000"/>
                <a:gd name="connsiteX85" fmla="*/ 5781 w 10000"/>
                <a:gd name="connsiteY85" fmla="*/ 8967 h 10000"/>
                <a:gd name="connsiteX86" fmla="*/ 5931 w 10000"/>
                <a:gd name="connsiteY86" fmla="*/ 8865 h 10000"/>
                <a:gd name="connsiteX87" fmla="*/ 6075 w 10000"/>
                <a:gd name="connsiteY87" fmla="*/ 8759 h 10000"/>
                <a:gd name="connsiteX88" fmla="*/ 6221 w 10000"/>
                <a:gd name="connsiteY88" fmla="*/ 8652 h 10000"/>
                <a:gd name="connsiteX89" fmla="*/ 6364 w 10000"/>
                <a:gd name="connsiteY89" fmla="*/ 8536 h 10000"/>
                <a:gd name="connsiteX90" fmla="*/ 6505 w 10000"/>
                <a:gd name="connsiteY90" fmla="*/ 8417 h 10000"/>
                <a:gd name="connsiteX91" fmla="*/ 6642 w 10000"/>
                <a:gd name="connsiteY91" fmla="*/ 8295 h 10000"/>
                <a:gd name="connsiteX92" fmla="*/ 6780 w 10000"/>
                <a:gd name="connsiteY92" fmla="*/ 8169 h 10000"/>
                <a:gd name="connsiteX93" fmla="*/ 6913 w 10000"/>
                <a:gd name="connsiteY93" fmla="*/ 8040 h 10000"/>
                <a:gd name="connsiteX94" fmla="*/ 7045 w 10000"/>
                <a:gd name="connsiteY94" fmla="*/ 7904 h 10000"/>
                <a:gd name="connsiteX95" fmla="*/ 7175 w 10000"/>
                <a:gd name="connsiteY95" fmla="*/ 7768 h 10000"/>
                <a:gd name="connsiteX96" fmla="*/ 7304 w 10000"/>
                <a:gd name="connsiteY96" fmla="*/ 7624 h 10000"/>
                <a:gd name="connsiteX97" fmla="*/ 7429 w 10000"/>
                <a:gd name="connsiteY97" fmla="*/ 7480 h 10000"/>
                <a:gd name="connsiteX98" fmla="*/ 7552 w 10000"/>
                <a:gd name="connsiteY98" fmla="*/ 7329 h 10000"/>
                <a:gd name="connsiteX99" fmla="*/ 7673 w 10000"/>
                <a:gd name="connsiteY99" fmla="*/ 7178 h 10000"/>
                <a:gd name="connsiteX100" fmla="*/ 7792 w 10000"/>
                <a:gd name="connsiteY100" fmla="*/ 7024 h 10000"/>
                <a:gd name="connsiteX101" fmla="*/ 7907 w 10000"/>
                <a:gd name="connsiteY101" fmla="*/ 6861 h 10000"/>
                <a:gd name="connsiteX102" fmla="*/ 8022 w 10000"/>
                <a:gd name="connsiteY102" fmla="*/ 6697 h 10000"/>
                <a:gd name="connsiteX103" fmla="*/ 8133 w 10000"/>
                <a:gd name="connsiteY103" fmla="*/ 6534 h 10000"/>
                <a:gd name="connsiteX104" fmla="*/ 8240 w 10000"/>
                <a:gd name="connsiteY104" fmla="*/ 6365 h 10000"/>
                <a:gd name="connsiteX105" fmla="*/ 8347 w 10000"/>
                <a:gd name="connsiteY105" fmla="*/ 6189 h 10000"/>
                <a:gd name="connsiteX106" fmla="*/ 8450 w 10000"/>
                <a:gd name="connsiteY106" fmla="*/ 6016 h 10000"/>
                <a:gd name="connsiteX107" fmla="*/ 8552 w 10000"/>
                <a:gd name="connsiteY107" fmla="*/ 5835 h 10000"/>
                <a:gd name="connsiteX108" fmla="*/ 8650 w 10000"/>
                <a:gd name="connsiteY108" fmla="*/ 5652 h 10000"/>
                <a:gd name="connsiteX109" fmla="*/ 8745 w 10000"/>
                <a:gd name="connsiteY109" fmla="*/ 5468 h 10000"/>
                <a:gd name="connsiteX110" fmla="*/ 8837 w 10000"/>
                <a:gd name="connsiteY110" fmla="*/ 5278 h 10000"/>
                <a:gd name="connsiteX111" fmla="*/ 8927 w 10000"/>
                <a:gd name="connsiteY111" fmla="*/ 5089 h 10000"/>
                <a:gd name="connsiteX112" fmla="*/ 9014 w 10000"/>
                <a:gd name="connsiteY112" fmla="*/ 4893 h 10000"/>
                <a:gd name="connsiteX113" fmla="*/ 9098 w 10000"/>
                <a:gd name="connsiteY113" fmla="*/ 4698 h 10000"/>
                <a:gd name="connsiteX114" fmla="*/ 9178 w 10000"/>
                <a:gd name="connsiteY114" fmla="*/ 4500 h 10000"/>
                <a:gd name="connsiteX115" fmla="*/ 9256 w 10000"/>
                <a:gd name="connsiteY115" fmla="*/ 4294 h 10000"/>
                <a:gd name="connsiteX116" fmla="*/ 9330 w 10000"/>
                <a:gd name="connsiteY116" fmla="*/ 4091 h 10000"/>
                <a:gd name="connsiteX117" fmla="*/ 9401 w 10000"/>
                <a:gd name="connsiteY117" fmla="*/ 3885 h 10000"/>
                <a:gd name="connsiteX118" fmla="*/ 9470 w 10000"/>
                <a:gd name="connsiteY118" fmla="*/ 3674 h 10000"/>
                <a:gd name="connsiteX119" fmla="*/ 9535 w 10000"/>
                <a:gd name="connsiteY119" fmla="*/ 3464 h 10000"/>
                <a:gd name="connsiteX120" fmla="*/ 9599 w 10000"/>
                <a:gd name="connsiteY120" fmla="*/ 3248 h 10000"/>
                <a:gd name="connsiteX121" fmla="*/ 9656 w 10000"/>
                <a:gd name="connsiteY121" fmla="*/ 3030 h 10000"/>
                <a:gd name="connsiteX122" fmla="*/ 9711 w 10000"/>
                <a:gd name="connsiteY122" fmla="*/ 2815 h 10000"/>
                <a:gd name="connsiteX123" fmla="*/ 9763 w 10000"/>
                <a:gd name="connsiteY123" fmla="*/ 2592 h 10000"/>
                <a:gd name="connsiteX124" fmla="*/ 9813 w 10000"/>
                <a:gd name="connsiteY124" fmla="*/ 2369 h 10000"/>
                <a:gd name="connsiteX125" fmla="*/ 9856 w 10000"/>
                <a:gd name="connsiteY125" fmla="*/ 2143 h 10000"/>
                <a:gd name="connsiteX126" fmla="*/ 9898 w 10000"/>
                <a:gd name="connsiteY126" fmla="*/ 1918 h 10000"/>
                <a:gd name="connsiteX127" fmla="*/ 9936 w 10000"/>
                <a:gd name="connsiteY127" fmla="*/ 1690 h 10000"/>
                <a:gd name="connsiteX128" fmla="*/ 9970 w 10000"/>
                <a:gd name="connsiteY128" fmla="*/ 1457 h 10000"/>
                <a:gd name="connsiteX129" fmla="*/ 10000 w 10000"/>
                <a:gd name="connsiteY129" fmla="*/ 1222 h 10000"/>
                <a:gd name="connsiteX130" fmla="*/ 7611 w 10000"/>
                <a:gd name="connsiteY130" fmla="*/ 1876 h 10000"/>
                <a:gd name="connsiteX131" fmla="*/ 5615 w 10000"/>
                <a:gd name="connsiteY13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0 w 10000"/>
                <a:gd name="connsiteY47" fmla="*/ 6085 h 10000"/>
                <a:gd name="connsiteX48" fmla="*/ 209 w 10000"/>
                <a:gd name="connsiteY48" fmla="*/ 9512 h 10000"/>
                <a:gd name="connsiteX49" fmla="*/ 344 w 10000"/>
                <a:gd name="connsiteY49" fmla="*/ 9569 h 10000"/>
                <a:gd name="connsiteX50" fmla="*/ 481 w 10000"/>
                <a:gd name="connsiteY50" fmla="*/ 9623 h 10000"/>
                <a:gd name="connsiteX51" fmla="*/ 621 w 10000"/>
                <a:gd name="connsiteY51" fmla="*/ 9673 h 10000"/>
                <a:gd name="connsiteX52" fmla="*/ 758 w 10000"/>
                <a:gd name="connsiteY52" fmla="*/ 9720 h 10000"/>
                <a:gd name="connsiteX53" fmla="*/ 899 w 10000"/>
                <a:gd name="connsiteY53" fmla="*/ 9765 h 10000"/>
                <a:gd name="connsiteX54" fmla="*/ 1040 w 10000"/>
                <a:gd name="connsiteY54" fmla="*/ 9804 h 10000"/>
                <a:gd name="connsiteX55" fmla="*/ 1182 w 10000"/>
                <a:gd name="connsiteY55" fmla="*/ 9839 h 10000"/>
                <a:gd name="connsiteX56" fmla="*/ 1325 w 10000"/>
                <a:gd name="connsiteY56" fmla="*/ 9874 h 10000"/>
                <a:gd name="connsiteX57" fmla="*/ 1471 w 10000"/>
                <a:gd name="connsiteY57" fmla="*/ 9903 h 10000"/>
                <a:gd name="connsiteX58" fmla="*/ 1614 w 10000"/>
                <a:gd name="connsiteY58" fmla="*/ 9926 h 10000"/>
                <a:gd name="connsiteX59" fmla="*/ 1760 w 10000"/>
                <a:gd name="connsiteY59" fmla="*/ 9948 h 10000"/>
                <a:gd name="connsiteX60" fmla="*/ 1906 w 10000"/>
                <a:gd name="connsiteY60" fmla="*/ 9965 h 10000"/>
                <a:gd name="connsiteX61" fmla="*/ 2052 w 10000"/>
                <a:gd name="connsiteY61" fmla="*/ 9980 h 10000"/>
                <a:gd name="connsiteX62" fmla="*/ 2202 w 10000"/>
                <a:gd name="connsiteY62" fmla="*/ 9990 h 10000"/>
                <a:gd name="connsiteX63" fmla="*/ 2350 w 10000"/>
                <a:gd name="connsiteY63" fmla="*/ 9995 h 10000"/>
                <a:gd name="connsiteX64" fmla="*/ 2498 w 10000"/>
                <a:gd name="connsiteY64" fmla="*/ 10000 h 10000"/>
                <a:gd name="connsiteX65" fmla="*/ 2677 w 10000"/>
                <a:gd name="connsiteY65" fmla="*/ 9995 h 10000"/>
                <a:gd name="connsiteX66" fmla="*/ 2850 w 10000"/>
                <a:gd name="connsiteY66" fmla="*/ 9988 h 10000"/>
                <a:gd name="connsiteX67" fmla="*/ 3024 w 10000"/>
                <a:gd name="connsiteY67" fmla="*/ 9975 h 10000"/>
                <a:gd name="connsiteX68" fmla="*/ 3195 w 10000"/>
                <a:gd name="connsiteY68" fmla="*/ 9953 h 10000"/>
                <a:gd name="connsiteX69" fmla="*/ 3368 w 10000"/>
                <a:gd name="connsiteY69" fmla="*/ 9931 h 10000"/>
                <a:gd name="connsiteX70" fmla="*/ 3538 w 10000"/>
                <a:gd name="connsiteY70" fmla="*/ 9898 h 10000"/>
                <a:gd name="connsiteX71" fmla="*/ 3709 w 10000"/>
                <a:gd name="connsiteY71" fmla="*/ 9866 h 10000"/>
                <a:gd name="connsiteX72" fmla="*/ 3877 w 10000"/>
                <a:gd name="connsiteY72" fmla="*/ 9824 h 10000"/>
                <a:gd name="connsiteX73" fmla="*/ 4042 w 10000"/>
                <a:gd name="connsiteY73" fmla="*/ 9779 h 10000"/>
                <a:gd name="connsiteX74" fmla="*/ 4210 w 10000"/>
                <a:gd name="connsiteY74" fmla="*/ 9730 h 10000"/>
                <a:gd name="connsiteX75" fmla="*/ 4372 w 10000"/>
                <a:gd name="connsiteY75" fmla="*/ 9673 h 10000"/>
                <a:gd name="connsiteX76" fmla="*/ 4536 w 10000"/>
                <a:gd name="connsiteY76" fmla="*/ 9616 h 10000"/>
                <a:gd name="connsiteX77" fmla="*/ 4697 w 10000"/>
                <a:gd name="connsiteY77" fmla="*/ 9552 h 10000"/>
                <a:gd name="connsiteX78" fmla="*/ 4857 w 10000"/>
                <a:gd name="connsiteY78" fmla="*/ 9482 h 10000"/>
                <a:gd name="connsiteX79" fmla="*/ 5014 w 10000"/>
                <a:gd name="connsiteY79" fmla="*/ 9405 h 10000"/>
                <a:gd name="connsiteX80" fmla="*/ 5171 w 10000"/>
                <a:gd name="connsiteY80" fmla="*/ 9329 h 10000"/>
                <a:gd name="connsiteX81" fmla="*/ 5326 w 10000"/>
                <a:gd name="connsiteY81" fmla="*/ 9244 h 10000"/>
                <a:gd name="connsiteX82" fmla="*/ 5480 w 10000"/>
                <a:gd name="connsiteY82" fmla="*/ 9158 h 10000"/>
                <a:gd name="connsiteX83" fmla="*/ 5631 w 10000"/>
                <a:gd name="connsiteY83" fmla="*/ 9063 h 10000"/>
                <a:gd name="connsiteX84" fmla="*/ 5781 w 10000"/>
                <a:gd name="connsiteY84" fmla="*/ 8967 h 10000"/>
                <a:gd name="connsiteX85" fmla="*/ 5931 w 10000"/>
                <a:gd name="connsiteY85" fmla="*/ 8865 h 10000"/>
                <a:gd name="connsiteX86" fmla="*/ 6075 w 10000"/>
                <a:gd name="connsiteY86" fmla="*/ 8759 h 10000"/>
                <a:gd name="connsiteX87" fmla="*/ 6221 w 10000"/>
                <a:gd name="connsiteY87" fmla="*/ 8652 h 10000"/>
                <a:gd name="connsiteX88" fmla="*/ 6364 w 10000"/>
                <a:gd name="connsiteY88" fmla="*/ 8536 h 10000"/>
                <a:gd name="connsiteX89" fmla="*/ 6505 w 10000"/>
                <a:gd name="connsiteY89" fmla="*/ 8417 h 10000"/>
                <a:gd name="connsiteX90" fmla="*/ 6642 w 10000"/>
                <a:gd name="connsiteY90" fmla="*/ 8295 h 10000"/>
                <a:gd name="connsiteX91" fmla="*/ 6780 w 10000"/>
                <a:gd name="connsiteY91" fmla="*/ 8169 h 10000"/>
                <a:gd name="connsiteX92" fmla="*/ 6913 w 10000"/>
                <a:gd name="connsiteY92" fmla="*/ 8040 h 10000"/>
                <a:gd name="connsiteX93" fmla="*/ 7045 w 10000"/>
                <a:gd name="connsiteY93" fmla="*/ 7904 h 10000"/>
                <a:gd name="connsiteX94" fmla="*/ 7175 w 10000"/>
                <a:gd name="connsiteY94" fmla="*/ 7768 h 10000"/>
                <a:gd name="connsiteX95" fmla="*/ 7304 w 10000"/>
                <a:gd name="connsiteY95" fmla="*/ 7624 h 10000"/>
                <a:gd name="connsiteX96" fmla="*/ 7429 w 10000"/>
                <a:gd name="connsiteY96" fmla="*/ 7480 h 10000"/>
                <a:gd name="connsiteX97" fmla="*/ 7552 w 10000"/>
                <a:gd name="connsiteY97" fmla="*/ 7329 h 10000"/>
                <a:gd name="connsiteX98" fmla="*/ 7673 w 10000"/>
                <a:gd name="connsiteY98" fmla="*/ 7178 h 10000"/>
                <a:gd name="connsiteX99" fmla="*/ 7792 w 10000"/>
                <a:gd name="connsiteY99" fmla="*/ 7024 h 10000"/>
                <a:gd name="connsiteX100" fmla="*/ 7907 w 10000"/>
                <a:gd name="connsiteY100" fmla="*/ 6861 h 10000"/>
                <a:gd name="connsiteX101" fmla="*/ 8022 w 10000"/>
                <a:gd name="connsiteY101" fmla="*/ 6697 h 10000"/>
                <a:gd name="connsiteX102" fmla="*/ 8133 w 10000"/>
                <a:gd name="connsiteY102" fmla="*/ 6534 h 10000"/>
                <a:gd name="connsiteX103" fmla="*/ 8240 w 10000"/>
                <a:gd name="connsiteY103" fmla="*/ 6365 h 10000"/>
                <a:gd name="connsiteX104" fmla="*/ 8347 w 10000"/>
                <a:gd name="connsiteY104" fmla="*/ 6189 h 10000"/>
                <a:gd name="connsiteX105" fmla="*/ 8450 w 10000"/>
                <a:gd name="connsiteY105" fmla="*/ 6016 h 10000"/>
                <a:gd name="connsiteX106" fmla="*/ 8552 w 10000"/>
                <a:gd name="connsiteY106" fmla="*/ 5835 h 10000"/>
                <a:gd name="connsiteX107" fmla="*/ 8650 w 10000"/>
                <a:gd name="connsiteY107" fmla="*/ 5652 h 10000"/>
                <a:gd name="connsiteX108" fmla="*/ 8745 w 10000"/>
                <a:gd name="connsiteY108" fmla="*/ 5468 h 10000"/>
                <a:gd name="connsiteX109" fmla="*/ 8837 w 10000"/>
                <a:gd name="connsiteY109" fmla="*/ 5278 h 10000"/>
                <a:gd name="connsiteX110" fmla="*/ 8927 w 10000"/>
                <a:gd name="connsiteY110" fmla="*/ 5089 h 10000"/>
                <a:gd name="connsiteX111" fmla="*/ 9014 w 10000"/>
                <a:gd name="connsiteY111" fmla="*/ 4893 h 10000"/>
                <a:gd name="connsiteX112" fmla="*/ 9098 w 10000"/>
                <a:gd name="connsiteY112" fmla="*/ 4698 h 10000"/>
                <a:gd name="connsiteX113" fmla="*/ 9178 w 10000"/>
                <a:gd name="connsiteY113" fmla="*/ 4500 h 10000"/>
                <a:gd name="connsiteX114" fmla="*/ 9256 w 10000"/>
                <a:gd name="connsiteY114" fmla="*/ 4294 h 10000"/>
                <a:gd name="connsiteX115" fmla="*/ 9330 w 10000"/>
                <a:gd name="connsiteY115" fmla="*/ 4091 h 10000"/>
                <a:gd name="connsiteX116" fmla="*/ 9401 w 10000"/>
                <a:gd name="connsiteY116" fmla="*/ 3885 h 10000"/>
                <a:gd name="connsiteX117" fmla="*/ 9470 w 10000"/>
                <a:gd name="connsiteY117" fmla="*/ 3674 h 10000"/>
                <a:gd name="connsiteX118" fmla="*/ 9535 w 10000"/>
                <a:gd name="connsiteY118" fmla="*/ 3464 h 10000"/>
                <a:gd name="connsiteX119" fmla="*/ 9599 w 10000"/>
                <a:gd name="connsiteY119" fmla="*/ 3248 h 10000"/>
                <a:gd name="connsiteX120" fmla="*/ 9656 w 10000"/>
                <a:gd name="connsiteY120" fmla="*/ 3030 h 10000"/>
                <a:gd name="connsiteX121" fmla="*/ 9711 w 10000"/>
                <a:gd name="connsiteY121" fmla="*/ 2815 h 10000"/>
                <a:gd name="connsiteX122" fmla="*/ 9763 w 10000"/>
                <a:gd name="connsiteY122" fmla="*/ 2592 h 10000"/>
                <a:gd name="connsiteX123" fmla="*/ 9813 w 10000"/>
                <a:gd name="connsiteY123" fmla="*/ 2369 h 10000"/>
                <a:gd name="connsiteX124" fmla="*/ 9856 w 10000"/>
                <a:gd name="connsiteY124" fmla="*/ 2143 h 10000"/>
                <a:gd name="connsiteX125" fmla="*/ 9898 w 10000"/>
                <a:gd name="connsiteY125" fmla="*/ 1918 h 10000"/>
                <a:gd name="connsiteX126" fmla="*/ 9936 w 10000"/>
                <a:gd name="connsiteY126" fmla="*/ 1690 h 10000"/>
                <a:gd name="connsiteX127" fmla="*/ 9970 w 10000"/>
                <a:gd name="connsiteY127" fmla="*/ 1457 h 10000"/>
                <a:gd name="connsiteX128" fmla="*/ 10000 w 10000"/>
                <a:gd name="connsiteY128" fmla="*/ 1222 h 10000"/>
                <a:gd name="connsiteX129" fmla="*/ 7611 w 10000"/>
                <a:gd name="connsiteY129" fmla="*/ 1876 h 10000"/>
                <a:gd name="connsiteX130" fmla="*/ 5615 w 10000"/>
                <a:gd name="connsiteY13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0 w 10000"/>
                <a:gd name="connsiteY46" fmla="*/ 6085 h 10000"/>
                <a:gd name="connsiteX47" fmla="*/ 209 w 10000"/>
                <a:gd name="connsiteY47" fmla="*/ 9512 h 10000"/>
                <a:gd name="connsiteX48" fmla="*/ 344 w 10000"/>
                <a:gd name="connsiteY48" fmla="*/ 9569 h 10000"/>
                <a:gd name="connsiteX49" fmla="*/ 481 w 10000"/>
                <a:gd name="connsiteY49" fmla="*/ 9623 h 10000"/>
                <a:gd name="connsiteX50" fmla="*/ 621 w 10000"/>
                <a:gd name="connsiteY50" fmla="*/ 9673 h 10000"/>
                <a:gd name="connsiteX51" fmla="*/ 758 w 10000"/>
                <a:gd name="connsiteY51" fmla="*/ 9720 h 10000"/>
                <a:gd name="connsiteX52" fmla="*/ 899 w 10000"/>
                <a:gd name="connsiteY52" fmla="*/ 9765 h 10000"/>
                <a:gd name="connsiteX53" fmla="*/ 1040 w 10000"/>
                <a:gd name="connsiteY53" fmla="*/ 9804 h 10000"/>
                <a:gd name="connsiteX54" fmla="*/ 1182 w 10000"/>
                <a:gd name="connsiteY54" fmla="*/ 9839 h 10000"/>
                <a:gd name="connsiteX55" fmla="*/ 1325 w 10000"/>
                <a:gd name="connsiteY55" fmla="*/ 9874 h 10000"/>
                <a:gd name="connsiteX56" fmla="*/ 1471 w 10000"/>
                <a:gd name="connsiteY56" fmla="*/ 9903 h 10000"/>
                <a:gd name="connsiteX57" fmla="*/ 1614 w 10000"/>
                <a:gd name="connsiteY57" fmla="*/ 9926 h 10000"/>
                <a:gd name="connsiteX58" fmla="*/ 1760 w 10000"/>
                <a:gd name="connsiteY58" fmla="*/ 9948 h 10000"/>
                <a:gd name="connsiteX59" fmla="*/ 1906 w 10000"/>
                <a:gd name="connsiteY59" fmla="*/ 9965 h 10000"/>
                <a:gd name="connsiteX60" fmla="*/ 2052 w 10000"/>
                <a:gd name="connsiteY60" fmla="*/ 9980 h 10000"/>
                <a:gd name="connsiteX61" fmla="*/ 2202 w 10000"/>
                <a:gd name="connsiteY61" fmla="*/ 9990 h 10000"/>
                <a:gd name="connsiteX62" fmla="*/ 2350 w 10000"/>
                <a:gd name="connsiteY62" fmla="*/ 9995 h 10000"/>
                <a:gd name="connsiteX63" fmla="*/ 2498 w 10000"/>
                <a:gd name="connsiteY63" fmla="*/ 10000 h 10000"/>
                <a:gd name="connsiteX64" fmla="*/ 2677 w 10000"/>
                <a:gd name="connsiteY64" fmla="*/ 9995 h 10000"/>
                <a:gd name="connsiteX65" fmla="*/ 2850 w 10000"/>
                <a:gd name="connsiteY65" fmla="*/ 9988 h 10000"/>
                <a:gd name="connsiteX66" fmla="*/ 3024 w 10000"/>
                <a:gd name="connsiteY66" fmla="*/ 9975 h 10000"/>
                <a:gd name="connsiteX67" fmla="*/ 3195 w 10000"/>
                <a:gd name="connsiteY67" fmla="*/ 9953 h 10000"/>
                <a:gd name="connsiteX68" fmla="*/ 3368 w 10000"/>
                <a:gd name="connsiteY68" fmla="*/ 9931 h 10000"/>
                <a:gd name="connsiteX69" fmla="*/ 3538 w 10000"/>
                <a:gd name="connsiteY69" fmla="*/ 9898 h 10000"/>
                <a:gd name="connsiteX70" fmla="*/ 3709 w 10000"/>
                <a:gd name="connsiteY70" fmla="*/ 9866 h 10000"/>
                <a:gd name="connsiteX71" fmla="*/ 3877 w 10000"/>
                <a:gd name="connsiteY71" fmla="*/ 9824 h 10000"/>
                <a:gd name="connsiteX72" fmla="*/ 4042 w 10000"/>
                <a:gd name="connsiteY72" fmla="*/ 9779 h 10000"/>
                <a:gd name="connsiteX73" fmla="*/ 4210 w 10000"/>
                <a:gd name="connsiteY73" fmla="*/ 9730 h 10000"/>
                <a:gd name="connsiteX74" fmla="*/ 4372 w 10000"/>
                <a:gd name="connsiteY74" fmla="*/ 9673 h 10000"/>
                <a:gd name="connsiteX75" fmla="*/ 4536 w 10000"/>
                <a:gd name="connsiteY75" fmla="*/ 9616 h 10000"/>
                <a:gd name="connsiteX76" fmla="*/ 4697 w 10000"/>
                <a:gd name="connsiteY76" fmla="*/ 9552 h 10000"/>
                <a:gd name="connsiteX77" fmla="*/ 4857 w 10000"/>
                <a:gd name="connsiteY77" fmla="*/ 9482 h 10000"/>
                <a:gd name="connsiteX78" fmla="*/ 5014 w 10000"/>
                <a:gd name="connsiteY78" fmla="*/ 9405 h 10000"/>
                <a:gd name="connsiteX79" fmla="*/ 5171 w 10000"/>
                <a:gd name="connsiteY79" fmla="*/ 9329 h 10000"/>
                <a:gd name="connsiteX80" fmla="*/ 5326 w 10000"/>
                <a:gd name="connsiteY80" fmla="*/ 9244 h 10000"/>
                <a:gd name="connsiteX81" fmla="*/ 5480 w 10000"/>
                <a:gd name="connsiteY81" fmla="*/ 9158 h 10000"/>
                <a:gd name="connsiteX82" fmla="*/ 5631 w 10000"/>
                <a:gd name="connsiteY82" fmla="*/ 9063 h 10000"/>
                <a:gd name="connsiteX83" fmla="*/ 5781 w 10000"/>
                <a:gd name="connsiteY83" fmla="*/ 8967 h 10000"/>
                <a:gd name="connsiteX84" fmla="*/ 5931 w 10000"/>
                <a:gd name="connsiteY84" fmla="*/ 8865 h 10000"/>
                <a:gd name="connsiteX85" fmla="*/ 6075 w 10000"/>
                <a:gd name="connsiteY85" fmla="*/ 8759 h 10000"/>
                <a:gd name="connsiteX86" fmla="*/ 6221 w 10000"/>
                <a:gd name="connsiteY86" fmla="*/ 8652 h 10000"/>
                <a:gd name="connsiteX87" fmla="*/ 6364 w 10000"/>
                <a:gd name="connsiteY87" fmla="*/ 8536 h 10000"/>
                <a:gd name="connsiteX88" fmla="*/ 6505 w 10000"/>
                <a:gd name="connsiteY88" fmla="*/ 8417 h 10000"/>
                <a:gd name="connsiteX89" fmla="*/ 6642 w 10000"/>
                <a:gd name="connsiteY89" fmla="*/ 8295 h 10000"/>
                <a:gd name="connsiteX90" fmla="*/ 6780 w 10000"/>
                <a:gd name="connsiteY90" fmla="*/ 8169 h 10000"/>
                <a:gd name="connsiteX91" fmla="*/ 6913 w 10000"/>
                <a:gd name="connsiteY91" fmla="*/ 8040 h 10000"/>
                <a:gd name="connsiteX92" fmla="*/ 7045 w 10000"/>
                <a:gd name="connsiteY92" fmla="*/ 7904 h 10000"/>
                <a:gd name="connsiteX93" fmla="*/ 7175 w 10000"/>
                <a:gd name="connsiteY93" fmla="*/ 7768 h 10000"/>
                <a:gd name="connsiteX94" fmla="*/ 7304 w 10000"/>
                <a:gd name="connsiteY94" fmla="*/ 7624 h 10000"/>
                <a:gd name="connsiteX95" fmla="*/ 7429 w 10000"/>
                <a:gd name="connsiteY95" fmla="*/ 7480 h 10000"/>
                <a:gd name="connsiteX96" fmla="*/ 7552 w 10000"/>
                <a:gd name="connsiteY96" fmla="*/ 7329 h 10000"/>
                <a:gd name="connsiteX97" fmla="*/ 7673 w 10000"/>
                <a:gd name="connsiteY97" fmla="*/ 7178 h 10000"/>
                <a:gd name="connsiteX98" fmla="*/ 7792 w 10000"/>
                <a:gd name="connsiteY98" fmla="*/ 7024 h 10000"/>
                <a:gd name="connsiteX99" fmla="*/ 7907 w 10000"/>
                <a:gd name="connsiteY99" fmla="*/ 6861 h 10000"/>
                <a:gd name="connsiteX100" fmla="*/ 8022 w 10000"/>
                <a:gd name="connsiteY100" fmla="*/ 6697 h 10000"/>
                <a:gd name="connsiteX101" fmla="*/ 8133 w 10000"/>
                <a:gd name="connsiteY101" fmla="*/ 6534 h 10000"/>
                <a:gd name="connsiteX102" fmla="*/ 8240 w 10000"/>
                <a:gd name="connsiteY102" fmla="*/ 6365 h 10000"/>
                <a:gd name="connsiteX103" fmla="*/ 8347 w 10000"/>
                <a:gd name="connsiteY103" fmla="*/ 6189 h 10000"/>
                <a:gd name="connsiteX104" fmla="*/ 8450 w 10000"/>
                <a:gd name="connsiteY104" fmla="*/ 6016 h 10000"/>
                <a:gd name="connsiteX105" fmla="*/ 8552 w 10000"/>
                <a:gd name="connsiteY105" fmla="*/ 5835 h 10000"/>
                <a:gd name="connsiteX106" fmla="*/ 8650 w 10000"/>
                <a:gd name="connsiteY106" fmla="*/ 5652 h 10000"/>
                <a:gd name="connsiteX107" fmla="*/ 8745 w 10000"/>
                <a:gd name="connsiteY107" fmla="*/ 5468 h 10000"/>
                <a:gd name="connsiteX108" fmla="*/ 8837 w 10000"/>
                <a:gd name="connsiteY108" fmla="*/ 5278 h 10000"/>
                <a:gd name="connsiteX109" fmla="*/ 8927 w 10000"/>
                <a:gd name="connsiteY109" fmla="*/ 5089 h 10000"/>
                <a:gd name="connsiteX110" fmla="*/ 9014 w 10000"/>
                <a:gd name="connsiteY110" fmla="*/ 4893 h 10000"/>
                <a:gd name="connsiteX111" fmla="*/ 9098 w 10000"/>
                <a:gd name="connsiteY111" fmla="*/ 4698 h 10000"/>
                <a:gd name="connsiteX112" fmla="*/ 9178 w 10000"/>
                <a:gd name="connsiteY112" fmla="*/ 4500 h 10000"/>
                <a:gd name="connsiteX113" fmla="*/ 9256 w 10000"/>
                <a:gd name="connsiteY113" fmla="*/ 4294 h 10000"/>
                <a:gd name="connsiteX114" fmla="*/ 9330 w 10000"/>
                <a:gd name="connsiteY114" fmla="*/ 4091 h 10000"/>
                <a:gd name="connsiteX115" fmla="*/ 9401 w 10000"/>
                <a:gd name="connsiteY115" fmla="*/ 3885 h 10000"/>
                <a:gd name="connsiteX116" fmla="*/ 9470 w 10000"/>
                <a:gd name="connsiteY116" fmla="*/ 3674 h 10000"/>
                <a:gd name="connsiteX117" fmla="*/ 9535 w 10000"/>
                <a:gd name="connsiteY117" fmla="*/ 3464 h 10000"/>
                <a:gd name="connsiteX118" fmla="*/ 9599 w 10000"/>
                <a:gd name="connsiteY118" fmla="*/ 3248 h 10000"/>
                <a:gd name="connsiteX119" fmla="*/ 9656 w 10000"/>
                <a:gd name="connsiteY119" fmla="*/ 3030 h 10000"/>
                <a:gd name="connsiteX120" fmla="*/ 9711 w 10000"/>
                <a:gd name="connsiteY120" fmla="*/ 2815 h 10000"/>
                <a:gd name="connsiteX121" fmla="*/ 9763 w 10000"/>
                <a:gd name="connsiteY121" fmla="*/ 2592 h 10000"/>
                <a:gd name="connsiteX122" fmla="*/ 9813 w 10000"/>
                <a:gd name="connsiteY122" fmla="*/ 2369 h 10000"/>
                <a:gd name="connsiteX123" fmla="*/ 9856 w 10000"/>
                <a:gd name="connsiteY123" fmla="*/ 2143 h 10000"/>
                <a:gd name="connsiteX124" fmla="*/ 9898 w 10000"/>
                <a:gd name="connsiteY124" fmla="*/ 1918 h 10000"/>
                <a:gd name="connsiteX125" fmla="*/ 9936 w 10000"/>
                <a:gd name="connsiteY125" fmla="*/ 1690 h 10000"/>
                <a:gd name="connsiteX126" fmla="*/ 9970 w 10000"/>
                <a:gd name="connsiteY126" fmla="*/ 1457 h 10000"/>
                <a:gd name="connsiteX127" fmla="*/ 10000 w 10000"/>
                <a:gd name="connsiteY127" fmla="*/ 1222 h 10000"/>
                <a:gd name="connsiteX128" fmla="*/ 7611 w 10000"/>
                <a:gd name="connsiteY128" fmla="*/ 1876 h 10000"/>
                <a:gd name="connsiteX129" fmla="*/ 5615 w 10000"/>
                <a:gd name="connsiteY12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0 w 10000"/>
                <a:gd name="connsiteY45" fmla="*/ 6085 h 10000"/>
                <a:gd name="connsiteX46" fmla="*/ 209 w 10000"/>
                <a:gd name="connsiteY46" fmla="*/ 9512 h 10000"/>
                <a:gd name="connsiteX47" fmla="*/ 344 w 10000"/>
                <a:gd name="connsiteY47" fmla="*/ 9569 h 10000"/>
                <a:gd name="connsiteX48" fmla="*/ 481 w 10000"/>
                <a:gd name="connsiteY48" fmla="*/ 9623 h 10000"/>
                <a:gd name="connsiteX49" fmla="*/ 621 w 10000"/>
                <a:gd name="connsiteY49" fmla="*/ 9673 h 10000"/>
                <a:gd name="connsiteX50" fmla="*/ 758 w 10000"/>
                <a:gd name="connsiteY50" fmla="*/ 9720 h 10000"/>
                <a:gd name="connsiteX51" fmla="*/ 899 w 10000"/>
                <a:gd name="connsiteY51" fmla="*/ 9765 h 10000"/>
                <a:gd name="connsiteX52" fmla="*/ 1040 w 10000"/>
                <a:gd name="connsiteY52" fmla="*/ 9804 h 10000"/>
                <a:gd name="connsiteX53" fmla="*/ 1182 w 10000"/>
                <a:gd name="connsiteY53" fmla="*/ 9839 h 10000"/>
                <a:gd name="connsiteX54" fmla="*/ 1325 w 10000"/>
                <a:gd name="connsiteY54" fmla="*/ 9874 h 10000"/>
                <a:gd name="connsiteX55" fmla="*/ 1471 w 10000"/>
                <a:gd name="connsiteY55" fmla="*/ 9903 h 10000"/>
                <a:gd name="connsiteX56" fmla="*/ 1614 w 10000"/>
                <a:gd name="connsiteY56" fmla="*/ 9926 h 10000"/>
                <a:gd name="connsiteX57" fmla="*/ 1760 w 10000"/>
                <a:gd name="connsiteY57" fmla="*/ 9948 h 10000"/>
                <a:gd name="connsiteX58" fmla="*/ 1906 w 10000"/>
                <a:gd name="connsiteY58" fmla="*/ 9965 h 10000"/>
                <a:gd name="connsiteX59" fmla="*/ 2052 w 10000"/>
                <a:gd name="connsiteY59" fmla="*/ 9980 h 10000"/>
                <a:gd name="connsiteX60" fmla="*/ 2202 w 10000"/>
                <a:gd name="connsiteY60" fmla="*/ 9990 h 10000"/>
                <a:gd name="connsiteX61" fmla="*/ 2350 w 10000"/>
                <a:gd name="connsiteY61" fmla="*/ 9995 h 10000"/>
                <a:gd name="connsiteX62" fmla="*/ 2498 w 10000"/>
                <a:gd name="connsiteY62" fmla="*/ 10000 h 10000"/>
                <a:gd name="connsiteX63" fmla="*/ 2677 w 10000"/>
                <a:gd name="connsiteY63" fmla="*/ 9995 h 10000"/>
                <a:gd name="connsiteX64" fmla="*/ 2850 w 10000"/>
                <a:gd name="connsiteY64" fmla="*/ 9988 h 10000"/>
                <a:gd name="connsiteX65" fmla="*/ 3024 w 10000"/>
                <a:gd name="connsiteY65" fmla="*/ 9975 h 10000"/>
                <a:gd name="connsiteX66" fmla="*/ 3195 w 10000"/>
                <a:gd name="connsiteY66" fmla="*/ 9953 h 10000"/>
                <a:gd name="connsiteX67" fmla="*/ 3368 w 10000"/>
                <a:gd name="connsiteY67" fmla="*/ 9931 h 10000"/>
                <a:gd name="connsiteX68" fmla="*/ 3538 w 10000"/>
                <a:gd name="connsiteY68" fmla="*/ 9898 h 10000"/>
                <a:gd name="connsiteX69" fmla="*/ 3709 w 10000"/>
                <a:gd name="connsiteY69" fmla="*/ 9866 h 10000"/>
                <a:gd name="connsiteX70" fmla="*/ 3877 w 10000"/>
                <a:gd name="connsiteY70" fmla="*/ 9824 h 10000"/>
                <a:gd name="connsiteX71" fmla="*/ 4042 w 10000"/>
                <a:gd name="connsiteY71" fmla="*/ 9779 h 10000"/>
                <a:gd name="connsiteX72" fmla="*/ 4210 w 10000"/>
                <a:gd name="connsiteY72" fmla="*/ 9730 h 10000"/>
                <a:gd name="connsiteX73" fmla="*/ 4372 w 10000"/>
                <a:gd name="connsiteY73" fmla="*/ 9673 h 10000"/>
                <a:gd name="connsiteX74" fmla="*/ 4536 w 10000"/>
                <a:gd name="connsiteY74" fmla="*/ 9616 h 10000"/>
                <a:gd name="connsiteX75" fmla="*/ 4697 w 10000"/>
                <a:gd name="connsiteY75" fmla="*/ 9552 h 10000"/>
                <a:gd name="connsiteX76" fmla="*/ 4857 w 10000"/>
                <a:gd name="connsiteY76" fmla="*/ 9482 h 10000"/>
                <a:gd name="connsiteX77" fmla="*/ 5014 w 10000"/>
                <a:gd name="connsiteY77" fmla="*/ 9405 h 10000"/>
                <a:gd name="connsiteX78" fmla="*/ 5171 w 10000"/>
                <a:gd name="connsiteY78" fmla="*/ 9329 h 10000"/>
                <a:gd name="connsiteX79" fmla="*/ 5326 w 10000"/>
                <a:gd name="connsiteY79" fmla="*/ 9244 h 10000"/>
                <a:gd name="connsiteX80" fmla="*/ 5480 w 10000"/>
                <a:gd name="connsiteY80" fmla="*/ 9158 h 10000"/>
                <a:gd name="connsiteX81" fmla="*/ 5631 w 10000"/>
                <a:gd name="connsiteY81" fmla="*/ 9063 h 10000"/>
                <a:gd name="connsiteX82" fmla="*/ 5781 w 10000"/>
                <a:gd name="connsiteY82" fmla="*/ 8967 h 10000"/>
                <a:gd name="connsiteX83" fmla="*/ 5931 w 10000"/>
                <a:gd name="connsiteY83" fmla="*/ 8865 h 10000"/>
                <a:gd name="connsiteX84" fmla="*/ 6075 w 10000"/>
                <a:gd name="connsiteY84" fmla="*/ 8759 h 10000"/>
                <a:gd name="connsiteX85" fmla="*/ 6221 w 10000"/>
                <a:gd name="connsiteY85" fmla="*/ 8652 h 10000"/>
                <a:gd name="connsiteX86" fmla="*/ 6364 w 10000"/>
                <a:gd name="connsiteY86" fmla="*/ 8536 h 10000"/>
                <a:gd name="connsiteX87" fmla="*/ 6505 w 10000"/>
                <a:gd name="connsiteY87" fmla="*/ 8417 h 10000"/>
                <a:gd name="connsiteX88" fmla="*/ 6642 w 10000"/>
                <a:gd name="connsiteY88" fmla="*/ 8295 h 10000"/>
                <a:gd name="connsiteX89" fmla="*/ 6780 w 10000"/>
                <a:gd name="connsiteY89" fmla="*/ 8169 h 10000"/>
                <a:gd name="connsiteX90" fmla="*/ 6913 w 10000"/>
                <a:gd name="connsiteY90" fmla="*/ 8040 h 10000"/>
                <a:gd name="connsiteX91" fmla="*/ 7045 w 10000"/>
                <a:gd name="connsiteY91" fmla="*/ 7904 h 10000"/>
                <a:gd name="connsiteX92" fmla="*/ 7175 w 10000"/>
                <a:gd name="connsiteY92" fmla="*/ 7768 h 10000"/>
                <a:gd name="connsiteX93" fmla="*/ 7304 w 10000"/>
                <a:gd name="connsiteY93" fmla="*/ 7624 h 10000"/>
                <a:gd name="connsiteX94" fmla="*/ 7429 w 10000"/>
                <a:gd name="connsiteY94" fmla="*/ 7480 h 10000"/>
                <a:gd name="connsiteX95" fmla="*/ 7552 w 10000"/>
                <a:gd name="connsiteY95" fmla="*/ 7329 h 10000"/>
                <a:gd name="connsiteX96" fmla="*/ 7673 w 10000"/>
                <a:gd name="connsiteY96" fmla="*/ 7178 h 10000"/>
                <a:gd name="connsiteX97" fmla="*/ 7792 w 10000"/>
                <a:gd name="connsiteY97" fmla="*/ 7024 h 10000"/>
                <a:gd name="connsiteX98" fmla="*/ 7907 w 10000"/>
                <a:gd name="connsiteY98" fmla="*/ 6861 h 10000"/>
                <a:gd name="connsiteX99" fmla="*/ 8022 w 10000"/>
                <a:gd name="connsiteY99" fmla="*/ 6697 h 10000"/>
                <a:gd name="connsiteX100" fmla="*/ 8133 w 10000"/>
                <a:gd name="connsiteY100" fmla="*/ 6534 h 10000"/>
                <a:gd name="connsiteX101" fmla="*/ 8240 w 10000"/>
                <a:gd name="connsiteY101" fmla="*/ 6365 h 10000"/>
                <a:gd name="connsiteX102" fmla="*/ 8347 w 10000"/>
                <a:gd name="connsiteY102" fmla="*/ 6189 h 10000"/>
                <a:gd name="connsiteX103" fmla="*/ 8450 w 10000"/>
                <a:gd name="connsiteY103" fmla="*/ 6016 h 10000"/>
                <a:gd name="connsiteX104" fmla="*/ 8552 w 10000"/>
                <a:gd name="connsiteY104" fmla="*/ 5835 h 10000"/>
                <a:gd name="connsiteX105" fmla="*/ 8650 w 10000"/>
                <a:gd name="connsiteY105" fmla="*/ 5652 h 10000"/>
                <a:gd name="connsiteX106" fmla="*/ 8745 w 10000"/>
                <a:gd name="connsiteY106" fmla="*/ 5468 h 10000"/>
                <a:gd name="connsiteX107" fmla="*/ 8837 w 10000"/>
                <a:gd name="connsiteY107" fmla="*/ 5278 h 10000"/>
                <a:gd name="connsiteX108" fmla="*/ 8927 w 10000"/>
                <a:gd name="connsiteY108" fmla="*/ 5089 h 10000"/>
                <a:gd name="connsiteX109" fmla="*/ 9014 w 10000"/>
                <a:gd name="connsiteY109" fmla="*/ 4893 h 10000"/>
                <a:gd name="connsiteX110" fmla="*/ 9098 w 10000"/>
                <a:gd name="connsiteY110" fmla="*/ 4698 h 10000"/>
                <a:gd name="connsiteX111" fmla="*/ 9178 w 10000"/>
                <a:gd name="connsiteY111" fmla="*/ 4500 h 10000"/>
                <a:gd name="connsiteX112" fmla="*/ 9256 w 10000"/>
                <a:gd name="connsiteY112" fmla="*/ 4294 h 10000"/>
                <a:gd name="connsiteX113" fmla="*/ 9330 w 10000"/>
                <a:gd name="connsiteY113" fmla="*/ 4091 h 10000"/>
                <a:gd name="connsiteX114" fmla="*/ 9401 w 10000"/>
                <a:gd name="connsiteY114" fmla="*/ 3885 h 10000"/>
                <a:gd name="connsiteX115" fmla="*/ 9470 w 10000"/>
                <a:gd name="connsiteY115" fmla="*/ 3674 h 10000"/>
                <a:gd name="connsiteX116" fmla="*/ 9535 w 10000"/>
                <a:gd name="connsiteY116" fmla="*/ 3464 h 10000"/>
                <a:gd name="connsiteX117" fmla="*/ 9599 w 10000"/>
                <a:gd name="connsiteY117" fmla="*/ 3248 h 10000"/>
                <a:gd name="connsiteX118" fmla="*/ 9656 w 10000"/>
                <a:gd name="connsiteY118" fmla="*/ 3030 h 10000"/>
                <a:gd name="connsiteX119" fmla="*/ 9711 w 10000"/>
                <a:gd name="connsiteY119" fmla="*/ 2815 h 10000"/>
                <a:gd name="connsiteX120" fmla="*/ 9763 w 10000"/>
                <a:gd name="connsiteY120" fmla="*/ 2592 h 10000"/>
                <a:gd name="connsiteX121" fmla="*/ 9813 w 10000"/>
                <a:gd name="connsiteY121" fmla="*/ 2369 h 10000"/>
                <a:gd name="connsiteX122" fmla="*/ 9856 w 10000"/>
                <a:gd name="connsiteY122" fmla="*/ 2143 h 10000"/>
                <a:gd name="connsiteX123" fmla="*/ 9898 w 10000"/>
                <a:gd name="connsiteY123" fmla="*/ 1918 h 10000"/>
                <a:gd name="connsiteX124" fmla="*/ 9936 w 10000"/>
                <a:gd name="connsiteY124" fmla="*/ 1690 h 10000"/>
                <a:gd name="connsiteX125" fmla="*/ 9970 w 10000"/>
                <a:gd name="connsiteY125" fmla="*/ 1457 h 10000"/>
                <a:gd name="connsiteX126" fmla="*/ 10000 w 10000"/>
                <a:gd name="connsiteY126" fmla="*/ 1222 h 10000"/>
                <a:gd name="connsiteX127" fmla="*/ 7611 w 10000"/>
                <a:gd name="connsiteY127" fmla="*/ 1876 h 10000"/>
                <a:gd name="connsiteX128" fmla="*/ 5615 w 10000"/>
                <a:gd name="connsiteY12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0 w 10000"/>
                <a:gd name="connsiteY44" fmla="*/ 6085 h 10000"/>
                <a:gd name="connsiteX45" fmla="*/ 209 w 10000"/>
                <a:gd name="connsiteY45" fmla="*/ 9512 h 10000"/>
                <a:gd name="connsiteX46" fmla="*/ 344 w 10000"/>
                <a:gd name="connsiteY46" fmla="*/ 9569 h 10000"/>
                <a:gd name="connsiteX47" fmla="*/ 481 w 10000"/>
                <a:gd name="connsiteY47" fmla="*/ 9623 h 10000"/>
                <a:gd name="connsiteX48" fmla="*/ 621 w 10000"/>
                <a:gd name="connsiteY48" fmla="*/ 9673 h 10000"/>
                <a:gd name="connsiteX49" fmla="*/ 758 w 10000"/>
                <a:gd name="connsiteY49" fmla="*/ 9720 h 10000"/>
                <a:gd name="connsiteX50" fmla="*/ 899 w 10000"/>
                <a:gd name="connsiteY50" fmla="*/ 9765 h 10000"/>
                <a:gd name="connsiteX51" fmla="*/ 1040 w 10000"/>
                <a:gd name="connsiteY51" fmla="*/ 9804 h 10000"/>
                <a:gd name="connsiteX52" fmla="*/ 1182 w 10000"/>
                <a:gd name="connsiteY52" fmla="*/ 9839 h 10000"/>
                <a:gd name="connsiteX53" fmla="*/ 1325 w 10000"/>
                <a:gd name="connsiteY53" fmla="*/ 9874 h 10000"/>
                <a:gd name="connsiteX54" fmla="*/ 1471 w 10000"/>
                <a:gd name="connsiteY54" fmla="*/ 9903 h 10000"/>
                <a:gd name="connsiteX55" fmla="*/ 1614 w 10000"/>
                <a:gd name="connsiteY55" fmla="*/ 9926 h 10000"/>
                <a:gd name="connsiteX56" fmla="*/ 1760 w 10000"/>
                <a:gd name="connsiteY56" fmla="*/ 9948 h 10000"/>
                <a:gd name="connsiteX57" fmla="*/ 1906 w 10000"/>
                <a:gd name="connsiteY57" fmla="*/ 9965 h 10000"/>
                <a:gd name="connsiteX58" fmla="*/ 2052 w 10000"/>
                <a:gd name="connsiteY58" fmla="*/ 9980 h 10000"/>
                <a:gd name="connsiteX59" fmla="*/ 2202 w 10000"/>
                <a:gd name="connsiteY59" fmla="*/ 9990 h 10000"/>
                <a:gd name="connsiteX60" fmla="*/ 2350 w 10000"/>
                <a:gd name="connsiteY60" fmla="*/ 9995 h 10000"/>
                <a:gd name="connsiteX61" fmla="*/ 2498 w 10000"/>
                <a:gd name="connsiteY61" fmla="*/ 10000 h 10000"/>
                <a:gd name="connsiteX62" fmla="*/ 2677 w 10000"/>
                <a:gd name="connsiteY62" fmla="*/ 9995 h 10000"/>
                <a:gd name="connsiteX63" fmla="*/ 2850 w 10000"/>
                <a:gd name="connsiteY63" fmla="*/ 9988 h 10000"/>
                <a:gd name="connsiteX64" fmla="*/ 3024 w 10000"/>
                <a:gd name="connsiteY64" fmla="*/ 9975 h 10000"/>
                <a:gd name="connsiteX65" fmla="*/ 3195 w 10000"/>
                <a:gd name="connsiteY65" fmla="*/ 9953 h 10000"/>
                <a:gd name="connsiteX66" fmla="*/ 3368 w 10000"/>
                <a:gd name="connsiteY66" fmla="*/ 9931 h 10000"/>
                <a:gd name="connsiteX67" fmla="*/ 3538 w 10000"/>
                <a:gd name="connsiteY67" fmla="*/ 9898 h 10000"/>
                <a:gd name="connsiteX68" fmla="*/ 3709 w 10000"/>
                <a:gd name="connsiteY68" fmla="*/ 9866 h 10000"/>
                <a:gd name="connsiteX69" fmla="*/ 3877 w 10000"/>
                <a:gd name="connsiteY69" fmla="*/ 9824 h 10000"/>
                <a:gd name="connsiteX70" fmla="*/ 4042 w 10000"/>
                <a:gd name="connsiteY70" fmla="*/ 9779 h 10000"/>
                <a:gd name="connsiteX71" fmla="*/ 4210 w 10000"/>
                <a:gd name="connsiteY71" fmla="*/ 9730 h 10000"/>
                <a:gd name="connsiteX72" fmla="*/ 4372 w 10000"/>
                <a:gd name="connsiteY72" fmla="*/ 9673 h 10000"/>
                <a:gd name="connsiteX73" fmla="*/ 4536 w 10000"/>
                <a:gd name="connsiteY73" fmla="*/ 9616 h 10000"/>
                <a:gd name="connsiteX74" fmla="*/ 4697 w 10000"/>
                <a:gd name="connsiteY74" fmla="*/ 9552 h 10000"/>
                <a:gd name="connsiteX75" fmla="*/ 4857 w 10000"/>
                <a:gd name="connsiteY75" fmla="*/ 9482 h 10000"/>
                <a:gd name="connsiteX76" fmla="*/ 5014 w 10000"/>
                <a:gd name="connsiteY76" fmla="*/ 9405 h 10000"/>
                <a:gd name="connsiteX77" fmla="*/ 5171 w 10000"/>
                <a:gd name="connsiteY77" fmla="*/ 9329 h 10000"/>
                <a:gd name="connsiteX78" fmla="*/ 5326 w 10000"/>
                <a:gd name="connsiteY78" fmla="*/ 9244 h 10000"/>
                <a:gd name="connsiteX79" fmla="*/ 5480 w 10000"/>
                <a:gd name="connsiteY79" fmla="*/ 9158 h 10000"/>
                <a:gd name="connsiteX80" fmla="*/ 5631 w 10000"/>
                <a:gd name="connsiteY80" fmla="*/ 9063 h 10000"/>
                <a:gd name="connsiteX81" fmla="*/ 5781 w 10000"/>
                <a:gd name="connsiteY81" fmla="*/ 8967 h 10000"/>
                <a:gd name="connsiteX82" fmla="*/ 5931 w 10000"/>
                <a:gd name="connsiteY82" fmla="*/ 8865 h 10000"/>
                <a:gd name="connsiteX83" fmla="*/ 6075 w 10000"/>
                <a:gd name="connsiteY83" fmla="*/ 8759 h 10000"/>
                <a:gd name="connsiteX84" fmla="*/ 6221 w 10000"/>
                <a:gd name="connsiteY84" fmla="*/ 8652 h 10000"/>
                <a:gd name="connsiteX85" fmla="*/ 6364 w 10000"/>
                <a:gd name="connsiteY85" fmla="*/ 8536 h 10000"/>
                <a:gd name="connsiteX86" fmla="*/ 6505 w 10000"/>
                <a:gd name="connsiteY86" fmla="*/ 8417 h 10000"/>
                <a:gd name="connsiteX87" fmla="*/ 6642 w 10000"/>
                <a:gd name="connsiteY87" fmla="*/ 8295 h 10000"/>
                <a:gd name="connsiteX88" fmla="*/ 6780 w 10000"/>
                <a:gd name="connsiteY88" fmla="*/ 8169 h 10000"/>
                <a:gd name="connsiteX89" fmla="*/ 6913 w 10000"/>
                <a:gd name="connsiteY89" fmla="*/ 8040 h 10000"/>
                <a:gd name="connsiteX90" fmla="*/ 7045 w 10000"/>
                <a:gd name="connsiteY90" fmla="*/ 7904 h 10000"/>
                <a:gd name="connsiteX91" fmla="*/ 7175 w 10000"/>
                <a:gd name="connsiteY91" fmla="*/ 7768 h 10000"/>
                <a:gd name="connsiteX92" fmla="*/ 7304 w 10000"/>
                <a:gd name="connsiteY92" fmla="*/ 7624 h 10000"/>
                <a:gd name="connsiteX93" fmla="*/ 7429 w 10000"/>
                <a:gd name="connsiteY93" fmla="*/ 7480 h 10000"/>
                <a:gd name="connsiteX94" fmla="*/ 7552 w 10000"/>
                <a:gd name="connsiteY94" fmla="*/ 7329 h 10000"/>
                <a:gd name="connsiteX95" fmla="*/ 7673 w 10000"/>
                <a:gd name="connsiteY95" fmla="*/ 7178 h 10000"/>
                <a:gd name="connsiteX96" fmla="*/ 7792 w 10000"/>
                <a:gd name="connsiteY96" fmla="*/ 7024 h 10000"/>
                <a:gd name="connsiteX97" fmla="*/ 7907 w 10000"/>
                <a:gd name="connsiteY97" fmla="*/ 6861 h 10000"/>
                <a:gd name="connsiteX98" fmla="*/ 8022 w 10000"/>
                <a:gd name="connsiteY98" fmla="*/ 6697 h 10000"/>
                <a:gd name="connsiteX99" fmla="*/ 8133 w 10000"/>
                <a:gd name="connsiteY99" fmla="*/ 6534 h 10000"/>
                <a:gd name="connsiteX100" fmla="*/ 8240 w 10000"/>
                <a:gd name="connsiteY100" fmla="*/ 6365 h 10000"/>
                <a:gd name="connsiteX101" fmla="*/ 8347 w 10000"/>
                <a:gd name="connsiteY101" fmla="*/ 6189 h 10000"/>
                <a:gd name="connsiteX102" fmla="*/ 8450 w 10000"/>
                <a:gd name="connsiteY102" fmla="*/ 6016 h 10000"/>
                <a:gd name="connsiteX103" fmla="*/ 8552 w 10000"/>
                <a:gd name="connsiteY103" fmla="*/ 5835 h 10000"/>
                <a:gd name="connsiteX104" fmla="*/ 8650 w 10000"/>
                <a:gd name="connsiteY104" fmla="*/ 5652 h 10000"/>
                <a:gd name="connsiteX105" fmla="*/ 8745 w 10000"/>
                <a:gd name="connsiteY105" fmla="*/ 5468 h 10000"/>
                <a:gd name="connsiteX106" fmla="*/ 8837 w 10000"/>
                <a:gd name="connsiteY106" fmla="*/ 5278 h 10000"/>
                <a:gd name="connsiteX107" fmla="*/ 8927 w 10000"/>
                <a:gd name="connsiteY107" fmla="*/ 5089 h 10000"/>
                <a:gd name="connsiteX108" fmla="*/ 9014 w 10000"/>
                <a:gd name="connsiteY108" fmla="*/ 4893 h 10000"/>
                <a:gd name="connsiteX109" fmla="*/ 9098 w 10000"/>
                <a:gd name="connsiteY109" fmla="*/ 4698 h 10000"/>
                <a:gd name="connsiteX110" fmla="*/ 9178 w 10000"/>
                <a:gd name="connsiteY110" fmla="*/ 4500 h 10000"/>
                <a:gd name="connsiteX111" fmla="*/ 9256 w 10000"/>
                <a:gd name="connsiteY111" fmla="*/ 4294 h 10000"/>
                <a:gd name="connsiteX112" fmla="*/ 9330 w 10000"/>
                <a:gd name="connsiteY112" fmla="*/ 4091 h 10000"/>
                <a:gd name="connsiteX113" fmla="*/ 9401 w 10000"/>
                <a:gd name="connsiteY113" fmla="*/ 3885 h 10000"/>
                <a:gd name="connsiteX114" fmla="*/ 9470 w 10000"/>
                <a:gd name="connsiteY114" fmla="*/ 3674 h 10000"/>
                <a:gd name="connsiteX115" fmla="*/ 9535 w 10000"/>
                <a:gd name="connsiteY115" fmla="*/ 3464 h 10000"/>
                <a:gd name="connsiteX116" fmla="*/ 9599 w 10000"/>
                <a:gd name="connsiteY116" fmla="*/ 3248 h 10000"/>
                <a:gd name="connsiteX117" fmla="*/ 9656 w 10000"/>
                <a:gd name="connsiteY117" fmla="*/ 3030 h 10000"/>
                <a:gd name="connsiteX118" fmla="*/ 9711 w 10000"/>
                <a:gd name="connsiteY118" fmla="*/ 2815 h 10000"/>
                <a:gd name="connsiteX119" fmla="*/ 9763 w 10000"/>
                <a:gd name="connsiteY119" fmla="*/ 2592 h 10000"/>
                <a:gd name="connsiteX120" fmla="*/ 9813 w 10000"/>
                <a:gd name="connsiteY120" fmla="*/ 2369 h 10000"/>
                <a:gd name="connsiteX121" fmla="*/ 9856 w 10000"/>
                <a:gd name="connsiteY121" fmla="*/ 2143 h 10000"/>
                <a:gd name="connsiteX122" fmla="*/ 9898 w 10000"/>
                <a:gd name="connsiteY122" fmla="*/ 1918 h 10000"/>
                <a:gd name="connsiteX123" fmla="*/ 9936 w 10000"/>
                <a:gd name="connsiteY123" fmla="*/ 1690 h 10000"/>
                <a:gd name="connsiteX124" fmla="*/ 9970 w 10000"/>
                <a:gd name="connsiteY124" fmla="*/ 1457 h 10000"/>
                <a:gd name="connsiteX125" fmla="*/ 10000 w 10000"/>
                <a:gd name="connsiteY125" fmla="*/ 1222 h 10000"/>
                <a:gd name="connsiteX126" fmla="*/ 7611 w 10000"/>
                <a:gd name="connsiteY126" fmla="*/ 1876 h 10000"/>
                <a:gd name="connsiteX127" fmla="*/ 5615 w 10000"/>
                <a:gd name="connsiteY127" fmla="*/ 0 h 10000"/>
                <a:gd name="connsiteX0" fmla="*/ 5407 w 9792"/>
                <a:gd name="connsiteY0" fmla="*/ 0 h 10000"/>
                <a:gd name="connsiteX1" fmla="*/ 5407 w 9792"/>
                <a:gd name="connsiteY1" fmla="*/ 0 h 10000"/>
                <a:gd name="connsiteX2" fmla="*/ 5398 w 9792"/>
                <a:gd name="connsiteY2" fmla="*/ 99 h 10000"/>
                <a:gd name="connsiteX3" fmla="*/ 5384 w 9792"/>
                <a:gd name="connsiteY3" fmla="*/ 201 h 10000"/>
                <a:gd name="connsiteX4" fmla="*/ 5372 w 9792"/>
                <a:gd name="connsiteY4" fmla="*/ 300 h 10000"/>
                <a:gd name="connsiteX5" fmla="*/ 5357 w 9792"/>
                <a:gd name="connsiteY5" fmla="*/ 394 h 10000"/>
                <a:gd name="connsiteX6" fmla="*/ 5339 w 9792"/>
                <a:gd name="connsiteY6" fmla="*/ 491 h 10000"/>
                <a:gd name="connsiteX7" fmla="*/ 5320 w 9792"/>
                <a:gd name="connsiteY7" fmla="*/ 587 h 10000"/>
                <a:gd name="connsiteX8" fmla="*/ 5300 w 9792"/>
                <a:gd name="connsiteY8" fmla="*/ 684 h 10000"/>
                <a:gd name="connsiteX9" fmla="*/ 5279 w 9792"/>
                <a:gd name="connsiteY9" fmla="*/ 778 h 10000"/>
                <a:gd name="connsiteX10" fmla="*/ 5257 w 9792"/>
                <a:gd name="connsiteY10" fmla="*/ 870 h 10000"/>
                <a:gd name="connsiteX11" fmla="*/ 5231 w 9792"/>
                <a:gd name="connsiteY11" fmla="*/ 961 h 10000"/>
                <a:gd name="connsiteX12" fmla="*/ 5207 w 9792"/>
                <a:gd name="connsiteY12" fmla="*/ 1053 h 10000"/>
                <a:gd name="connsiteX13" fmla="*/ 5179 w 9792"/>
                <a:gd name="connsiteY13" fmla="*/ 1145 h 10000"/>
                <a:gd name="connsiteX14" fmla="*/ 5150 w 9792"/>
                <a:gd name="connsiteY14" fmla="*/ 1231 h 10000"/>
                <a:gd name="connsiteX15" fmla="*/ 5120 w 9792"/>
                <a:gd name="connsiteY15" fmla="*/ 1318 h 10000"/>
                <a:gd name="connsiteX16" fmla="*/ 5090 w 9792"/>
                <a:gd name="connsiteY16" fmla="*/ 1405 h 10000"/>
                <a:gd name="connsiteX17" fmla="*/ 5058 w 9792"/>
                <a:gd name="connsiteY17" fmla="*/ 1494 h 10000"/>
                <a:gd name="connsiteX18" fmla="*/ 5024 w 9792"/>
                <a:gd name="connsiteY18" fmla="*/ 1578 h 10000"/>
                <a:gd name="connsiteX19" fmla="*/ 4988 w 9792"/>
                <a:gd name="connsiteY19" fmla="*/ 1663 h 10000"/>
                <a:gd name="connsiteX20" fmla="*/ 4952 w 9792"/>
                <a:gd name="connsiteY20" fmla="*/ 1742 h 10000"/>
                <a:gd name="connsiteX21" fmla="*/ 4913 w 9792"/>
                <a:gd name="connsiteY21" fmla="*/ 1824 h 10000"/>
                <a:gd name="connsiteX22" fmla="*/ 4874 w 9792"/>
                <a:gd name="connsiteY22" fmla="*/ 1903 h 10000"/>
                <a:gd name="connsiteX23" fmla="*/ 4835 w 9792"/>
                <a:gd name="connsiteY23" fmla="*/ 1985 h 10000"/>
                <a:gd name="connsiteX24" fmla="*/ 4794 w 9792"/>
                <a:gd name="connsiteY24" fmla="*/ 2059 h 10000"/>
                <a:gd name="connsiteX25" fmla="*/ 4751 w 9792"/>
                <a:gd name="connsiteY25" fmla="*/ 2133 h 10000"/>
                <a:gd name="connsiteX26" fmla="*/ 4706 w 9792"/>
                <a:gd name="connsiteY26" fmla="*/ 2210 h 10000"/>
                <a:gd name="connsiteX27" fmla="*/ 4662 w 9792"/>
                <a:gd name="connsiteY27" fmla="*/ 2282 h 10000"/>
                <a:gd name="connsiteX28" fmla="*/ 4615 w 9792"/>
                <a:gd name="connsiteY28" fmla="*/ 2354 h 10000"/>
                <a:gd name="connsiteX29" fmla="*/ 4569 w 9792"/>
                <a:gd name="connsiteY29" fmla="*/ 2426 h 10000"/>
                <a:gd name="connsiteX30" fmla="*/ 4521 w 9792"/>
                <a:gd name="connsiteY30" fmla="*/ 2495 h 10000"/>
                <a:gd name="connsiteX31" fmla="*/ 4471 w 9792"/>
                <a:gd name="connsiteY31" fmla="*/ 2562 h 10000"/>
                <a:gd name="connsiteX32" fmla="*/ 4421 w 9792"/>
                <a:gd name="connsiteY32" fmla="*/ 2626 h 10000"/>
                <a:gd name="connsiteX33" fmla="*/ 4369 w 9792"/>
                <a:gd name="connsiteY33" fmla="*/ 2691 h 10000"/>
                <a:gd name="connsiteX34" fmla="*/ 4318 w 9792"/>
                <a:gd name="connsiteY34" fmla="*/ 2753 h 10000"/>
                <a:gd name="connsiteX35" fmla="*/ 4262 w 9792"/>
                <a:gd name="connsiteY35" fmla="*/ 2817 h 10000"/>
                <a:gd name="connsiteX36" fmla="*/ 4209 w 9792"/>
                <a:gd name="connsiteY36" fmla="*/ 2874 h 10000"/>
                <a:gd name="connsiteX37" fmla="*/ 4154 w 9792"/>
                <a:gd name="connsiteY37" fmla="*/ 2934 h 10000"/>
                <a:gd name="connsiteX38" fmla="*/ 4097 w 9792"/>
                <a:gd name="connsiteY38" fmla="*/ 2988 h 10000"/>
                <a:gd name="connsiteX39" fmla="*/ 4040 w 9792"/>
                <a:gd name="connsiteY39" fmla="*/ 3043 h 10000"/>
                <a:gd name="connsiteX40" fmla="*/ 3982 w 9792"/>
                <a:gd name="connsiteY40" fmla="*/ 3097 h 10000"/>
                <a:gd name="connsiteX41" fmla="*/ 3924 w 9792"/>
                <a:gd name="connsiteY41" fmla="*/ 3149 h 10000"/>
                <a:gd name="connsiteX42" fmla="*/ 3863 w 9792"/>
                <a:gd name="connsiteY42" fmla="*/ 3196 h 10000"/>
                <a:gd name="connsiteX43" fmla="*/ 3802 w 9792"/>
                <a:gd name="connsiteY43" fmla="*/ 3243 h 10000"/>
                <a:gd name="connsiteX44" fmla="*/ 3906 w 9792"/>
                <a:gd name="connsiteY44" fmla="*/ 6588 h 10000"/>
                <a:gd name="connsiteX45" fmla="*/ 1 w 9792"/>
                <a:gd name="connsiteY45" fmla="*/ 9512 h 10000"/>
                <a:gd name="connsiteX46" fmla="*/ 136 w 9792"/>
                <a:gd name="connsiteY46" fmla="*/ 9569 h 10000"/>
                <a:gd name="connsiteX47" fmla="*/ 273 w 9792"/>
                <a:gd name="connsiteY47" fmla="*/ 9623 h 10000"/>
                <a:gd name="connsiteX48" fmla="*/ 413 w 9792"/>
                <a:gd name="connsiteY48" fmla="*/ 9673 h 10000"/>
                <a:gd name="connsiteX49" fmla="*/ 550 w 9792"/>
                <a:gd name="connsiteY49" fmla="*/ 9720 h 10000"/>
                <a:gd name="connsiteX50" fmla="*/ 691 w 9792"/>
                <a:gd name="connsiteY50" fmla="*/ 9765 h 10000"/>
                <a:gd name="connsiteX51" fmla="*/ 832 w 9792"/>
                <a:gd name="connsiteY51" fmla="*/ 9804 h 10000"/>
                <a:gd name="connsiteX52" fmla="*/ 974 w 9792"/>
                <a:gd name="connsiteY52" fmla="*/ 9839 h 10000"/>
                <a:gd name="connsiteX53" fmla="*/ 1117 w 9792"/>
                <a:gd name="connsiteY53" fmla="*/ 9874 h 10000"/>
                <a:gd name="connsiteX54" fmla="*/ 1263 w 9792"/>
                <a:gd name="connsiteY54" fmla="*/ 9903 h 10000"/>
                <a:gd name="connsiteX55" fmla="*/ 1406 w 9792"/>
                <a:gd name="connsiteY55" fmla="*/ 9926 h 10000"/>
                <a:gd name="connsiteX56" fmla="*/ 1552 w 9792"/>
                <a:gd name="connsiteY56" fmla="*/ 9948 h 10000"/>
                <a:gd name="connsiteX57" fmla="*/ 1698 w 9792"/>
                <a:gd name="connsiteY57" fmla="*/ 9965 h 10000"/>
                <a:gd name="connsiteX58" fmla="*/ 1844 w 9792"/>
                <a:gd name="connsiteY58" fmla="*/ 9980 h 10000"/>
                <a:gd name="connsiteX59" fmla="*/ 1994 w 9792"/>
                <a:gd name="connsiteY59" fmla="*/ 9990 h 10000"/>
                <a:gd name="connsiteX60" fmla="*/ 2142 w 9792"/>
                <a:gd name="connsiteY60" fmla="*/ 9995 h 10000"/>
                <a:gd name="connsiteX61" fmla="*/ 2290 w 9792"/>
                <a:gd name="connsiteY61" fmla="*/ 10000 h 10000"/>
                <a:gd name="connsiteX62" fmla="*/ 2469 w 9792"/>
                <a:gd name="connsiteY62" fmla="*/ 9995 h 10000"/>
                <a:gd name="connsiteX63" fmla="*/ 2642 w 9792"/>
                <a:gd name="connsiteY63" fmla="*/ 9988 h 10000"/>
                <a:gd name="connsiteX64" fmla="*/ 2816 w 9792"/>
                <a:gd name="connsiteY64" fmla="*/ 9975 h 10000"/>
                <a:gd name="connsiteX65" fmla="*/ 2987 w 9792"/>
                <a:gd name="connsiteY65" fmla="*/ 9953 h 10000"/>
                <a:gd name="connsiteX66" fmla="*/ 3160 w 9792"/>
                <a:gd name="connsiteY66" fmla="*/ 9931 h 10000"/>
                <a:gd name="connsiteX67" fmla="*/ 3330 w 9792"/>
                <a:gd name="connsiteY67" fmla="*/ 9898 h 10000"/>
                <a:gd name="connsiteX68" fmla="*/ 3501 w 9792"/>
                <a:gd name="connsiteY68" fmla="*/ 9866 h 10000"/>
                <a:gd name="connsiteX69" fmla="*/ 3669 w 9792"/>
                <a:gd name="connsiteY69" fmla="*/ 9824 h 10000"/>
                <a:gd name="connsiteX70" fmla="*/ 3834 w 9792"/>
                <a:gd name="connsiteY70" fmla="*/ 9779 h 10000"/>
                <a:gd name="connsiteX71" fmla="*/ 4002 w 9792"/>
                <a:gd name="connsiteY71" fmla="*/ 9730 h 10000"/>
                <a:gd name="connsiteX72" fmla="*/ 4164 w 9792"/>
                <a:gd name="connsiteY72" fmla="*/ 9673 h 10000"/>
                <a:gd name="connsiteX73" fmla="*/ 4328 w 9792"/>
                <a:gd name="connsiteY73" fmla="*/ 9616 h 10000"/>
                <a:gd name="connsiteX74" fmla="*/ 4489 w 9792"/>
                <a:gd name="connsiteY74" fmla="*/ 9552 h 10000"/>
                <a:gd name="connsiteX75" fmla="*/ 4649 w 9792"/>
                <a:gd name="connsiteY75" fmla="*/ 9482 h 10000"/>
                <a:gd name="connsiteX76" fmla="*/ 4806 w 9792"/>
                <a:gd name="connsiteY76" fmla="*/ 9405 h 10000"/>
                <a:gd name="connsiteX77" fmla="*/ 4963 w 9792"/>
                <a:gd name="connsiteY77" fmla="*/ 9329 h 10000"/>
                <a:gd name="connsiteX78" fmla="*/ 5118 w 9792"/>
                <a:gd name="connsiteY78" fmla="*/ 9244 h 10000"/>
                <a:gd name="connsiteX79" fmla="*/ 5272 w 9792"/>
                <a:gd name="connsiteY79" fmla="*/ 9158 h 10000"/>
                <a:gd name="connsiteX80" fmla="*/ 5423 w 9792"/>
                <a:gd name="connsiteY80" fmla="*/ 9063 h 10000"/>
                <a:gd name="connsiteX81" fmla="*/ 5573 w 9792"/>
                <a:gd name="connsiteY81" fmla="*/ 8967 h 10000"/>
                <a:gd name="connsiteX82" fmla="*/ 5723 w 9792"/>
                <a:gd name="connsiteY82" fmla="*/ 8865 h 10000"/>
                <a:gd name="connsiteX83" fmla="*/ 5867 w 9792"/>
                <a:gd name="connsiteY83" fmla="*/ 8759 h 10000"/>
                <a:gd name="connsiteX84" fmla="*/ 6013 w 9792"/>
                <a:gd name="connsiteY84" fmla="*/ 8652 h 10000"/>
                <a:gd name="connsiteX85" fmla="*/ 6156 w 9792"/>
                <a:gd name="connsiteY85" fmla="*/ 8536 h 10000"/>
                <a:gd name="connsiteX86" fmla="*/ 6297 w 9792"/>
                <a:gd name="connsiteY86" fmla="*/ 8417 h 10000"/>
                <a:gd name="connsiteX87" fmla="*/ 6434 w 9792"/>
                <a:gd name="connsiteY87" fmla="*/ 8295 h 10000"/>
                <a:gd name="connsiteX88" fmla="*/ 6572 w 9792"/>
                <a:gd name="connsiteY88" fmla="*/ 8169 h 10000"/>
                <a:gd name="connsiteX89" fmla="*/ 6705 w 9792"/>
                <a:gd name="connsiteY89" fmla="*/ 8040 h 10000"/>
                <a:gd name="connsiteX90" fmla="*/ 6837 w 9792"/>
                <a:gd name="connsiteY90" fmla="*/ 7904 h 10000"/>
                <a:gd name="connsiteX91" fmla="*/ 6967 w 9792"/>
                <a:gd name="connsiteY91" fmla="*/ 7768 h 10000"/>
                <a:gd name="connsiteX92" fmla="*/ 7096 w 9792"/>
                <a:gd name="connsiteY92" fmla="*/ 7624 h 10000"/>
                <a:gd name="connsiteX93" fmla="*/ 7221 w 9792"/>
                <a:gd name="connsiteY93" fmla="*/ 7480 h 10000"/>
                <a:gd name="connsiteX94" fmla="*/ 7344 w 9792"/>
                <a:gd name="connsiteY94" fmla="*/ 7329 h 10000"/>
                <a:gd name="connsiteX95" fmla="*/ 7465 w 9792"/>
                <a:gd name="connsiteY95" fmla="*/ 7178 h 10000"/>
                <a:gd name="connsiteX96" fmla="*/ 7584 w 9792"/>
                <a:gd name="connsiteY96" fmla="*/ 7024 h 10000"/>
                <a:gd name="connsiteX97" fmla="*/ 7699 w 9792"/>
                <a:gd name="connsiteY97" fmla="*/ 6861 h 10000"/>
                <a:gd name="connsiteX98" fmla="*/ 7814 w 9792"/>
                <a:gd name="connsiteY98" fmla="*/ 6697 h 10000"/>
                <a:gd name="connsiteX99" fmla="*/ 7925 w 9792"/>
                <a:gd name="connsiteY99" fmla="*/ 6534 h 10000"/>
                <a:gd name="connsiteX100" fmla="*/ 8032 w 9792"/>
                <a:gd name="connsiteY100" fmla="*/ 6365 h 10000"/>
                <a:gd name="connsiteX101" fmla="*/ 8139 w 9792"/>
                <a:gd name="connsiteY101" fmla="*/ 6189 h 10000"/>
                <a:gd name="connsiteX102" fmla="*/ 8242 w 9792"/>
                <a:gd name="connsiteY102" fmla="*/ 6016 h 10000"/>
                <a:gd name="connsiteX103" fmla="*/ 8344 w 9792"/>
                <a:gd name="connsiteY103" fmla="*/ 5835 h 10000"/>
                <a:gd name="connsiteX104" fmla="*/ 8442 w 9792"/>
                <a:gd name="connsiteY104" fmla="*/ 5652 h 10000"/>
                <a:gd name="connsiteX105" fmla="*/ 8537 w 9792"/>
                <a:gd name="connsiteY105" fmla="*/ 5468 h 10000"/>
                <a:gd name="connsiteX106" fmla="*/ 8629 w 9792"/>
                <a:gd name="connsiteY106" fmla="*/ 5278 h 10000"/>
                <a:gd name="connsiteX107" fmla="*/ 8719 w 9792"/>
                <a:gd name="connsiteY107" fmla="*/ 5089 h 10000"/>
                <a:gd name="connsiteX108" fmla="*/ 8806 w 9792"/>
                <a:gd name="connsiteY108" fmla="*/ 4893 h 10000"/>
                <a:gd name="connsiteX109" fmla="*/ 8890 w 9792"/>
                <a:gd name="connsiteY109" fmla="*/ 4698 h 10000"/>
                <a:gd name="connsiteX110" fmla="*/ 8970 w 9792"/>
                <a:gd name="connsiteY110" fmla="*/ 4500 h 10000"/>
                <a:gd name="connsiteX111" fmla="*/ 9048 w 9792"/>
                <a:gd name="connsiteY111" fmla="*/ 4294 h 10000"/>
                <a:gd name="connsiteX112" fmla="*/ 9122 w 9792"/>
                <a:gd name="connsiteY112" fmla="*/ 4091 h 10000"/>
                <a:gd name="connsiteX113" fmla="*/ 9193 w 9792"/>
                <a:gd name="connsiteY113" fmla="*/ 3885 h 10000"/>
                <a:gd name="connsiteX114" fmla="*/ 9262 w 9792"/>
                <a:gd name="connsiteY114" fmla="*/ 3674 h 10000"/>
                <a:gd name="connsiteX115" fmla="*/ 9327 w 9792"/>
                <a:gd name="connsiteY115" fmla="*/ 3464 h 10000"/>
                <a:gd name="connsiteX116" fmla="*/ 9391 w 9792"/>
                <a:gd name="connsiteY116" fmla="*/ 3248 h 10000"/>
                <a:gd name="connsiteX117" fmla="*/ 9448 w 9792"/>
                <a:gd name="connsiteY117" fmla="*/ 3030 h 10000"/>
                <a:gd name="connsiteX118" fmla="*/ 9503 w 9792"/>
                <a:gd name="connsiteY118" fmla="*/ 2815 h 10000"/>
                <a:gd name="connsiteX119" fmla="*/ 9555 w 9792"/>
                <a:gd name="connsiteY119" fmla="*/ 2592 h 10000"/>
                <a:gd name="connsiteX120" fmla="*/ 9605 w 9792"/>
                <a:gd name="connsiteY120" fmla="*/ 2369 h 10000"/>
                <a:gd name="connsiteX121" fmla="*/ 9648 w 9792"/>
                <a:gd name="connsiteY121" fmla="*/ 2143 h 10000"/>
                <a:gd name="connsiteX122" fmla="*/ 9690 w 9792"/>
                <a:gd name="connsiteY122" fmla="*/ 1918 h 10000"/>
                <a:gd name="connsiteX123" fmla="*/ 9728 w 9792"/>
                <a:gd name="connsiteY123" fmla="*/ 1690 h 10000"/>
                <a:gd name="connsiteX124" fmla="*/ 9762 w 9792"/>
                <a:gd name="connsiteY124" fmla="*/ 1457 h 10000"/>
                <a:gd name="connsiteX125" fmla="*/ 9792 w 9792"/>
                <a:gd name="connsiteY125" fmla="*/ 1222 h 10000"/>
                <a:gd name="connsiteX126" fmla="*/ 7403 w 9792"/>
                <a:gd name="connsiteY126" fmla="*/ 1876 h 10000"/>
                <a:gd name="connsiteX127" fmla="*/ 5407 w 9792"/>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89 w 10000"/>
                <a:gd name="connsiteY44" fmla="*/ 6588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866 w 10000"/>
                <a:gd name="connsiteY44" fmla="*/ 6619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97 w 10000"/>
                <a:gd name="connsiteY44" fmla="*/ 6577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383 w 9861"/>
                <a:gd name="connsiteY0" fmla="*/ 0 h 10000"/>
                <a:gd name="connsiteX1" fmla="*/ 5383 w 9861"/>
                <a:gd name="connsiteY1" fmla="*/ 0 h 10000"/>
                <a:gd name="connsiteX2" fmla="*/ 5374 w 9861"/>
                <a:gd name="connsiteY2" fmla="*/ 99 h 10000"/>
                <a:gd name="connsiteX3" fmla="*/ 5359 w 9861"/>
                <a:gd name="connsiteY3" fmla="*/ 201 h 10000"/>
                <a:gd name="connsiteX4" fmla="*/ 5347 w 9861"/>
                <a:gd name="connsiteY4" fmla="*/ 300 h 10000"/>
                <a:gd name="connsiteX5" fmla="*/ 5332 w 9861"/>
                <a:gd name="connsiteY5" fmla="*/ 394 h 10000"/>
                <a:gd name="connsiteX6" fmla="*/ 5313 w 9861"/>
                <a:gd name="connsiteY6" fmla="*/ 491 h 10000"/>
                <a:gd name="connsiteX7" fmla="*/ 5294 w 9861"/>
                <a:gd name="connsiteY7" fmla="*/ 587 h 10000"/>
                <a:gd name="connsiteX8" fmla="*/ 5274 w 9861"/>
                <a:gd name="connsiteY8" fmla="*/ 684 h 10000"/>
                <a:gd name="connsiteX9" fmla="*/ 5252 w 9861"/>
                <a:gd name="connsiteY9" fmla="*/ 778 h 10000"/>
                <a:gd name="connsiteX10" fmla="*/ 5230 w 9861"/>
                <a:gd name="connsiteY10" fmla="*/ 870 h 10000"/>
                <a:gd name="connsiteX11" fmla="*/ 5203 w 9861"/>
                <a:gd name="connsiteY11" fmla="*/ 961 h 10000"/>
                <a:gd name="connsiteX12" fmla="*/ 5179 w 9861"/>
                <a:gd name="connsiteY12" fmla="*/ 1053 h 10000"/>
                <a:gd name="connsiteX13" fmla="*/ 5150 w 9861"/>
                <a:gd name="connsiteY13" fmla="*/ 1145 h 10000"/>
                <a:gd name="connsiteX14" fmla="*/ 5120 w 9861"/>
                <a:gd name="connsiteY14" fmla="*/ 1231 h 10000"/>
                <a:gd name="connsiteX15" fmla="*/ 5090 w 9861"/>
                <a:gd name="connsiteY15" fmla="*/ 1318 h 10000"/>
                <a:gd name="connsiteX16" fmla="*/ 5059 w 9861"/>
                <a:gd name="connsiteY16" fmla="*/ 1405 h 10000"/>
                <a:gd name="connsiteX17" fmla="*/ 5026 w 9861"/>
                <a:gd name="connsiteY17" fmla="*/ 1494 h 10000"/>
                <a:gd name="connsiteX18" fmla="*/ 4992 w 9861"/>
                <a:gd name="connsiteY18" fmla="*/ 1578 h 10000"/>
                <a:gd name="connsiteX19" fmla="*/ 4955 w 9861"/>
                <a:gd name="connsiteY19" fmla="*/ 1663 h 10000"/>
                <a:gd name="connsiteX20" fmla="*/ 4918 w 9861"/>
                <a:gd name="connsiteY20" fmla="*/ 1742 h 10000"/>
                <a:gd name="connsiteX21" fmla="*/ 4878 w 9861"/>
                <a:gd name="connsiteY21" fmla="*/ 1824 h 10000"/>
                <a:gd name="connsiteX22" fmla="*/ 4839 w 9861"/>
                <a:gd name="connsiteY22" fmla="*/ 1903 h 10000"/>
                <a:gd name="connsiteX23" fmla="*/ 4799 w 9861"/>
                <a:gd name="connsiteY23" fmla="*/ 1985 h 10000"/>
                <a:gd name="connsiteX24" fmla="*/ 4757 w 9861"/>
                <a:gd name="connsiteY24" fmla="*/ 2059 h 10000"/>
                <a:gd name="connsiteX25" fmla="*/ 4713 w 9861"/>
                <a:gd name="connsiteY25" fmla="*/ 2133 h 10000"/>
                <a:gd name="connsiteX26" fmla="*/ 4667 w 9861"/>
                <a:gd name="connsiteY26" fmla="*/ 2210 h 10000"/>
                <a:gd name="connsiteX27" fmla="*/ 4622 w 9861"/>
                <a:gd name="connsiteY27" fmla="*/ 2282 h 10000"/>
                <a:gd name="connsiteX28" fmla="*/ 4574 w 9861"/>
                <a:gd name="connsiteY28" fmla="*/ 2354 h 10000"/>
                <a:gd name="connsiteX29" fmla="*/ 4527 w 9861"/>
                <a:gd name="connsiteY29" fmla="*/ 2426 h 10000"/>
                <a:gd name="connsiteX30" fmla="*/ 4478 w 9861"/>
                <a:gd name="connsiteY30" fmla="*/ 2495 h 10000"/>
                <a:gd name="connsiteX31" fmla="*/ 4427 w 9861"/>
                <a:gd name="connsiteY31" fmla="*/ 2562 h 10000"/>
                <a:gd name="connsiteX32" fmla="*/ 4376 w 9861"/>
                <a:gd name="connsiteY32" fmla="*/ 2626 h 10000"/>
                <a:gd name="connsiteX33" fmla="*/ 4323 w 9861"/>
                <a:gd name="connsiteY33" fmla="*/ 2691 h 10000"/>
                <a:gd name="connsiteX34" fmla="*/ 4271 w 9861"/>
                <a:gd name="connsiteY34" fmla="*/ 2753 h 10000"/>
                <a:gd name="connsiteX35" fmla="*/ 4214 w 9861"/>
                <a:gd name="connsiteY35" fmla="*/ 2817 h 10000"/>
                <a:gd name="connsiteX36" fmla="*/ 4159 w 9861"/>
                <a:gd name="connsiteY36" fmla="*/ 2874 h 10000"/>
                <a:gd name="connsiteX37" fmla="*/ 4103 w 9861"/>
                <a:gd name="connsiteY37" fmla="*/ 2934 h 10000"/>
                <a:gd name="connsiteX38" fmla="*/ 4045 w 9861"/>
                <a:gd name="connsiteY38" fmla="*/ 2988 h 10000"/>
                <a:gd name="connsiteX39" fmla="*/ 3987 w 9861"/>
                <a:gd name="connsiteY39" fmla="*/ 3043 h 10000"/>
                <a:gd name="connsiteX40" fmla="*/ 3928 w 9861"/>
                <a:gd name="connsiteY40" fmla="*/ 3097 h 10000"/>
                <a:gd name="connsiteX41" fmla="*/ 3868 w 9861"/>
                <a:gd name="connsiteY41" fmla="*/ 3149 h 10000"/>
                <a:gd name="connsiteX42" fmla="*/ 3806 w 9861"/>
                <a:gd name="connsiteY42" fmla="*/ 3196 h 10000"/>
                <a:gd name="connsiteX43" fmla="*/ 3744 w 9861"/>
                <a:gd name="connsiteY43" fmla="*/ 3243 h 10000"/>
                <a:gd name="connsiteX44" fmla="*/ 3858 w 9861"/>
                <a:gd name="connsiteY44" fmla="*/ 6577 h 10000"/>
                <a:gd name="connsiteX45" fmla="*/ 0 w 9861"/>
                <a:gd name="connsiteY45" fmla="*/ 9569 h 10000"/>
                <a:gd name="connsiteX46" fmla="*/ 140 w 9861"/>
                <a:gd name="connsiteY46" fmla="*/ 9623 h 10000"/>
                <a:gd name="connsiteX47" fmla="*/ 283 w 9861"/>
                <a:gd name="connsiteY47" fmla="*/ 9673 h 10000"/>
                <a:gd name="connsiteX48" fmla="*/ 423 w 9861"/>
                <a:gd name="connsiteY48" fmla="*/ 9720 h 10000"/>
                <a:gd name="connsiteX49" fmla="*/ 567 w 9861"/>
                <a:gd name="connsiteY49" fmla="*/ 9765 h 10000"/>
                <a:gd name="connsiteX50" fmla="*/ 711 w 9861"/>
                <a:gd name="connsiteY50" fmla="*/ 9804 h 10000"/>
                <a:gd name="connsiteX51" fmla="*/ 856 w 9861"/>
                <a:gd name="connsiteY51" fmla="*/ 9839 h 10000"/>
                <a:gd name="connsiteX52" fmla="*/ 1002 w 9861"/>
                <a:gd name="connsiteY52" fmla="*/ 9874 h 10000"/>
                <a:gd name="connsiteX53" fmla="*/ 1151 w 9861"/>
                <a:gd name="connsiteY53" fmla="*/ 9903 h 10000"/>
                <a:gd name="connsiteX54" fmla="*/ 1297 w 9861"/>
                <a:gd name="connsiteY54" fmla="*/ 9926 h 10000"/>
                <a:gd name="connsiteX55" fmla="*/ 1446 w 9861"/>
                <a:gd name="connsiteY55" fmla="*/ 9948 h 10000"/>
                <a:gd name="connsiteX56" fmla="*/ 1595 w 9861"/>
                <a:gd name="connsiteY56" fmla="*/ 9965 h 10000"/>
                <a:gd name="connsiteX57" fmla="*/ 1744 w 9861"/>
                <a:gd name="connsiteY57" fmla="*/ 9980 h 10000"/>
                <a:gd name="connsiteX58" fmla="*/ 1897 w 9861"/>
                <a:gd name="connsiteY58" fmla="*/ 9990 h 10000"/>
                <a:gd name="connsiteX59" fmla="*/ 2049 w 9861"/>
                <a:gd name="connsiteY59" fmla="*/ 9995 h 10000"/>
                <a:gd name="connsiteX60" fmla="*/ 2200 w 9861"/>
                <a:gd name="connsiteY60" fmla="*/ 10000 h 10000"/>
                <a:gd name="connsiteX61" fmla="*/ 2382 w 9861"/>
                <a:gd name="connsiteY61" fmla="*/ 9995 h 10000"/>
                <a:gd name="connsiteX62" fmla="*/ 2559 w 9861"/>
                <a:gd name="connsiteY62" fmla="*/ 9988 h 10000"/>
                <a:gd name="connsiteX63" fmla="*/ 2737 w 9861"/>
                <a:gd name="connsiteY63" fmla="*/ 9975 h 10000"/>
                <a:gd name="connsiteX64" fmla="*/ 2911 w 9861"/>
                <a:gd name="connsiteY64" fmla="*/ 9953 h 10000"/>
                <a:gd name="connsiteX65" fmla="*/ 3088 w 9861"/>
                <a:gd name="connsiteY65" fmla="*/ 9931 h 10000"/>
                <a:gd name="connsiteX66" fmla="*/ 3262 w 9861"/>
                <a:gd name="connsiteY66" fmla="*/ 9898 h 10000"/>
                <a:gd name="connsiteX67" fmla="*/ 3436 w 9861"/>
                <a:gd name="connsiteY67" fmla="*/ 9866 h 10000"/>
                <a:gd name="connsiteX68" fmla="*/ 3608 w 9861"/>
                <a:gd name="connsiteY68" fmla="*/ 9824 h 10000"/>
                <a:gd name="connsiteX69" fmla="*/ 3776 w 9861"/>
                <a:gd name="connsiteY69" fmla="*/ 9779 h 10000"/>
                <a:gd name="connsiteX70" fmla="*/ 3948 w 9861"/>
                <a:gd name="connsiteY70" fmla="*/ 9730 h 10000"/>
                <a:gd name="connsiteX71" fmla="*/ 4113 w 9861"/>
                <a:gd name="connsiteY71" fmla="*/ 9673 h 10000"/>
                <a:gd name="connsiteX72" fmla="*/ 4281 w 9861"/>
                <a:gd name="connsiteY72" fmla="*/ 9616 h 10000"/>
                <a:gd name="connsiteX73" fmla="*/ 4445 w 9861"/>
                <a:gd name="connsiteY73" fmla="*/ 9552 h 10000"/>
                <a:gd name="connsiteX74" fmla="*/ 4609 w 9861"/>
                <a:gd name="connsiteY74" fmla="*/ 9482 h 10000"/>
                <a:gd name="connsiteX75" fmla="*/ 4769 w 9861"/>
                <a:gd name="connsiteY75" fmla="*/ 9405 h 10000"/>
                <a:gd name="connsiteX76" fmla="*/ 4929 w 9861"/>
                <a:gd name="connsiteY76" fmla="*/ 9329 h 10000"/>
                <a:gd name="connsiteX77" fmla="*/ 5088 w 9861"/>
                <a:gd name="connsiteY77" fmla="*/ 9244 h 10000"/>
                <a:gd name="connsiteX78" fmla="*/ 5245 w 9861"/>
                <a:gd name="connsiteY78" fmla="*/ 9158 h 10000"/>
                <a:gd name="connsiteX79" fmla="*/ 5399 w 9861"/>
                <a:gd name="connsiteY79" fmla="*/ 9063 h 10000"/>
                <a:gd name="connsiteX80" fmla="*/ 5552 w 9861"/>
                <a:gd name="connsiteY80" fmla="*/ 8967 h 10000"/>
                <a:gd name="connsiteX81" fmla="*/ 5706 w 9861"/>
                <a:gd name="connsiteY81" fmla="*/ 8865 h 10000"/>
                <a:gd name="connsiteX82" fmla="*/ 5853 w 9861"/>
                <a:gd name="connsiteY82" fmla="*/ 8759 h 10000"/>
                <a:gd name="connsiteX83" fmla="*/ 6002 w 9861"/>
                <a:gd name="connsiteY83" fmla="*/ 8652 h 10000"/>
                <a:gd name="connsiteX84" fmla="*/ 6148 w 9861"/>
                <a:gd name="connsiteY84" fmla="*/ 8536 h 10000"/>
                <a:gd name="connsiteX85" fmla="*/ 6292 w 9861"/>
                <a:gd name="connsiteY85" fmla="*/ 8417 h 10000"/>
                <a:gd name="connsiteX86" fmla="*/ 6432 w 9861"/>
                <a:gd name="connsiteY86" fmla="*/ 8295 h 10000"/>
                <a:gd name="connsiteX87" fmla="*/ 6573 w 9861"/>
                <a:gd name="connsiteY87" fmla="*/ 8169 h 10000"/>
                <a:gd name="connsiteX88" fmla="*/ 6708 w 9861"/>
                <a:gd name="connsiteY88" fmla="*/ 8040 h 10000"/>
                <a:gd name="connsiteX89" fmla="*/ 6843 w 9861"/>
                <a:gd name="connsiteY89" fmla="*/ 7904 h 10000"/>
                <a:gd name="connsiteX90" fmla="*/ 6976 w 9861"/>
                <a:gd name="connsiteY90" fmla="*/ 7768 h 10000"/>
                <a:gd name="connsiteX91" fmla="*/ 7108 w 9861"/>
                <a:gd name="connsiteY91" fmla="*/ 7624 h 10000"/>
                <a:gd name="connsiteX92" fmla="*/ 7235 w 9861"/>
                <a:gd name="connsiteY92" fmla="*/ 7480 h 10000"/>
                <a:gd name="connsiteX93" fmla="*/ 7361 w 9861"/>
                <a:gd name="connsiteY93" fmla="*/ 7329 h 10000"/>
                <a:gd name="connsiteX94" fmla="*/ 7485 w 9861"/>
                <a:gd name="connsiteY94" fmla="*/ 7178 h 10000"/>
                <a:gd name="connsiteX95" fmla="*/ 7606 w 9861"/>
                <a:gd name="connsiteY95" fmla="*/ 7024 h 10000"/>
                <a:gd name="connsiteX96" fmla="*/ 7724 w 9861"/>
                <a:gd name="connsiteY96" fmla="*/ 6861 h 10000"/>
                <a:gd name="connsiteX97" fmla="*/ 7841 w 9861"/>
                <a:gd name="connsiteY97" fmla="*/ 6697 h 10000"/>
                <a:gd name="connsiteX98" fmla="*/ 7954 w 9861"/>
                <a:gd name="connsiteY98" fmla="*/ 6534 h 10000"/>
                <a:gd name="connsiteX99" fmla="*/ 8064 w 9861"/>
                <a:gd name="connsiteY99" fmla="*/ 6365 h 10000"/>
                <a:gd name="connsiteX100" fmla="*/ 8173 w 9861"/>
                <a:gd name="connsiteY100" fmla="*/ 6189 h 10000"/>
                <a:gd name="connsiteX101" fmla="*/ 8278 w 9861"/>
                <a:gd name="connsiteY101" fmla="*/ 6016 h 10000"/>
                <a:gd name="connsiteX102" fmla="*/ 8382 w 9861"/>
                <a:gd name="connsiteY102" fmla="*/ 5835 h 10000"/>
                <a:gd name="connsiteX103" fmla="*/ 8482 w 9861"/>
                <a:gd name="connsiteY103" fmla="*/ 5652 h 10000"/>
                <a:gd name="connsiteX104" fmla="*/ 8579 w 9861"/>
                <a:gd name="connsiteY104" fmla="*/ 5468 h 10000"/>
                <a:gd name="connsiteX105" fmla="*/ 8673 w 9861"/>
                <a:gd name="connsiteY105" fmla="*/ 5278 h 10000"/>
                <a:gd name="connsiteX106" fmla="*/ 8765 w 9861"/>
                <a:gd name="connsiteY106" fmla="*/ 5089 h 10000"/>
                <a:gd name="connsiteX107" fmla="*/ 8854 w 9861"/>
                <a:gd name="connsiteY107" fmla="*/ 4893 h 10000"/>
                <a:gd name="connsiteX108" fmla="*/ 8940 w 9861"/>
                <a:gd name="connsiteY108" fmla="*/ 4698 h 10000"/>
                <a:gd name="connsiteX109" fmla="*/ 9022 w 9861"/>
                <a:gd name="connsiteY109" fmla="*/ 4500 h 10000"/>
                <a:gd name="connsiteX110" fmla="*/ 9101 w 9861"/>
                <a:gd name="connsiteY110" fmla="*/ 4294 h 10000"/>
                <a:gd name="connsiteX111" fmla="*/ 9177 w 9861"/>
                <a:gd name="connsiteY111" fmla="*/ 4091 h 10000"/>
                <a:gd name="connsiteX112" fmla="*/ 9249 w 9861"/>
                <a:gd name="connsiteY112" fmla="*/ 3885 h 10000"/>
                <a:gd name="connsiteX113" fmla="*/ 9320 w 9861"/>
                <a:gd name="connsiteY113" fmla="*/ 3674 h 10000"/>
                <a:gd name="connsiteX114" fmla="*/ 9386 w 9861"/>
                <a:gd name="connsiteY114" fmla="*/ 3464 h 10000"/>
                <a:gd name="connsiteX115" fmla="*/ 9451 w 9861"/>
                <a:gd name="connsiteY115" fmla="*/ 3248 h 10000"/>
                <a:gd name="connsiteX116" fmla="*/ 9510 w 9861"/>
                <a:gd name="connsiteY116" fmla="*/ 3030 h 10000"/>
                <a:gd name="connsiteX117" fmla="*/ 9566 w 9861"/>
                <a:gd name="connsiteY117" fmla="*/ 2815 h 10000"/>
                <a:gd name="connsiteX118" fmla="*/ 9619 w 9861"/>
                <a:gd name="connsiteY118" fmla="*/ 2592 h 10000"/>
                <a:gd name="connsiteX119" fmla="*/ 9670 w 9861"/>
                <a:gd name="connsiteY119" fmla="*/ 2369 h 10000"/>
                <a:gd name="connsiteX120" fmla="*/ 9714 w 9861"/>
                <a:gd name="connsiteY120" fmla="*/ 2143 h 10000"/>
                <a:gd name="connsiteX121" fmla="*/ 9757 w 9861"/>
                <a:gd name="connsiteY121" fmla="*/ 1918 h 10000"/>
                <a:gd name="connsiteX122" fmla="*/ 9796 w 9861"/>
                <a:gd name="connsiteY122" fmla="*/ 1690 h 10000"/>
                <a:gd name="connsiteX123" fmla="*/ 9830 w 9861"/>
                <a:gd name="connsiteY123" fmla="*/ 1457 h 10000"/>
                <a:gd name="connsiteX124" fmla="*/ 9861 w 9861"/>
                <a:gd name="connsiteY124" fmla="*/ 1222 h 10000"/>
                <a:gd name="connsiteX125" fmla="*/ 7421 w 9861"/>
                <a:gd name="connsiteY125" fmla="*/ 1876 h 10000"/>
                <a:gd name="connsiteX126" fmla="*/ 5383 w 9861"/>
                <a:gd name="connsiteY126" fmla="*/ 0 h 10000"/>
                <a:gd name="connsiteX0" fmla="*/ 5561 w 10102"/>
                <a:gd name="connsiteY0" fmla="*/ 0 h 10000"/>
                <a:gd name="connsiteX1" fmla="*/ 5561 w 10102"/>
                <a:gd name="connsiteY1" fmla="*/ 0 h 10000"/>
                <a:gd name="connsiteX2" fmla="*/ 5552 w 10102"/>
                <a:gd name="connsiteY2" fmla="*/ 99 h 10000"/>
                <a:gd name="connsiteX3" fmla="*/ 5537 w 10102"/>
                <a:gd name="connsiteY3" fmla="*/ 201 h 10000"/>
                <a:gd name="connsiteX4" fmla="*/ 5524 w 10102"/>
                <a:gd name="connsiteY4" fmla="*/ 300 h 10000"/>
                <a:gd name="connsiteX5" fmla="*/ 5509 w 10102"/>
                <a:gd name="connsiteY5" fmla="*/ 394 h 10000"/>
                <a:gd name="connsiteX6" fmla="*/ 5490 w 10102"/>
                <a:gd name="connsiteY6" fmla="*/ 491 h 10000"/>
                <a:gd name="connsiteX7" fmla="*/ 5471 w 10102"/>
                <a:gd name="connsiteY7" fmla="*/ 587 h 10000"/>
                <a:gd name="connsiteX8" fmla="*/ 5450 w 10102"/>
                <a:gd name="connsiteY8" fmla="*/ 684 h 10000"/>
                <a:gd name="connsiteX9" fmla="*/ 5428 w 10102"/>
                <a:gd name="connsiteY9" fmla="*/ 778 h 10000"/>
                <a:gd name="connsiteX10" fmla="*/ 5406 w 10102"/>
                <a:gd name="connsiteY10" fmla="*/ 870 h 10000"/>
                <a:gd name="connsiteX11" fmla="*/ 5378 w 10102"/>
                <a:gd name="connsiteY11" fmla="*/ 961 h 10000"/>
                <a:gd name="connsiteX12" fmla="*/ 5354 w 10102"/>
                <a:gd name="connsiteY12" fmla="*/ 1053 h 10000"/>
                <a:gd name="connsiteX13" fmla="*/ 5325 w 10102"/>
                <a:gd name="connsiteY13" fmla="*/ 1145 h 10000"/>
                <a:gd name="connsiteX14" fmla="*/ 5294 w 10102"/>
                <a:gd name="connsiteY14" fmla="*/ 1231 h 10000"/>
                <a:gd name="connsiteX15" fmla="*/ 5264 w 10102"/>
                <a:gd name="connsiteY15" fmla="*/ 1318 h 10000"/>
                <a:gd name="connsiteX16" fmla="*/ 5232 w 10102"/>
                <a:gd name="connsiteY16" fmla="*/ 1405 h 10000"/>
                <a:gd name="connsiteX17" fmla="*/ 5199 w 10102"/>
                <a:gd name="connsiteY17" fmla="*/ 1494 h 10000"/>
                <a:gd name="connsiteX18" fmla="*/ 5164 w 10102"/>
                <a:gd name="connsiteY18" fmla="*/ 1578 h 10000"/>
                <a:gd name="connsiteX19" fmla="*/ 5127 w 10102"/>
                <a:gd name="connsiteY19" fmla="*/ 1663 h 10000"/>
                <a:gd name="connsiteX20" fmla="*/ 5089 w 10102"/>
                <a:gd name="connsiteY20" fmla="*/ 1742 h 10000"/>
                <a:gd name="connsiteX21" fmla="*/ 5049 w 10102"/>
                <a:gd name="connsiteY21" fmla="*/ 1824 h 10000"/>
                <a:gd name="connsiteX22" fmla="*/ 5009 w 10102"/>
                <a:gd name="connsiteY22" fmla="*/ 1903 h 10000"/>
                <a:gd name="connsiteX23" fmla="*/ 4969 w 10102"/>
                <a:gd name="connsiteY23" fmla="*/ 1985 h 10000"/>
                <a:gd name="connsiteX24" fmla="*/ 4926 w 10102"/>
                <a:gd name="connsiteY24" fmla="*/ 2059 h 10000"/>
                <a:gd name="connsiteX25" fmla="*/ 4881 w 10102"/>
                <a:gd name="connsiteY25" fmla="*/ 2133 h 10000"/>
                <a:gd name="connsiteX26" fmla="*/ 4835 w 10102"/>
                <a:gd name="connsiteY26" fmla="*/ 2210 h 10000"/>
                <a:gd name="connsiteX27" fmla="*/ 4789 w 10102"/>
                <a:gd name="connsiteY27" fmla="*/ 2282 h 10000"/>
                <a:gd name="connsiteX28" fmla="*/ 4740 w 10102"/>
                <a:gd name="connsiteY28" fmla="*/ 2354 h 10000"/>
                <a:gd name="connsiteX29" fmla="*/ 4693 w 10102"/>
                <a:gd name="connsiteY29" fmla="*/ 2426 h 10000"/>
                <a:gd name="connsiteX30" fmla="*/ 4643 w 10102"/>
                <a:gd name="connsiteY30" fmla="*/ 2495 h 10000"/>
                <a:gd name="connsiteX31" fmla="*/ 4591 w 10102"/>
                <a:gd name="connsiteY31" fmla="*/ 2562 h 10000"/>
                <a:gd name="connsiteX32" fmla="*/ 4540 w 10102"/>
                <a:gd name="connsiteY32" fmla="*/ 2626 h 10000"/>
                <a:gd name="connsiteX33" fmla="*/ 4486 w 10102"/>
                <a:gd name="connsiteY33" fmla="*/ 2691 h 10000"/>
                <a:gd name="connsiteX34" fmla="*/ 4433 w 10102"/>
                <a:gd name="connsiteY34" fmla="*/ 2753 h 10000"/>
                <a:gd name="connsiteX35" fmla="*/ 4375 w 10102"/>
                <a:gd name="connsiteY35" fmla="*/ 2817 h 10000"/>
                <a:gd name="connsiteX36" fmla="*/ 4320 w 10102"/>
                <a:gd name="connsiteY36" fmla="*/ 2874 h 10000"/>
                <a:gd name="connsiteX37" fmla="*/ 4263 w 10102"/>
                <a:gd name="connsiteY37" fmla="*/ 2934 h 10000"/>
                <a:gd name="connsiteX38" fmla="*/ 4204 w 10102"/>
                <a:gd name="connsiteY38" fmla="*/ 2988 h 10000"/>
                <a:gd name="connsiteX39" fmla="*/ 4145 w 10102"/>
                <a:gd name="connsiteY39" fmla="*/ 3043 h 10000"/>
                <a:gd name="connsiteX40" fmla="*/ 4085 w 10102"/>
                <a:gd name="connsiteY40" fmla="*/ 3097 h 10000"/>
                <a:gd name="connsiteX41" fmla="*/ 4025 w 10102"/>
                <a:gd name="connsiteY41" fmla="*/ 3149 h 10000"/>
                <a:gd name="connsiteX42" fmla="*/ 3962 w 10102"/>
                <a:gd name="connsiteY42" fmla="*/ 3196 h 10000"/>
                <a:gd name="connsiteX43" fmla="*/ 3899 w 10102"/>
                <a:gd name="connsiteY43" fmla="*/ 3243 h 10000"/>
                <a:gd name="connsiteX44" fmla="*/ 4014 w 10102"/>
                <a:gd name="connsiteY44" fmla="*/ 6577 h 10000"/>
                <a:gd name="connsiteX45" fmla="*/ 244 w 10102"/>
                <a:gd name="connsiteY45" fmla="*/ 9623 h 10000"/>
                <a:gd name="connsiteX46" fmla="*/ 389 w 10102"/>
                <a:gd name="connsiteY46" fmla="*/ 9673 h 10000"/>
                <a:gd name="connsiteX47" fmla="*/ 531 w 10102"/>
                <a:gd name="connsiteY47" fmla="*/ 9720 h 10000"/>
                <a:gd name="connsiteX48" fmla="*/ 677 w 10102"/>
                <a:gd name="connsiteY48" fmla="*/ 9765 h 10000"/>
                <a:gd name="connsiteX49" fmla="*/ 823 w 10102"/>
                <a:gd name="connsiteY49" fmla="*/ 9804 h 10000"/>
                <a:gd name="connsiteX50" fmla="*/ 970 w 10102"/>
                <a:gd name="connsiteY50" fmla="*/ 9839 h 10000"/>
                <a:gd name="connsiteX51" fmla="*/ 1118 w 10102"/>
                <a:gd name="connsiteY51" fmla="*/ 9874 h 10000"/>
                <a:gd name="connsiteX52" fmla="*/ 1269 w 10102"/>
                <a:gd name="connsiteY52" fmla="*/ 9903 h 10000"/>
                <a:gd name="connsiteX53" fmla="*/ 1417 w 10102"/>
                <a:gd name="connsiteY53" fmla="*/ 9926 h 10000"/>
                <a:gd name="connsiteX54" fmla="*/ 1568 w 10102"/>
                <a:gd name="connsiteY54" fmla="*/ 9948 h 10000"/>
                <a:gd name="connsiteX55" fmla="*/ 1719 w 10102"/>
                <a:gd name="connsiteY55" fmla="*/ 9965 h 10000"/>
                <a:gd name="connsiteX56" fmla="*/ 1871 w 10102"/>
                <a:gd name="connsiteY56" fmla="*/ 9980 h 10000"/>
                <a:gd name="connsiteX57" fmla="*/ 2026 w 10102"/>
                <a:gd name="connsiteY57" fmla="*/ 9990 h 10000"/>
                <a:gd name="connsiteX58" fmla="*/ 2180 w 10102"/>
                <a:gd name="connsiteY58" fmla="*/ 9995 h 10000"/>
                <a:gd name="connsiteX59" fmla="*/ 2333 w 10102"/>
                <a:gd name="connsiteY59" fmla="*/ 10000 h 10000"/>
                <a:gd name="connsiteX60" fmla="*/ 2518 w 10102"/>
                <a:gd name="connsiteY60" fmla="*/ 9995 h 10000"/>
                <a:gd name="connsiteX61" fmla="*/ 2697 w 10102"/>
                <a:gd name="connsiteY61" fmla="*/ 9988 h 10000"/>
                <a:gd name="connsiteX62" fmla="*/ 2878 w 10102"/>
                <a:gd name="connsiteY62" fmla="*/ 9975 h 10000"/>
                <a:gd name="connsiteX63" fmla="*/ 3054 w 10102"/>
                <a:gd name="connsiteY63" fmla="*/ 9953 h 10000"/>
                <a:gd name="connsiteX64" fmla="*/ 3234 w 10102"/>
                <a:gd name="connsiteY64" fmla="*/ 9931 h 10000"/>
                <a:gd name="connsiteX65" fmla="*/ 3410 w 10102"/>
                <a:gd name="connsiteY65" fmla="*/ 9898 h 10000"/>
                <a:gd name="connsiteX66" fmla="*/ 3586 w 10102"/>
                <a:gd name="connsiteY66" fmla="*/ 9866 h 10000"/>
                <a:gd name="connsiteX67" fmla="*/ 3761 w 10102"/>
                <a:gd name="connsiteY67" fmla="*/ 9824 h 10000"/>
                <a:gd name="connsiteX68" fmla="*/ 3931 w 10102"/>
                <a:gd name="connsiteY68" fmla="*/ 9779 h 10000"/>
                <a:gd name="connsiteX69" fmla="*/ 4106 w 10102"/>
                <a:gd name="connsiteY69" fmla="*/ 9730 h 10000"/>
                <a:gd name="connsiteX70" fmla="*/ 4273 w 10102"/>
                <a:gd name="connsiteY70" fmla="*/ 9673 h 10000"/>
                <a:gd name="connsiteX71" fmla="*/ 4443 w 10102"/>
                <a:gd name="connsiteY71" fmla="*/ 9616 h 10000"/>
                <a:gd name="connsiteX72" fmla="*/ 4610 w 10102"/>
                <a:gd name="connsiteY72" fmla="*/ 9552 h 10000"/>
                <a:gd name="connsiteX73" fmla="*/ 4776 w 10102"/>
                <a:gd name="connsiteY73" fmla="*/ 9482 h 10000"/>
                <a:gd name="connsiteX74" fmla="*/ 4938 w 10102"/>
                <a:gd name="connsiteY74" fmla="*/ 9405 h 10000"/>
                <a:gd name="connsiteX75" fmla="*/ 5100 w 10102"/>
                <a:gd name="connsiteY75" fmla="*/ 9329 h 10000"/>
                <a:gd name="connsiteX76" fmla="*/ 5262 w 10102"/>
                <a:gd name="connsiteY76" fmla="*/ 9244 h 10000"/>
                <a:gd name="connsiteX77" fmla="*/ 5421 w 10102"/>
                <a:gd name="connsiteY77" fmla="*/ 9158 h 10000"/>
                <a:gd name="connsiteX78" fmla="*/ 5577 w 10102"/>
                <a:gd name="connsiteY78" fmla="*/ 9063 h 10000"/>
                <a:gd name="connsiteX79" fmla="*/ 5732 w 10102"/>
                <a:gd name="connsiteY79" fmla="*/ 8967 h 10000"/>
                <a:gd name="connsiteX80" fmla="*/ 5888 w 10102"/>
                <a:gd name="connsiteY80" fmla="*/ 8865 h 10000"/>
                <a:gd name="connsiteX81" fmla="*/ 6038 w 10102"/>
                <a:gd name="connsiteY81" fmla="*/ 8759 h 10000"/>
                <a:gd name="connsiteX82" fmla="*/ 6189 w 10102"/>
                <a:gd name="connsiteY82" fmla="*/ 8652 h 10000"/>
                <a:gd name="connsiteX83" fmla="*/ 6337 w 10102"/>
                <a:gd name="connsiteY83" fmla="*/ 8536 h 10000"/>
                <a:gd name="connsiteX84" fmla="*/ 6483 w 10102"/>
                <a:gd name="connsiteY84" fmla="*/ 8417 h 10000"/>
                <a:gd name="connsiteX85" fmla="*/ 6625 w 10102"/>
                <a:gd name="connsiteY85" fmla="*/ 8295 h 10000"/>
                <a:gd name="connsiteX86" fmla="*/ 6768 w 10102"/>
                <a:gd name="connsiteY86" fmla="*/ 8169 h 10000"/>
                <a:gd name="connsiteX87" fmla="*/ 6905 w 10102"/>
                <a:gd name="connsiteY87" fmla="*/ 8040 h 10000"/>
                <a:gd name="connsiteX88" fmla="*/ 7041 w 10102"/>
                <a:gd name="connsiteY88" fmla="*/ 7904 h 10000"/>
                <a:gd name="connsiteX89" fmla="*/ 7176 w 10102"/>
                <a:gd name="connsiteY89" fmla="*/ 7768 h 10000"/>
                <a:gd name="connsiteX90" fmla="*/ 7310 w 10102"/>
                <a:gd name="connsiteY90" fmla="*/ 7624 h 10000"/>
                <a:gd name="connsiteX91" fmla="*/ 7439 w 10102"/>
                <a:gd name="connsiteY91" fmla="*/ 7480 h 10000"/>
                <a:gd name="connsiteX92" fmla="*/ 7567 w 10102"/>
                <a:gd name="connsiteY92" fmla="*/ 7329 h 10000"/>
                <a:gd name="connsiteX93" fmla="*/ 7693 w 10102"/>
                <a:gd name="connsiteY93" fmla="*/ 7178 h 10000"/>
                <a:gd name="connsiteX94" fmla="*/ 7815 w 10102"/>
                <a:gd name="connsiteY94" fmla="*/ 7024 h 10000"/>
                <a:gd name="connsiteX95" fmla="*/ 7935 w 10102"/>
                <a:gd name="connsiteY95" fmla="*/ 6861 h 10000"/>
                <a:gd name="connsiteX96" fmla="*/ 8054 w 10102"/>
                <a:gd name="connsiteY96" fmla="*/ 6697 h 10000"/>
                <a:gd name="connsiteX97" fmla="*/ 8168 w 10102"/>
                <a:gd name="connsiteY97" fmla="*/ 6534 h 10000"/>
                <a:gd name="connsiteX98" fmla="*/ 8280 w 10102"/>
                <a:gd name="connsiteY98" fmla="*/ 6365 h 10000"/>
                <a:gd name="connsiteX99" fmla="*/ 8390 w 10102"/>
                <a:gd name="connsiteY99" fmla="*/ 6189 h 10000"/>
                <a:gd name="connsiteX100" fmla="*/ 8497 w 10102"/>
                <a:gd name="connsiteY100" fmla="*/ 6016 h 10000"/>
                <a:gd name="connsiteX101" fmla="*/ 8602 w 10102"/>
                <a:gd name="connsiteY101" fmla="*/ 5835 h 10000"/>
                <a:gd name="connsiteX102" fmla="*/ 8704 w 10102"/>
                <a:gd name="connsiteY102" fmla="*/ 5652 h 10000"/>
                <a:gd name="connsiteX103" fmla="*/ 8802 w 10102"/>
                <a:gd name="connsiteY103" fmla="*/ 5468 h 10000"/>
                <a:gd name="connsiteX104" fmla="*/ 8897 w 10102"/>
                <a:gd name="connsiteY104" fmla="*/ 5278 h 10000"/>
                <a:gd name="connsiteX105" fmla="*/ 8991 w 10102"/>
                <a:gd name="connsiteY105" fmla="*/ 5089 h 10000"/>
                <a:gd name="connsiteX106" fmla="*/ 9081 w 10102"/>
                <a:gd name="connsiteY106" fmla="*/ 4893 h 10000"/>
                <a:gd name="connsiteX107" fmla="*/ 9168 w 10102"/>
                <a:gd name="connsiteY107" fmla="*/ 4698 h 10000"/>
                <a:gd name="connsiteX108" fmla="*/ 9251 w 10102"/>
                <a:gd name="connsiteY108" fmla="*/ 4500 h 10000"/>
                <a:gd name="connsiteX109" fmla="*/ 9331 w 10102"/>
                <a:gd name="connsiteY109" fmla="*/ 4294 h 10000"/>
                <a:gd name="connsiteX110" fmla="*/ 9408 w 10102"/>
                <a:gd name="connsiteY110" fmla="*/ 4091 h 10000"/>
                <a:gd name="connsiteX111" fmla="*/ 9481 w 10102"/>
                <a:gd name="connsiteY111" fmla="*/ 3885 h 10000"/>
                <a:gd name="connsiteX112" fmla="*/ 9553 w 10102"/>
                <a:gd name="connsiteY112" fmla="*/ 3674 h 10000"/>
                <a:gd name="connsiteX113" fmla="*/ 9620 w 10102"/>
                <a:gd name="connsiteY113" fmla="*/ 3464 h 10000"/>
                <a:gd name="connsiteX114" fmla="*/ 9686 w 10102"/>
                <a:gd name="connsiteY114" fmla="*/ 3248 h 10000"/>
                <a:gd name="connsiteX115" fmla="*/ 9746 w 10102"/>
                <a:gd name="connsiteY115" fmla="*/ 3030 h 10000"/>
                <a:gd name="connsiteX116" fmla="*/ 9803 w 10102"/>
                <a:gd name="connsiteY116" fmla="*/ 2815 h 10000"/>
                <a:gd name="connsiteX117" fmla="*/ 9857 w 10102"/>
                <a:gd name="connsiteY117" fmla="*/ 2592 h 10000"/>
                <a:gd name="connsiteX118" fmla="*/ 9908 w 10102"/>
                <a:gd name="connsiteY118" fmla="*/ 2369 h 10000"/>
                <a:gd name="connsiteX119" fmla="*/ 9953 w 10102"/>
                <a:gd name="connsiteY119" fmla="*/ 2143 h 10000"/>
                <a:gd name="connsiteX120" fmla="*/ 9997 w 10102"/>
                <a:gd name="connsiteY120" fmla="*/ 1918 h 10000"/>
                <a:gd name="connsiteX121" fmla="*/ 10036 w 10102"/>
                <a:gd name="connsiteY121" fmla="*/ 1690 h 10000"/>
                <a:gd name="connsiteX122" fmla="*/ 10071 w 10102"/>
                <a:gd name="connsiteY122" fmla="*/ 1457 h 10000"/>
                <a:gd name="connsiteX123" fmla="*/ 10102 w 10102"/>
                <a:gd name="connsiteY123" fmla="*/ 1222 h 10000"/>
                <a:gd name="connsiteX124" fmla="*/ 7628 w 10102"/>
                <a:gd name="connsiteY124" fmla="*/ 1876 h 10000"/>
                <a:gd name="connsiteX125" fmla="*/ 5561 w 10102"/>
                <a:gd name="connsiteY125" fmla="*/ 0 h 10000"/>
                <a:gd name="connsiteX0" fmla="*/ 5172 w 9713"/>
                <a:gd name="connsiteY0" fmla="*/ 0 h 10000"/>
                <a:gd name="connsiteX1" fmla="*/ 5172 w 9713"/>
                <a:gd name="connsiteY1" fmla="*/ 0 h 10000"/>
                <a:gd name="connsiteX2" fmla="*/ 5163 w 9713"/>
                <a:gd name="connsiteY2" fmla="*/ 99 h 10000"/>
                <a:gd name="connsiteX3" fmla="*/ 5148 w 9713"/>
                <a:gd name="connsiteY3" fmla="*/ 201 h 10000"/>
                <a:gd name="connsiteX4" fmla="*/ 5135 w 9713"/>
                <a:gd name="connsiteY4" fmla="*/ 300 h 10000"/>
                <a:gd name="connsiteX5" fmla="*/ 5120 w 9713"/>
                <a:gd name="connsiteY5" fmla="*/ 394 h 10000"/>
                <a:gd name="connsiteX6" fmla="*/ 5101 w 9713"/>
                <a:gd name="connsiteY6" fmla="*/ 491 h 10000"/>
                <a:gd name="connsiteX7" fmla="*/ 5082 w 9713"/>
                <a:gd name="connsiteY7" fmla="*/ 587 h 10000"/>
                <a:gd name="connsiteX8" fmla="*/ 5061 w 9713"/>
                <a:gd name="connsiteY8" fmla="*/ 684 h 10000"/>
                <a:gd name="connsiteX9" fmla="*/ 5039 w 9713"/>
                <a:gd name="connsiteY9" fmla="*/ 778 h 10000"/>
                <a:gd name="connsiteX10" fmla="*/ 5017 w 9713"/>
                <a:gd name="connsiteY10" fmla="*/ 870 h 10000"/>
                <a:gd name="connsiteX11" fmla="*/ 4989 w 9713"/>
                <a:gd name="connsiteY11" fmla="*/ 961 h 10000"/>
                <a:gd name="connsiteX12" fmla="*/ 4965 w 9713"/>
                <a:gd name="connsiteY12" fmla="*/ 1053 h 10000"/>
                <a:gd name="connsiteX13" fmla="*/ 4936 w 9713"/>
                <a:gd name="connsiteY13" fmla="*/ 1145 h 10000"/>
                <a:gd name="connsiteX14" fmla="*/ 4905 w 9713"/>
                <a:gd name="connsiteY14" fmla="*/ 1231 h 10000"/>
                <a:gd name="connsiteX15" fmla="*/ 4875 w 9713"/>
                <a:gd name="connsiteY15" fmla="*/ 1318 h 10000"/>
                <a:gd name="connsiteX16" fmla="*/ 4843 w 9713"/>
                <a:gd name="connsiteY16" fmla="*/ 1405 h 10000"/>
                <a:gd name="connsiteX17" fmla="*/ 4810 w 9713"/>
                <a:gd name="connsiteY17" fmla="*/ 1494 h 10000"/>
                <a:gd name="connsiteX18" fmla="*/ 4775 w 9713"/>
                <a:gd name="connsiteY18" fmla="*/ 1578 h 10000"/>
                <a:gd name="connsiteX19" fmla="*/ 4738 w 9713"/>
                <a:gd name="connsiteY19" fmla="*/ 1663 h 10000"/>
                <a:gd name="connsiteX20" fmla="*/ 4700 w 9713"/>
                <a:gd name="connsiteY20" fmla="*/ 1742 h 10000"/>
                <a:gd name="connsiteX21" fmla="*/ 4660 w 9713"/>
                <a:gd name="connsiteY21" fmla="*/ 1824 h 10000"/>
                <a:gd name="connsiteX22" fmla="*/ 4620 w 9713"/>
                <a:gd name="connsiteY22" fmla="*/ 1903 h 10000"/>
                <a:gd name="connsiteX23" fmla="*/ 4580 w 9713"/>
                <a:gd name="connsiteY23" fmla="*/ 1985 h 10000"/>
                <a:gd name="connsiteX24" fmla="*/ 4537 w 9713"/>
                <a:gd name="connsiteY24" fmla="*/ 2059 h 10000"/>
                <a:gd name="connsiteX25" fmla="*/ 4492 w 9713"/>
                <a:gd name="connsiteY25" fmla="*/ 2133 h 10000"/>
                <a:gd name="connsiteX26" fmla="*/ 4446 w 9713"/>
                <a:gd name="connsiteY26" fmla="*/ 2210 h 10000"/>
                <a:gd name="connsiteX27" fmla="*/ 4400 w 9713"/>
                <a:gd name="connsiteY27" fmla="*/ 2282 h 10000"/>
                <a:gd name="connsiteX28" fmla="*/ 4351 w 9713"/>
                <a:gd name="connsiteY28" fmla="*/ 2354 h 10000"/>
                <a:gd name="connsiteX29" fmla="*/ 4304 w 9713"/>
                <a:gd name="connsiteY29" fmla="*/ 2426 h 10000"/>
                <a:gd name="connsiteX30" fmla="*/ 4254 w 9713"/>
                <a:gd name="connsiteY30" fmla="*/ 2495 h 10000"/>
                <a:gd name="connsiteX31" fmla="*/ 4202 w 9713"/>
                <a:gd name="connsiteY31" fmla="*/ 2562 h 10000"/>
                <a:gd name="connsiteX32" fmla="*/ 4151 w 9713"/>
                <a:gd name="connsiteY32" fmla="*/ 2626 h 10000"/>
                <a:gd name="connsiteX33" fmla="*/ 4097 w 9713"/>
                <a:gd name="connsiteY33" fmla="*/ 2691 h 10000"/>
                <a:gd name="connsiteX34" fmla="*/ 4044 w 9713"/>
                <a:gd name="connsiteY34" fmla="*/ 2753 h 10000"/>
                <a:gd name="connsiteX35" fmla="*/ 3986 w 9713"/>
                <a:gd name="connsiteY35" fmla="*/ 2817 h 10000"/>
                <a:gd name="connsiteX36" fmla="*/ 3931 w 9713"/>
                <a:gd name="connsiteY36" fmla="*/ 2874 h 10000"/>
                <a:gd name="connsiteX37" fmla="*/ 3874 w 9713"/>
                <a:gd name="connsiteY37" fmla="*/ 2934 h 10000"/>
                <a:gd name="connsiteX38" fmla="*/ 3815 w 9713"/>
                <a:gd name="connsiteY38" fmla="*/ 2988 h 10000"/>
                <a:gd name="connsiteX39" fmla="*/ 3756 w 9713"/>
                <a:gd name="connsiteY39" fmla="*/ 3043 h 10000"/>
                <a:gd name="connsiteX40" fmla="*/ 3696 w 9713"/>
                <a:gd name="connsiteY40" fmla="*/ 3097 h 10000"/>
                <a:gd name="connsiteX41" fmla="*/ 3636 w 9713"/>
                <a:gd name="connsiteY41" fmla="*/ 3149 h 10000"/>
                <a:gd name="connsiteX42" fmla="*/ 3573 w 9713"/>
                <a:gd name="connsiteY42" fmla="*/ 3196 h 10000"/>
                <a:gd name="connsiteX43" fmla="*/ 3510 w 9713"/>
                <a:gd name="connsiteY43" fmla="*/ 3243 h 10000"/>
                <a:gd name="connsiteX44" fmla="*/ 3625 w 9713"/>
                <a:gd name="connsiteY44" fmla="*/ 6577 h 10000"/>
                <a:gd name="connsiteX45" fmla="*/ 0 w 9713"/>
                <a:gd name="connsiteY45" fmla="*/ 9673 h 10000"/>
                <a:gd name="connsiteX46" fmla="*/ 142 w 9713"/>
                <a:gd name="connsiteY46" fmla="*/ 9720 h 10000"/>
                <a:gd name="connsiteX47" fmla="*/ 288 w 9713"/>
                <a:gd name="connsiteY47" fmla="*/ 9765 h 10000"/>
                <a:gd name="connsiteX48" fmla="*/ 434 w 9713"/>
                <a:gd name="connsiteY48" fmla="*/ 9804 h 10000"/>
                <a:gd name="connsiteX49" fmla="*/ 581 w 9713"/>
                <a:gd name="connsiteY49" fmla="*/ 9839 h 10000"/>
                <a:gd name="connsiteX50" fmla="*/ 729 w 9713"/>
                <a:gd name="connsiteY50" fmla="*/ 9874 h 10000"/>
                <a:gd name="connsiteX51" fmla="*/ 880 w 9713"/>
                <a:gd name="connsiteY51" fmla="*/ 9903 h 10000"/>
                <a:gd name="connsiteX52" fmla="*/ 1028 w 9713"/>
                <a:gd name="connsiteY52" fmla="*/ 9926 h 10000"/>
                <a:gd name="connsiteX53" fmla="*/ 1179 w 9713"/>
                <a:gd name="connsiteY53" fmla="*/ 9948 h 10000"/>
                <a:gd name="connsiteX54" fmla="*/ 1330 w 9713"/>
                <a:gd name="connsiteY54" fmla="*/ 9965 h 10000"/>
                <a:gd name="connsiteX55" fmla="*/ 1482 w 9713"/>
                <a:gd name="connsiteY55" fmla="*/ 9980 h 10000"/>
                <a:gd name="connsiteX56" fmla="*/ 1637 w 9713"/>
                <a:gd name="connsiteY56" fmla="*/ 9990 h 10000"/>
                <a:gd name="connsiteX57" fmla="*/ 1791 w 9713"/>
                <a:gd name="connsiteY57" fmla="*/ 9995 h 10000"/>
                <a:gd name="connsiteX58" fmla="*/ 1944 w 9713"/>
                <a:gd name="connsiteY58" fmla="*/ 10000 h 10000"/>
                <a:gd name="connsiteX59" fmla="*/ 2129 w 9713"/>
                <a:gd name="connsiteY59" fmla="*/ 9995 h 10000"/>
                <a:gd name="connsiteX60" fmla="*/ 2308 w 9713"/>
                <a:gd name="connsiteY60" fmla="*/ 9988 h 10000"/>
                <a:gd name="connsiteX61" fmla="*/ 2489 w 9713"/>
                <a:gd name="connsiteY61" fmla="*/ 9975 h 10000"/>
                <a:gd name="connsiteX62" fmla="*/ 2665 w 9713"/>
                <a:gd name="connsiteY62" fmla="*/ 9953 h 10000"/>
                <a:gd name="connsiteX63" fmla="*/ 2845 w 9713"/>
                <a:gd name="connsiteY63" fmla="*/ 9931 h 10000"/>
                <a:gd name="connsiteX64" fmla="*/ 3021 w 9713"/>
                <a:gd name="connsiteY64" fmla="*/ 9898 h 10000"/>
                <a:gd name="connsiteX65" fmla="*/ 3197 w 9713"/>
                <a:gd name="connsiteY65" fmla="*/ 9866 h 10000"/>
                <a:gd name="connsiteX66" fmla="*/ 3372 w 9713"/>
                <a:gd name="connsiteY66" fmla="*/ 9824 h 10000"/>
                <a:gd name="connsiteX67" fmla="*/ 3542 w 9713"/>
                <a:gd name="connsiteY67" fmla="*/ 9779 h 10000"/>
                <a:gd name="connsiteX68" fmla="*/ 3717 w 9713"/>
                <a:gd name="connsiteY68" fmla="*/ 9730 h 10000"/>
                <a:gd name="connsiteX69" fmla="*/ 3884 w 9713"/>
                <a:gd name="connsiteY69" fmla="*/ 9673 h 10000"/>
                <a:gd name="connsiteX70" fmla="*/ 4054 w 9713"/>
                <a:gd name="connsiteY70" fmla="*/ 9616 h 10000"/>
                <a:gd name="connsiteX71" fmla="*/ 4221 w 9713"/>
                <a:gd name="connsiteY71" fmla="*/ 9552 h 10000"/>
                <a:gd name="connsiteX72" fmla="*/ 4387 w 9713"/>
                <a:gd name="connsiteY72" fmla="*/ 9482 h 10000"/>
                <a:gd name="connsiteX73" fmla="*/ 4549 w 9713"/>
                <a:gd name="connsiteY73" fmla="*/ 9405 h 10000"/>
                <a:gd name="connsiteX74" fmla="*/ 4711 w 9713"/>
                <a:gd name="connsiteY74" fmla="*/ 9329 h 10000"/>
                <a:gd name="connsiteX75" fmla="*/ 4873 w 9713"/>
                <a:gd name="connsiteY75" fmla="*/ 9244 h 10000"/>
                <a:gd name="connsiteX76" fmla="*/ 5032 w 9713"/>
                <a:gd name="connsiteY76" fmla="*/ 9158 h 10000"/>
                <a:gd name="connsiteX77" fmla="*/ 5188 w 9713"/>
                <a:gd name="connsiteY77" fmla="*/ 9063 h 10000"/>
                <a:gd name="connsiteX78" fmla="*/ 5343 w 9713"/>
                <a:gd name="connsiteY78" fmla="*/ 8967 h 10000"/>
                <a:gd name="connsiteX79" fmla="*/ 5499 w 9713"/>
                <a:gd name="connsiteY79" fmla="*/ 8865 h 10000"/>
                <a:gd name="connsiteX80" fmla="*/ 5649 w 9713"/>
                <a:gd name="connsiteY80" fmla="*/ 8759 h 10000"/>
                <a:gd name="connsiteX81" fmla="*/ 5800 w 9713"/>
                <a:gd name="connsiteY81" fmla="*/ 8652 h 10000"/>
                <a:gd name="connsiteX82" fmla="*/ 5948 w 9713"/>
                <a:gd name="connsiteY82" fmla="*/ 8536 h 10000"/>
                <a:gd name="connsiteX83" fmla="*/ 6094 w 9713"/>
                <a:gd name="connsiteY83" fmla="*/ 8417 h 10000"/>
                <a:gd name="connsiteX84" fmla="*/ 6236 w 9713"/>
                <a:gd name="connsiteY84" fmla="*/ 8295 h 10000"/>
                <a:gd name="connsiteX85" fmla="*/ 6379 w 9713"/>
                <a:gd name="connsiteY85" fmla="*/ 8169 h 10000"/>
                <a:gd name="connsiteX86" fmla="*/ 6516 w 9713"/>
                <a:gd name="connsiteY86" fmla="*/ 8040 h 10000"/>
                <a:gd name="connsiteX87" fmla="*/ 6652 w 9713"/>
                <a:gd name="connsiteY87" fmla="*/ 7904 h 10000"/>
                <a:gd name="connsiteX88" fmla="*/ 6787 w 9713"/>
                <a:gd name="connsiteY88" fmla="*/ 7768 h 10000"/>
                <a:gd name="connsiteX89" fmla="*/ 6921 w 9713"/>
                <a:gd name="connsiteY89" fmla="*/ 7624 h 10000"/>
                <a:gd name="connsiteX90" fmla="*/ 7050 w 9713"/>
                <a:gd name="connsiteY90" fmla="*/ 7480 h 10000"/>
                <a:gd name="connsiteX91" fmla="*/ 7178 w 9713"/>
                <a:gd name="connsiteY91" fmla="*/ 7329 h 10000"/>
                <a:gd name="connsiteX92" fmla="*/ 7304 w 9713"/>
                <a:gd name="connsiteY92" fmla="*/ 7178 h 10000"/>
                <a:gd name="connsiteX93" fmla="*/ 7426 w 9713"/>
                <a:gd name="connsiteY93" fmla="*/ 7024 h 10000"/>
                <a:gd name="connsiteX94" fmla="*/ 7546 w 9713"/>
                <a:gd name="connsiteY94" fmla="*/ 6861 h 10000"/>
                <a:gd name="connsiteX95" fmla="*/ 7665 w 9713"/>
                <a:gd name="connsiteY95" fmla="*/ 6697 h 10000"/>
                <a:gd name="connsiteX96" fmla="*/ 7779 w 9713"/>
                <a:gd name="connsiteY96" fmla="*/ 6534 h 10000"/>
                <a:gd name="connsiteX97" fmla="*/ 7891 w 9713"/>
                <a:gd name="connsiteY97" fmla="*/ 6365 h 10000"/>
                <a:gd name="connsiteX98" fmla="*/ 8001 w 9713"/>
                <a:gd name="connsiteY98" fmla="*/ 6189 h 10000"/>
                <a:gd name="connsiteX99" fmla="*/ 8108 w 9713"/>
                <a:gd name="connsiteY99" fmla="*/ 6016 h 10000"/>
                <a:gd name="connsiteX100" fmla="*/ 8213 w 9713"/>
                <a:gd name="connsiteY100" fmla="*/ 5835 h 10000"/>
                <a:gd name="connsiteX101" fmla="*/ 8315 w 9713"/>
                <a:gd name="connsiteY101" fmla="*/ 5652 h 10000"/>
                <a:gd name="connsiteX102" fmla="*/ 8413 w 9713"/>
                <a:gd name="connsiteY102" fmla="*/ 5468 h 10000"/>
                <a:gd name="connsiteX103" fmla="*/ 8508 w 9713"/>
                <a:gd name="connsiteY103" fmla="*/ 5278 h 10000"/>
                <a:gd name="connsiteX104" fmla="*/ 8602 w 9713"/>
                <a:gd name="connsiteY104" fmla="*/ 5089 h 10000"/>
                <a:gd name="connsiteX105" fmla="*/ 8692 w 9713"/>
                <a:gd name="connsiteY105" fmla="*/ 4893 h 10000"/>
                <a:gd name="connsiteX106" fmla="*/ 8779 w 9713"/>
                <a:gd name="connsiteY106" fmla="*/ 4698 h 10000"/>
                <a:gd name="connsiteX107" fmla="*/ 8862 w 9713"/>
                <a:gd name="connsiteY107" fmla="*/ 4500 h 10000"/>
                <a:gd name="connsiteX108" fmla="*/ 8942 w 9713"/>
                <a:gd name="connsiteY108" fmla="*/ 4294 h 10000"/>
                <a:gd name="connsiteX109" fmla="*/ 9019 w 9713"/>
                <a:gd name="connsiteY109" fmla="*/ 4091 h 10000"/>
                <a:gd name="connsiteX110" fmla="*/ 9092 w 9713"/>
                <a:gd name="connsiteY110" fmla="*/ 3885 h 10000"/>
                <a:gd name="connsiteX111" fmla="*/ 9164 w 9713"/>
                <a:gd name="connsiteY111" fmla="*/ 3674 h 10000"/>
                <a:gd name="connsiteX112" fmla="*/ 9231 w 9713"/>
                <a:gd name="connsiteY112" fmla="*/ 3464 h 10000"/>
                <a:gd name="connsiteX113" fmla="*/ 9297 w 9713"/>
                <a:gd name="connsiteY113" fmla="*/ 3248 h 10000"/>
                <a:gd name="connsiteX114" fmla="*/ 9357 w 9713"/>
                <a:gd name="connsiteY114" fmla="*/ 3030 h 10000"/>
                <a:gd name="connsiteX115" fmla="*/ 9414 w 9713"/>
                <a:gd name="connsiteY115" fmla="*/ 2815 h 10000"/>
                <a:gd name="connsiteX116" fmla="*/ 9468 w 9713"/>
                <a:gd name="connsiteY116" fmla="*/ 2592 h 10000"/>
                <a:gd name="connsiteX117" fmla="*/ 9519 w 9713"/>
                <a:gd name="connsiteY117" fmla="*/ 2369 h 10000"/>
                <a:gd name="connsiteX118" fmla="*/ 9564 w 9713"/>
                <a:gd name="connsiteY118" fmla="*/ 2143 h 10000"/>
                <a:gd name="connsiteX119" fmla="*/ 9608 w 9713"/>
                <a:gd name="connsiteY119" fmla="*/ 1918 h 10000"/>
                <a:gd name="connsiteX120" fmla="*/ 9647 w 9713"/>
                <a:gd name="connsiteY120" fmla="*/ 1690 h 10000"/>
                <a:gd name="connsiteX121" fmla="*/ 9682 w 9713"/>
                <a:gd name="connsiteY121" fmla="*/ 1457 h 10000"/>
                <a:gd name="connsiteX122" fmla="*/ 9713 w 9713"/>
                <a:gd name="connsiteY122" fmla="*/ 1222 h 10000"/>
                <a:gd name="connsiteX123" fmla="*/ 7239 w 9713"/>
                <a:gd name="connsiteY123" fmla="*/ 1876 h 10000"/>
                <a:gd name="connsiteX124" fmla="*/ 5172 w 9713"/>
                <a:gd name="connsiteY124" fmla="*/ 0 h 10000"/>
                <a:gd name="connsiteX0" fmla="*/ 5179 w 9854"/>
                <a:gd name="connsiteY0" fmla="*/ 0 h 10000"/>
                <a:gd name="connsiteX1" fmla="*/ 5179 w 9854"/>
                <a:gd name="connsiteY1" fmla="*/ 0 h 10000"/>
                <a:gd name="connsiteX2" fmla="*/ 5170 w 9854"/>
                <a:gd name="connsiteY2" fmla="*/ 99 h 10000"/>
                <a:gd name="connsiteX3" fmla="*/ 5154 w 9854"/>
                <a:gd name="connsiteY3" fmla="*/ 201 h 10000"/>
                <a:gd name="connsiteX4" fmla="*/ 5141 w 9854"/>
                <a:gd name="connsiteY4" fmla="*/ 300 h 10000"/>
                <a:gd name="connsiteX5" fmla="*/ 5125 w 9854"/>
                <a:gd name="connsiteY5" fmla="*/ 394 h 10000"/>
                <a:gd name="connsiteX6" fmla="*/ 5106 w 9854"/>
                <a:gd name="connsiteY6" fmla="*/ 491 h 10000"/>
                <a:gd name="connsiteX7" fmla="*/ 5086 w 9854"/>
                <a:gd name="connsiteY7" fmla="*/ 587 h 10000"/>
                <a:gd name="connsiteX8" fmla="*/ 5065 w 9854"/>
                <a:gd name="connsiteY8" fmla="*/ 684 h 10000"/>
                <a:gd name="connsiteX9" fmla="*/ 5042 w 9854"/>
                <a:gd name="connsiteY9" fmla="*/ 778 h 10000"/>
                <a:gd name="connsiteX10" fmla="*/ 5019 w 9854"/>
                <a:gd name="connsiteY10" fmla="*/ 870 h 10000"/>
                <a:gd name="connsiteX11" fmla="*/ 4990 w 9854"/>
                <a:gd name="connsiteY11" fmla="*/ 961 h 10000"/>
                <a:gd name="connsiteX12" fmla="*/ 4966 w 9854"/>
                <a:gd name="connsiteY12" fmla="*/ 1053 h 10000"/>
                <a:gd name="connsiteX13" fmla="*/ 4936 w 9854"/>
                <a:gd name="connsiteY13" fmla="*/ 1145 h 10000"/>
                <a:gd name="connsiteX14" fmla="*/ 4904 w 9854"/>
                <a:gd name="connsiteY14" fmla="*/ 1231 h 10000"/>
                <a:gd name="connsiteX15" fmla="*/ 4873 w 9854"/>
                <a:gd name="connsiteY15" fmla="*/ 1318 h 10000"/>
                <a:gd name="connsiteX16" fmla="*/ 4840 w 9854"/>
                <a:gd name="connsiteY16" fmla="*/ 1405 h 10000"/>
                <a:gd name="connsiteX17" fmla="*/ 4806 w 9854"/>
                <a:gd name="connsiteY17" fmla="*/ 1494 h 10000"/>
                <a:gd name="connsiteX18" fmla="*/ 4770 w 9854"/>
                <a:gd name="connsiteY18" fmla="*/ 1578 h 10000"/>
                <a:gd name="connsiteX19" fmla="*/ 4732 w 9854"/>
                <a:gd name="connsiteY19" fmla="*/ 1663 h 10000"/>
                <a:gd name="connsiteX20" fmla="*/ 4693 w 9854"/>
                <a:gd name="connsiteY20" fmla="*/ 1742 h 10000"/>
                <a:gd name="connsiteX21" fmla="*/ 4652 w 9854"/>
                <a:gd name="connsiteY21" fmla="*/ 1824 h 10000"/>
                <a:gd name="connsiteX22" fmla="*/ 4611 w 9854"/>
                <a:gd name="connsiteY22" fmla="*/ 1903 h 10000"/>
                <a:gd name="connsiteX23" fmla="*/ 4569 w 9854"/>
                <a:gd name="connsiteY23" fmla="*/ 1985 h 10000"/>
                <a:gd name="connsiteX24" fmla="*/ 4525 w 9854"/>
                <a:gd name="connsiteY24" fmla="*/ 2059 h 10000"/>
                <a:gd name="connsiteX25" fmla="*/ 4479 w 9854"/>
                <a:gd name="connsiteY25" fmla="*/ 2133 h 10000"/>
                <a:gd name="connsiteX26" fmla="*/ 4431 w 9854"/>
                <a:gd name="connsiteY26" fmla="*/ 2210 h 10000"/>
                <a:gd name="connsiteX27" fmla="*/ 4384 w 9854"/>
                <a:gd name="connsiteY27" fmla="*/ 2282 h 10000"/>
                <a:gd name="connsiteX28" fmla="*/ 4334 w 9854"/>
                <a:gd name="connsiteY28" fmla="*/ 2354 h 10000"/>
                <a:gd name="connsiteX29" fmla="*/ 4285 w 9854"/>
                <a:gd name="connsiteY29" fmla="*/ 2426 h 10000"/>
                <a:gd name="connsiteX30" fmla="*/ 4234 w 9854"/>
                <a:gd name="connsiteY30" fmla="*/ 2495 h 10000"/>
                <a:gd name="connsiteX31" fmla="*/ 4180 w 9854"/>
                <a:gd name="connsiteY31" fmla="*/ 2562 h 10000"/>
                <a:gd name="connsiteX32" fmla="*/ 4128 w 9854"/>
                <a:gd name="connsiteY32" fmla="*/ 2626 h 10000"/>
                <a:gd name="connsiteX33" fmla="*/ 4072 w 9854"/>
                <a:gd name="connsiteY33" fmla="*/ 2691 h 10000"/>
                <a:gd name="connsiteX34" fmla="*/ 4017 w 9854"/>
                <a:gd name="connsiteY34" fmla="*/ 2753 h 10000"/>
                <a:gd name="connsiteX35" fmla="*/ 3958 w 9854"/>
                <a:gd name="connsiteY35" fmla="*/ 2817 h 10000"/>
                <a:gd name="connsiteX36" fmla="*/ 3901 w 9854"/>
                <a:gd name="connsiteY36" fmla="*/ 2874 h 10000"/>
                <a:gd name="connsiteX37" fmla="*/ 3842 w 9854"/>
                <a:gd name="connsiteY37" fmla="*/ 2934 h 10000"/>
                <a:gd name="connsiteX38" fmla="*/ 3782 w 9854"/>
                <a:gd name="connsiteY38" fmla="*/ 2988 h 10000"/>
                <a:gd name="connsiteX39" fmla="*/ 3721 w 9854"/>
                <a:gd name="connsiteY39" fmla="*/ 3043 h 10000"/>
                <a:gd name="connsiteX40" fmla="*/ 3659 w 9854"/>
                <a:gd name="connsiteY40" fmla="*/ 3097 h 10000"/>
                <a:gd name="connsiteX41" fmla="*/ 3597 w 9854"/>
                <a:gd name="connsiteY41" fmla="*/ 3149 h 10000"/>
                <a:gd name="connsiteX42" fmla="*/ 3533 w 9854"/>
                <a:gd name="connsiteY42" fmla="*/ 3196 h 10000"/>
                <a:gd name="connsiteX43" fmla="*/ 3468 w 9854"/>
                <a:gd name="connsiteY43" fmla="*/ 3243 h 10000"/>
                <a:gd name="connsiteX44" fmla="*/ 3586 w 9854"/>
                <a:gd name="connsiteY44" fmla="*/ 6577 h 10000"/>
                <a:gd name="connsiteX45" fmla="*/ 0 w 9854"/>
                <a:gd name="connsiteY45" fmla="*/ 9720 h 10000"/>
                <a:gd name="connsiteX46" fmla="*/ 151 w 9854"/>
                <a:gd name="connsiteY46" fmla="*/ 9765 h 10000"/>
                <a:gd name="connsiteX47" fmla="*/ 301 w 9854"/>
                <a:gd name="connsiteY47" fmla="*/ 9804 h 10000"/>
                <a:gd name="connsiteX48" fmla="*/ 452 w 9854"/>
                <a:gd name="connsiteY48" fmla="*/ 9839 h 10000"/>
                <a:gd name="connsiteX49" fmla="*/ 605 w 9854"/>
                <a:gd name="connsiteY49" fmla="*/ 9874 h 10000"/>
                <a:gd name="connsiteX50" fmla="*/ 760 w 9854"/>
                <a:gd name="connsiteY50" fmla="*/ 9903 h 10000"/>
                <a:gd name="connsiteX51" fmla="*/ 912 w 9854"/>
                <a:gd name="connsiteY51" fmla="*/ 9926 h 10000"/>
                <a:gd name="connsiteX52" fmla="*/ 1068 w 9854"/>
                <a:gd name="connsiteY52" fmla="*/ 9948 h 10000"/>
                <a:gd name="connsiteX53" fmla="*/ 1223 w 9854"/>
                <a:gd name="connsiteY53" fmla="*/ 9965 h 10000"/>
                <a:gd name="connsiteX54" fmla="*/ 1380 w 9854"/>
                <a:gd name="connsiteY54" fmla="*/ 9980 h 10000"/>
                <a:gd name="connsiteX55" fmla="*/ 1539 w 9854"/>
                <a:gd name="connsiteY55" fmla="*/ 9990 h 10000"/>
                <a:gd name="connsiteX56" fmla="*/ 1698 w 9854"/>
                <a:gd name="connsiteY56" fmla="*/ 9995 h 10000"/>
                <a:gd name="connsiteX57" fmla="*/ 1855 w 9854"/>
                <a:gd name="connsiteY57" fmla="*/ 10000 h 10000"/>
                <a:gd name="connsiteX58" fmla="*/ 2046 w 9854"/>
                <a:gd name="connsiteY58" fmla="*/ 9995 h 10000"/>
                <a:gd name="connsiteX59" fmla="*/ 2230 w 9854"/>
                <a:gd name="connsiteY59" fmla="*/ 9988 h 10000"/>
                <a:gd name="connsiteX60" fmla="*/ 2417 w 9854"/>
                <a:gd name="connsiteY60" fmla="*/ 9975 h 10000"/>
                <a:gd name="connsiteX61" fmla="*/ 2598 w 9854"/>
                <a:gd name="connsiteY61" fmla="*/ 9953 h 10000"/>
                <a:gd name="connsiteX62" fmla="*/ 2783 w 9854"/>
                <a:gd name="connsiteY62" fmla="*/ 9931 h 10000"/>
                <a:gd name="connsiteX63" fmla="*/ 2964 w 9854"/>
                <a:gd name="connsiteY63" fmla="*/ 9898 h 10000"/>
                <a:gd name="connsiteX64" fmla="*/ 3145 w 9854"/>
                <a:gd name="connsiteY64" fmla="*/ 9866 h 10000"/>
                <a:gd name="connsiteX65" fmla="*/ 3326 w 9854"/>
                <a:gd name="connsiteY65" fmla="*/ 9824 h 10000"/>
                <a:gd name="connsiteX66" fmla="*/ 3501 w 9854"/>
                <a:gd name="connsiteY66" fmla="*/ 9779 h 10000"/>
                <a:gd name="connsiteX67" fmla="*/ 3681 w 9854"/>
                <a:gd name="connsiteY67" fmla="*/ 9730 h 10000"/>
                <a:gd name="connsiteX68" fmla="*/ 3853 w 9854"/>
                <a:gd name="connsiteY68" fmla="*/ 9673 h 10000"/>
                <a:gd name="connsiteX69" fmla="*/ 4028 w 9854"/>
                <a:gd name="connsiteY69" fmla="*/ 9616 h 10000"/>
                <a:gd name="connsiteX70" fmla="*/ 4200 w 9854"/>
                <a:gd name="connsiteY70" fmla="*/ 9552 h 10000"/>
                <a:gd name="connsiteX71" fmla="*/ 4371 w 9854"/>
                <a:gd name="connsiteY71" fmla="*/ 9482 h 10000"/>
                <a:gd name="connsiteX72" fmla="*/ 4537 w 9854"/>
                <a:gd name="connsiteY72" fmla="*/ 9405 h 10000"/>
                <a:gd name="connsiteX73" fmla="*/ 4704 w 9854"/>
                <a:gd name="connsiteY73" fmla="*/ 9329 h 10000"/>
                <a:gd name="connsiteX74" fmla="*/ 4871 w 9854"/>
                <a:gd name="connsiteY74" fmla="*/ 9244 h 10000"/>
                <a:gd name="connsiteX75" fmla="*/ 5035 w 9854"/>
                <a:gd name="connsiteY75" fmla="*/ 9158 h 10000"/>
                <a:gd name="connsiteX76" fmla="*/ 5195 w 9854"/>
                <a:gd name="connsiteY76" fmla="*/ 9063 h 10000"/>
                <a:gd name="connsiteX77" fmla="*/ 5355 w 9854"/>
                <a:gd name="connsiteY77" fmla="*/ 8967 h 10000"/>
                <a:gd name="connsiteX78" fmla="*/ 5515 w 9854"/>
                <a:gd name="connsiteY78" fmla="*/ 8865 h 10000"/>
                <a:gd name="connsiteX79" fmla="*/ 5670 w 9854"/>
                <a:gd name="connsiteY79" fmla="*/ 8759 h 10000"/>
                <a:gd name="connsiteX80" fmla="*/ 5825 w 9854"/>
                <a:gd name="connsiteY80" fmla="*/ 8652 h 10000"/>
                <a:gd name="connsiteX81" fmla="*/ 5978 w 9854"/>
                <a:gd name="connsiteY81" fmla="*/ 8536 h 10000"/>
                <a:gd name="connsiteX82" fmla="*/ 6128 w 9854"/>
                <a:gd name="connsiteY82" fmla="*/ 8417 h 10000"/>
                <a:gd name="connsiteX83" fmla="*/ 6274 w 9854"/>
                <a:gd name="connsiteY83" fmla="*/ 8295 h 10000"/>
                <a:gd name="connsiteX84" fmla="*/ 6421 w 9854"/>
                <a:gd name="connsiteY84" fmla="*/ 8169 h 10000"/>
                <a:gd name="connsiteX85" fmla="*/ 6563 w 9854"/>
                <a:gd name="connsiteY85" fmla="*/ 8040 h 10000"/>
                <a:gd name="connsiteX86" fmla="*/ 6703 w 9854"/>
                <a:gd name="connsiteY86" fmla="*/ 7904 h 10000"/>
                <a:gd name="connsiteX87" fmla="*/ 6842 w 9854"/>
                <a:gd name="connsiteY87" fmla="*/ 7768 h 10000"/>
                <a:gd name="connsiteX88" fmla="*/ 6980 w 9854"/>
                <a:gd name="connsiteY88" fmla="*/ 7624 h 10000"/>
                <a:gd name="connsiteX89" fmla="*/ 7112 w 9854"/>
                <a:gd name="connsiteY89" fmla="*/ 7480 h 10000"/>
                <a:gd name="connsiteX90" fmla="*/ 7244 w 9854"/>
                <a:gd name="connsiteY90" fmla="*/ 7329 h 10000"/>
                <a:gd name="connsiteX91" fmla="*/ 7374 w 9854"/>
                <a:gd name="connsiteY91" fmla="*/ 7178 h 10000"/>
                <a:gd name="connsiteX92" fmla="*/ 7499 w 9854"/>
                <a:gd name="connsiteY92" fmla="*/ 7024 h 10000"/>
                <a:gd name="connsiteX93" fmla="*/ 7623 w 9854"/>
                <a:gd name="connsiteY93" fmla="*/ 6861 h 10000"/>
                <a:gd name="connsiteX94" fmla="*/ 7745 w 9854"/>
                <a:gd name="connsiteY94" fmla="*/ 6697 h 10000"/>
                <a:gd name="connsiteX95" fmla="*/ 7863 w 9854"/>
                <a:gd name="connsiteY95" fmla="*/ 6534 h 10000"/>
                <a:gd name="connsiteX96" fmla="*/ 7978 w 9854"/>
                <a:gd name="connsiteY96" fmla="*/ 6365 h 10000"/>
                <a:gd name="connsiteX97" fmla="*/ 8091 w 9854"/>
                <a:gd name="connsiteY97" fmla="*/ 6189 h 10000"/>
                <a:gd name="connsiteX98" fmla="*/ 8202 w 9854"/>
                <a:gd name="connsiteY98" fmla="*/ 6016 h 10000"/>
                <a:gd name="connsiteX99" fmla="*/ 8310 w 9854"/>
                <a:gd name="connsiteY99" fmla="*/ 5835 h 10000"/>
                <a:gd name="connsiteX100" fmla="*/ 8415 w 9854"/>
                <a:gd name="connsiteY100" fmla="*/ 5652 h 10000"/>
                <a:gd name="connsiteX101" fmla="*/ 8516 w 9854"/>
                <a:gd name="connsiteY101" fmla="*/ 5468 h 10000"/>
                <a:gd name="connsiteX102" fmla="*/ 8613 w 9854"/>
                <a:gd name="connsiteY102" fmla="*/ 5278 h 10000"/>
                <a:gd name="connsiteX103" fmla="*/ 8710 w 9854"/>
                <a:gd name="connsiteY103" fmla="*/ 5089 h 10000"/>
                <a:gd name="connsiteX104" fmla="*/ 8803 w 9854"/>
                <a:gd name="connsiteY104" fmla="*/ 4893 h 10000"/>
                <a:gd name="connsiteX105" fmla="*/ 8892 w 9854"/>
                <a:gd name="connsiteY105" fmla="*/ 4698 h 10000"/>
                <a:gd name="connsiteX106" fmla="*/ 8978 w 9854"/>
                <a:gd name="connsiteY106" fmla="*/ 4500 h 10000"/>
                <a:gd name="connsiteX107" fmla="*/ 9060 w 9854"/>
                <a:gd name="connsiteY107" fmla="*/ 4294 h 10000"/>
                <a:gd name="connsiteX108" fmla="*/ 9139 w 9854"/>
                <a:gd name="connsiteY108" fmla="*/ 4091 h 10000"/>
                <a:gd name="connsiteX109" fmla="*/ 9215 w 9854"/>
                <a:gd name="connsiteY109" fmla="*/ 3885 h 10000"/>
                <a:gd name="connsiteX110" fmla="*/ 9289 w 9854"/>
                <a:gd name="connsiteY110" fmla="*/ 3674 h 10000"/>
                <a:gd name="connsiteX111" fmla="*/ 9358 w 9854"/>
                <a:gd name="connsiteY111" fmla="*/ 3464 h 10000"/>
                <a:gd name="connsiteX112" fmla="*/ 9426 w 9854"/>
                <a:gd name="connsiteY112" fmla="*/ 3248 h 10000"/>
                <a:gd name="connsiteX113" fmla="*/ 9487 w 9854"/>
                <a:gd name="connsiteY113" fmla="*/ 3030 h 10000"/>
                <a:gd name="connsiteX114" fmla="*/ 9546 w 9854"/>
                <a:gd name="connsiteY114" fmla="*/ 2815 h 10000"/>
                <a:gd name="connsiteX115" fmla="*/ 9602 w 9854"/>
                <a:gd name="connsiteY115" fmla="*/ 2592 h 10000"/>
                <a:gd name="connsiteX116" fmla="*/ 9654 w 9854"/>
                <a:gd name="connsiteY116" fmla="*/ 2369 h 10000"/>
                <a:gd name="connsiteX117" fmla="*/ 9701 w 9854"/>
                <a:gd name="connsiteY117" fmla="*/ 2143 h 10000"/>
                <a:gd name="connsiteX118" fmla="*/ 9746 w 9854"/>
                <a:gd name="connsiteY118" fmla="*/ 1918 h 10000"/>
                <a:gd name="connsiteX119" fmla="*/ 9786 w 9854"/>
                <a:gd name="connsiteY119" fmla="*/ 1690 h 10000"/>
                <a:gd name="connsiteX120" fmla="*/ 9822 w 9854"/>
                <a:gd name="connsiteY120" fmla="*/ 1457 h 10000"/>
                <a:gd name="connsiteX121" fmla="*/ 9854 w 9854"/>
                <a:gd name="connsiteY121" fmla="*/ 1222 h 10000"/>
                <a:gd name="connsiteX122" fmla="*/ 7307 w 9854"/>
                <a:gd name="connsiteY122" fmla="*/ 1876 h 10000"/>
                <a:gd name="connsiteX123" fmla="*/ 5179 w 9854"/>
                <a:gd name="connsiteY123" fmla="*/ 0 h 10000"/>
                <a:gd name="connsiteX0" fmla="*/ 5325 w 10069"/>
                <a:gd name="connsiteY0" fmla="*/ 0 h 10011"/>
                <a:gd name="connsiteX1" fmla="*/ 5325 w 10069"/>
                <a:gd name="connsiteY1" fmla="*/ 0 h 10011"/>
                <a:gd name="connsiteX2" fmla="*/ 5316 w 10069"/>
                <a:gd name="connsiteY2" fmla="*/ 99 h 10011"/>
                <a:gd name="connsiteX3" fmla="*/ 5299 w 10069"/>
                <a:gd name="connsiteY3" fmla="*/ 201 h 10011"/>
                <a:gd name="connsiteX4" fmla="*/ 5286 w 10069"/>
                <a:gd name="connsiteY4" fmla="*/ 300 h 10011"/>
                <a:gd name="connsiteX5" fmla="*/ 5270 w 10069"/>
                <a:gd name="connsiteY5" fmla="*/ 394 h 10011"/>
                <a:gd name="connsiteX6" fmla="*/ 5251 w 10069"/>
                <a:gd name="connsiteY6" fmla="*/ 491 h 10011"/>
                <a:gd name="connsiteX7" fmla="*/ 5230 w 10069"/>
                <a:gd name="connsiteY7" fmla="*/ 587 h 10011"/>
                <a:gd name="connsiteX8" fmla="*/ 5209 w 10069"/>
                <a:gd name="connsiteY8" fmla="*/ 684 h 10011"/>
                <a:gd name="connsiteX9" fmla="*/ 5186 w 10069"/>
                <a:gd name="connsiteY9" fmla="*/ 778 h 10011"/>
                <a:gd name="connsiteX10" fmla="*/ 5162 w 10069"/>
                <a:gd name="connsiteY10" fmla="*/ 870 h 10011"/>
                <a:gd name="connsiteX11" fmla="*/ 5133 w 10069"/>
                <a:gd name="connsiteY11" fmla="*/ 961 h 10011"/>
                <a:gd name="connsiteX12" fmla="*/ 5109 w 10069"/>
                <a:gd name="connsiteY12" fmla="*/ 1053 h 10011"/>
                <a:gd name="connsiteX13" fmla="*/ 5078 w 10069"/>
                <a:gd name="connsiteY13" fmla="*/ 1145 h 10011"/>
                <a:gd name="connsiteX14" fmla="*/ 5046 w 10069"/>
                <a:gd name="connsiteY14" fmla="*/ 1231 h 10011"/>
                <a:gd name="connsiteX15" fmla="*/ 5014 w 10069"/>
                <a:gd name="connsiteY15" fmla="*/ 1318 h 10011"/>
                <a:gd name="connsiteX16" fmla="*/ 4981 w 10069"/>
                <a:gd name="connsiteY16" fmla="*/ 1405 h 10011"/>
                <a:gd name="connsiteX17" fmla="*/ 4946 w 10069"/>
                <a:gd name="connsiteY17" fmla="*/ 1494 h 10011"/>
                <a:gd name="connsiteX18" fmla="*/ 4910 w 10069"/>
                <a:gd name="connsiteY18" fmla="*/ 1578 h 10011"/>
                <a:gd name="connsiteX19" fmla="*/ 4871 w 10069"/>
                <a:gd name="connsiteY19" fmla="*/ 1663 h 10011"/>
                <a:gd name="connsiteX20" fmla="*/ 4832 w 10069"/>
                <a:gd name="connsiteY20" fmla="*/ 1742 h 10011"/>
                <a:gd name="connsiteX21" fmla="*/ 4790 w 10069"/>
                <a:gd name="connsiteY21" fmla="*/ 1824 h 10011"/>
                <a:gd name="connsiteX22" fmla="*/ 4748 w 10069"/>
                <a:gd name="connsiteY22" fmla="*/ 1903 h 10011"/>
                <a:gd name="connsiteX23" fmla="*/ 4706 w 10069"/>
                <a:gd name="connsiteY23" fmla="*/ 1985 h 10011"/>
                <a:gd name="connsiteX24" fmla="*/ 4661 w 10069"/>
                <a:gd name="connsiteY24" fmla="*/ 2059 h 10011"/>
                <a:gd name="connsiteX25" fmla="*/ 4614 w 10069"/>
                <a:gd name="connsiteY25" fmla="*/ 2133 h 10011"/>
                <a:gd name="connsiteX26" fmla="*/ 4566 w 10069"/>
                <a:gd name="connsiteY26" fmla="*/ 2210 h 10011"/>
                <a:gd name="connsiteX27" fmla="*/ 4518 w 10069"/>
                <a:gd name="connsiteY27" fmla="*/ 2282 h 10011"/>
                <a:gd name="connsiteX28" fmla="*/ 4467 w 10069"/>
                <a:gd name="connsiteY28" fmla="*/ 2354 h 10011"/>
                <a:gd name="connsiteX29" fmla="*/ 4417 w 10069"/>
                <a:gd name="connsiteY29" fmla="*/ 2426 h 10011"/>
                <a:gd name="connsiteX30" fmla="*/ 4366 w 10069"/>
                <a:gd name="connsiteY30" fmla="*/ 2495 h 10011"/>
                <a:gd name="connsiteX31" fmla="*/ 4311 w 10069"/>
                <a:gd name="connsiteY31" fmla="*/ 2562 h 10011"/>
                <a:gd name="connsiteX32" fmla="*/ 4258 w 10069"/>
                <a:gd name="connsiteY32" fmla="*/ 2626 h 10011"/>
                <a:gd name="connsiteX33" fmla="*/ 4201 w 10069"/>
                <a:gd name="connsiteY33" fmla="*/ 2691 h 10011"/>
                <a:gd name="connsiteX34" fmla="*/ 4146 w 10069"/>
                <a:gd name="connsiteY34" fmla="*/ 2753 h 10011"/>
                <a:gd name="connsiteX35" fmla="*/ 4086 w 10069"/>
                <a:gd name="connsiteY35" fmla="*/ 2817 h 10011"/>
                <a:gd name="connsiteX36" fmla="*/ 4028 w 10069"/>
                <a:gd name="connsiteY36" fmla="*/ 2874 h 10011"/>
                <a:gd name="connsiteX37" fmla="*/ 3968 w 10069"/>
                <a:gd name="connsiteY37" fmla="*/ 2934 h 10011"/>
                <a:gd name="connsiteX38" fmla="*/ 3907 w 10069"/>
                <a:gd name="connsiteY38" fmla="*/ 2988 h 10011"/>
                <a:gd name="connsiteX39" fmla="*/ 3845 w 10069"/>
                <a:gd name="connsiteY39" fmla="*/ 3043 h 10011"/>
                <a:gd name="connsiteX40" fmla="*/ 3782 w 10069"/>
                <a:gd name="connsiteY40" fmla="*/ 3097 h 10011"/>
                <a:gd name="connsiteX41" fmla="*/ 3719 w 10069"/>
                <a:gd name="connsiteY41" fmla="*/ 3149 h 10011"/>
                <a:gd name="connsiteX42" fmla="*/ 3654 w 10069"/>
                <a:gd name="connsiteY42" fmla="*/ 3196 h 10011"/>
                <a:gd name="connsiteX43" fmla="*/ 3588 w 10069"/>
                <a:gd name="connsiteY43" fmla="*/ 3243 h 10011"/>
                <a:gd name="connsiteX44" fmla="*/ 3708 w 10069"/>
                <a:gd name="connsiteY44" fmla="*/ 6577 h 10011"/>
                <a:gd name="connsiteX45" fmla="*/ 222 w 10069"/>
                <a:gd name="connsiteY45" fmla="*/ 9765 h 10011"/>
                <a:gd name="connsiteX46" fmla="*/ 374 w 10069"/>
                <a:gd name="connsiteY46" fmla="*/ 9804 h 10011"/>
                <a:gd name="connsiteX47" fmla="*/ 528 w 10069"/>
                <a:gd name="connsiteY47" fmla="*/ 9839 h 10011"/>
                <a:gd name="connsiteX48" fmla="*/ 683 w 10069"/>
                <a:gd name="connsiteY48" fmla="*/ 9874 h 10011"/>
                <a:gd name="connsiteX49" fmla="*/ 840 w 10069"/>
                <a:gd name="connsiteY49" fmla="*/ 9903 h 10011"/>
                <a:gd name="connsiteX50" fmla="*/ 995 w 10069"/>
                <a:gd name="connsiteY50" fmla="*/ 9926 h 10011"/>
                <a:gd name="connsiteX51" fmla="*/ 1153 w 10069"/>
                <a:gd name="connsiteY51" fmla="*/ 9948 h 10011"/>
                <a:gd name="connsiteX52" fmla="*/ 1310 w 10069"/>
                <a:gd name="connsiteY52" fmla="*/ 9965 h 10011"/>
                <a:gd name="connsiteX53" fmla="*/ 1469 w 10069"/>
                <a:gd name="connsiteY53" fmla="*/ 9980 h 10011"/>
                <a:gd name="connsiteX54" fmla="*/ 1631 w 10069"/>
                <a:gd name="connsiteY54" fmla="*/ 9990 h 10011"/>
                <a:gd name="connsiteX55" fmla="*/ 1792 w 10069"/>
                <a:gd name="connsiteY55" fmla="*/ 9995 h 10011"/>
                <a:gd name="connsiteX56" fmla="*/ 1951 w 10069"/>
                <a:gd name="connsiteY56" fmla="*/ 10000 h 10011"/>
                <a:gd name="connsiteX57" fmla="*/ 2145 w 10069"/>
                <a:gd name="connsiteY57" fmla="*/ 9995 h 10011"/>
                <a:gd name="connsiteX58" fmla="*/ 2332 w 10069"/>
                <a:gd name="connsiteY58" fmla="*/ 9988 h 10011"/>
                <a:gd name="connsiteX59" fmla="*/ 2522 w 10069"/>
                <a:gd name="connsiteY59" fmla="*/ 9975 h 10011"/>
                <a:gd name="connsiteX60" fmla="*/ 2705 w 10069"/>
                <a:gd name="connsiteY60" fmla="*/ 9953 h 10011"/>
                <a:gd name="connsiteX61" fmla="*/ 2893 w 10069"/>
                <a:gd name="connsiteY61" fmla="*/ 9931 h 10011"/>
                <a:gd name="connsiteX62" fmla="*/ 3077 w 10069"/>
                <a:gd name="connsiteY62" fmla="*/ 9898 h 10011"/>
                <a:gd name="connsiteX63" fmla="*/ 3261 w 10069"/>
                <a:gd name="connsiteY63" fmla="*/ 9866 h 10011"/>
                <a:gd name="connsiteX64" fmla="*/ 3444 w 10069"/>
                <a:gd name="connsiteY64" fmla="*/ 9824 h 10011"/>
                <a:gd name="connsiteX65" fmla="*/ 3622 w 10069"/>
                <a:gd name="connsiteY65" fmla="*/ 9779 h 10011"/>
                <a:gd name="connsiteX66" fmla="*/ 3805 w 10069"/>
                <a:gd name="connsiteY66" fmla="*/ 9730 h 10011"/>
                <a:gd name="connsiteX67" fmla="*/ 3979 w 10069"/>
                <a:gd name="connsiteY67" fmla="*/ 9673 h 10011"/>
                <a:gd name="connsiteX68" fmla="*/ 4157 w 10069"/>
                <a:gd name="connsiteY68" fmla="*/ 9616 h 10011"/>
                <a:gd name="connsiteX69" fmla="*/ 4331 w 10069"/>
                <a:gd name="connsiteY69" fmla="*/ 9552 h 10011"/>
                <a:gd name="connsiteX70" fmla="*/ 4505 w 10069"/>
                <a:gd name="connsiteY70" fmla="*/ 9482 h 10011"/>
                <a:gd name="connsiteX71" fmla="*/ 4673 w 10069"/>
                <a:gd name="connsiteY71" fmla="*/ 9405 h 10011"/>
                <a:gd name="connsiteX72" fmla="*/ 4843 w 10069"/>
                <a:gd name="connsiteY72" fmla="*/ 9329 h 10011"/>
                <a:gd name="connsiteX73" fmla="*/ 5012 w 10069"/>
                <a:gd name="connsiteY73" fmla="*/ 9244 h 10011"/>
                <a:gd name="connsiteX74" fmla="*/ 5179 w 10069"/>
                <a:gd name="connsiteY74" fmla="*/ 9158 h 10011"/>
                <a:gd name="connsiteX75" fmla="*/ 5341 w 10069"/>
                <a:gd name="connsiteY75" fmla="*/ 9063 h 10011"/>
                <a:gd name="connsiteX76" fmla="*/ 5503 w 10069"/>
                <a:gd name="connsiteY76" fmla="*/ 8967 h 10011"/>
                <a:gd name="connsiteX77" fmla="*/ 5666 w 10069"/>
                <a:gd name="connsiteY77" fmla="*/ 8865 h 10011"/>
                <a:gd name="connsiteX78" fmla="*/ 5823 w 10069"/>
                <a:gd name="connsiteY78" fmla="*/ 8759 h 10011"/>
                <a:gd name="connsiteX79" fmla="*/ 5980 w 10069"/>
                <a:gd name="connsiteY79" fmla="*/ 8652 h 10011"/>
                <a:gd name="connsiteX80" fmla="*/ 6136 w 10069"/>
                <a:gd name="connsiteY80" fmla="*/ 8536 h 10011"/>
                <a:gd name="connsiteX81" fmla="*/ 6288 w 10069"/>
                <a:gd name="connsiteY81" fmla="*/ 8417 h 10011"/>
                <a:gd name="connsiteX82" fmla="*/ 6436 w 10069"/>
                <a:gd name="connsiteY82" fmla="*/ 8295 h 10011"/>
                <a:gd name="connsiteX83" fmla="*/ 6585 w 10069"/>
                <a:gd name="connsiteY83" fmla="*/ 8169 h 10011"/>
                <a:gd name="connsiteX84" fmla="*/ 6729 w 10069"/>
                <a:gd name="connsiteY84" fmla="*/ 8040 h 10011"/>
                <a:gd name="connsiteX85" fmla="*/ 6871 w 10069"/>
                <a:gd name="connsiteY85" fmla="*/ 7904 h 10011"/>
                <a:gd name="connsiteX86" fmla="*/ 7012 w 10069"/>
                <a:gd name="connsiteY86" fmla="*/ 7768 h 10011"/>
                <a:gd name="connsiteX87" fmla="*/ 7152 w 10069"/>
                <a:gd name="connsiteY87" fmla="*/ 7624 h 10011"/>
                <a:gd name="connsiteX88" fmla="*/ 7286 w 10069"/>
                <a:gd name="connsiteY88" fmla="*/ 7480 h 10011"/>
                <a:gd name="connsiteX89" fmla="*/ 7420 w 10069"/>
                <a:gd name="connsiteY89" fmla="*/ 7329 h 10011"/>
                <a:gd name="connsiteX90" fmla="*/ 7552 w 10069"/>
                <a:gd name="connsiteY90" fmla="*/ 7178 h 10011"/>
                <a:gd name="connsiteX91" fmla="*/ 7679 w 10069"/>
                <a:gd name="connsiteY91" fmla="*/ 7024 h 10011"/>
                <a:gd name="connsiteX92" fmla="*/ 7805 w 10069"/>
                <a:gd name="connsiteY92" fmla="*/ 6861 h 10011"/>
                <a:gd name="connsiteX93" fmla="*/ 7929 w 10069"/>
                <a:gd name="connsiteY93" fmla="*/ 6697 h 10011"/>
                <a:gd name="connsiteX94" fmla="*/ 8049 w 10069"/>
                <a:gd name="connsiteY94" fmla="*/ 6534 h 10011"/>
                <a:gd name="connsiteX95" fmla="*/ 8165 w 10069"/>
                <a:gd name="connsiteY95" fmla="*/ 6365 h 10011"/>
                <a:gd name="connsiteX96" fmla="*/ 8280 w 10069"/>
                <a:gd name="connsiteY96" fmla="*/ 6189 h 10011"/>
                <a:gd name="connsiteX97" fmla="*/ 8393 w 10069"/>
                <a:gd name="connsiteY97" fmla="*/ 6016 h 10011"/>
                <a:gd name="connsiteX98" fmla="*/ 8502 w 10069"/>
                <a:gd name="connsiteY98" fmla="*/ 5835 h 10011"/>
                <a:gd name="connsiteX99" fmla="*/ 8609 w 10069"/>
                <a:gd name="connsiteY99" fmla="*/ 5652 h 10011"/>
                <a:gd name="connsiteX100" fmla="*/ 8711 w 10069"/>
                <a:gd name="connsiteY100" fmla="*/ 5468 h 10011"/>
                <a:gd name="connsiteX101" fmla="*/ 8810 w 10069"/>
                <a:gd name="connsiteY101" fmla="*/ 5278 h 10011"/>
                <a:gd name="connsiteX102" fmla="*/ 8908 w 10069"/>
                <a:gd name="connsiteY102" fmla="*/ 5089 h 10011"/>
                <a:gd name="connsiteX103" fmla="*/ 9002 w 10069"/>
                <a:gd name="connsiteY103" fmla="*/ 4893 h 10011"/>
                <a:gd name="connsiteX104" fmla="*/ 9093 w 10069"/>
                <a:gd name="connsiteY104" fmla="*/ 4698 h 10011"/>
                <a:gd name="connsiteX105" fmla="*/ 9180 w 10069"/>
                <a:gd name="connsiteY105" fmla="*/ 4500 h 10011"/>
                <a:gd name="connsiteX106" fmla="*/ 9263 w 10069"/>
                <a:gd name="connsiteY106" fmla="*/ 4294 h 10011"/>
                <a:gd name="connsiteX107" fmla="*/ 9343 w 10069"/>
                <a:gd name="connsiteY107" fmla="*/ 4091 h 10011"/>
                <a:gd name="connsiteX108" fmla="*/ 9421 w 10069"/>
                <a:gd name="connsiteY108" fmla="*/ 3885 h 10011"/>
                <a:gd name="connsiteX109" fmla="*/ 9496 w 10069"/>
                <a:gd name="connsiteY109" fmla="*/ 3674 h 10011"/>
                <a:gd name="connsiteX110" fmla="*/ 9566 w 10069"/>
                <a:gd name="connsiteY110" fmla="*/ 3464 h 10011"/>
                <a:gd name="connsiteX111" fmla="*/ 9635 w 10069"/>
                <a:gd name="connsiteY111" fmla="*/ 3248 h 10011"/>
                <a:gd name="connsiteX112" fmla="*/ 9697 w 10069"/>
                <a:gd name="connsiteY112" fmla="*/ 3030 h 10011"/>
                <a:gd name="connsiteX113" fmla="*/ 9756 w 10069"/>
                <a:gd name="connsiteY113" fmla="*/ 2815 h 10011"/>
                <a:gd name="connsiteX114" fmla="*/ 9813 w 10069"/>
                <a:gd name="connsiteY114" fmla="*/ 2592 h 10011"/>
                <a:gd name="connsiteX115" fmla="*/ 9866 w 10069"/>
                <a:gd name="connsiteY115" fmla="*/ 2369 h 10011"/>
                <a:gd name="connsiteX116" fmla="*/ 9914 w 10069"/>
                <a:gd name="connsiteY116" fmla="*/ 2143 h 10011"/>
                <a:gd name="connsiteX117" fmla="*/ 9959 w 10069"/>
                <a:gd name="connsiteY117" fmla="*/ 1918 h 10011"/>
                <a:gd name="connsiteX118" fmla="*/ 10000 w 10069"/>
                <a:gd name="connsiteY118" fmla="*/ 1690 h 10011"/>
                <a:gd name="connsiteX119" fmla="*/ 10037 w 10069"/>
                <a:gd name="connsiteY119" fmla="*/ 1457 h 10011"/>
                <a:gd name="connsiteX120" fmla="*/ 10069 w 10069"/>
                <a:gd name="connsiteY120" fmla="*/ 1222 h 10011"/>
                <a:gd name="connsiteX121" fmla="*/ 7484 w 10069"/>
                <a:gd name="connsiteY121" fmla="*/ 1876 h 10011"/>
                <a:gd name="connsiteX122" fmla="*/ 5325 w 10069"/>
                <a:gd name="connsiteY122" fmla="*/ 0 h 10011"/>
                <a:gd name="connsiteX0" fmla="*/ 5162 w 9906"/>
                <a:gd name="connsiteY0" fmla="*/ 0 h 10052"/>
                <a:gd name="connsiteX1" fmla="*/ 5162 w 9906"/>
                <a:gd name="connsiteY1" fmla="*/ 0 h 10052"/>
                <a:gd name="connsiteX2" fmla="*/ 5153 w 9906"/>
                <a:gd name="connsiteY2" fmla="*/ 99 h 10052"/>
                <a:gd name="connsiteX3" fmla="*/ 5136 w 9906"/>
                <a:gd name="connsiteY3" fmla="*/ 201 h 10052"/>
                <a:gd name="connsiteX4" fmla="*/ 5123 w 9906"/>
                <a:gd name="connsiteY4" fmla="*/ 300 h 10052"/>
                <a:gd name="connsiteX5" fmla="*/ 5107 w 9906"/>
                <a:gd name="connsiteY5" fmla="*/ 394 h 10052"/>
                <a:gd name="connsiteX6" fmla="*/ 5088 w 9906"/>
                <a:gd name="connsiteY6" fmla="*/ 491 h 10052"/>
                <a:gd name="connsiteX7" fmla="*/ 5067 w 9906"/>
                <a:gd name="connsiteY7" fmla="*/ 587 h 10052"/>
                <a:gd name="connsiteX8" fmla="*/ 5046 w 9906"/>
                <a:gd name="connsiteY8" fmla="*/ 684 h 10052"/>
                <a:gd name="connsiteX9" fmla="*/ 5023 w 9906"/>
                <a:gd name="connsiteY9" fmla="*/ 778 h 10052"/>
                <a:gd name="connsiteX10" fmla="*/ 4999 w 9906"/>
                <a:gd name="connsiteY10" fmla="*/ 870 h 10052"/>
                <a:gd name="connsiteX11" fmla="*/ 4970 w 9906"/>
                <a:gd name="connsiteY11" fmla="*/ 961 h 10052"/>
                <a:gd name="connsiteX12" fmla="*/ 4946 w 9906"/>
                <a:gd name="connsiteY12" fmla="*/ 1053 h 10052"/>
                <a:gd name="connsiteX13" fmla="*/ 4915 w 9906"/>
                <a:gd name="connsiteY13" fmla="*/ 1145 h 10052"/>
                <a:gd name="connsiteX14" fmla="*/ 4883 w 9906"/>
                <a:gd name="connsiteY14" fmla="*/ 1231 h 10052"/>
                <a:gd name="connsiteX15" fmla="*/ 4851 w 9906"/>
                <a:gd name="connsiteY15" fmla="*/ 1318 h 10052"/>
                <a:gd name="connsiteX16" fmla="*/ 4818 w 9906"/>
                <a:gd name="connsiteY16" fmla="*/ 1405 h 10052"/>
                <a:gd name="connsiteX17" fmla="*/ 4783 w 9906"/>
                <a:gd name="connsiteY17" fmla="*/ 1494 h 10052"/>
                <a:gd name="connsiteX18" fmla="*/ 4747 w 9906"/>
                <a:gd name="connsiteY18" fmla="*/ 1578 h 10052"/>
                <a:gd name="connsiteX19" fmla="*/ 4708 w 9906"/>
                <a:gd name="connsiteY19" fmla="*/ 1663 h 10052"/>
                <a:gd name="connsiteX20" fmla="*/ 4669 w 9906"/>
                <a:gd name="connsiteY20" fmla="*/ 1742 h 10052"/>
                <a:gd name="connsiteX21" fmla="*/ 4627 w 9906"/>
                <a:gd name="connsiteY21" fmla="*/ 1824 h 10052"/>
                <a:gd name="connsiteX22" fmla="*/ 4585 w 9906"/>
                <a:gd name="connsiteY22" fmla="*/ 1903 h 10052"/>
                <a:gd name="connsiteX23" fmla="*/ 4543 w 9906"/>
                <a:gd name="connsiteY23" fmla="*/ 1985 h 10052"/>
                <a:gd name="connsiteX24" fmla="*/ 4498 w 9906"/>
                <a:gd name="connsiteY24" fmla="*/ 2059 h 10052"/>
                <a:gd name="connsiteX25" fmla="*/ 4451 w 9906"/>
                <a:gd name="connsiteY25" fmla="*/ 2133 h 10052"/>
                <a:gd name="connsiteX26" fmla="*/ 4403 w 9906"/>
                <a:gd name="connsiteY26" fmla="*/ 2210 h 10052"/>
                <a:gd name="connsiteX27" fmla="*/ 4355 w 9906"/>
                <a:gd name="connsiteY27" fmla="*/ 2282 h 10052"/>
                <a:gd name="connsiteX28" fmla="*/ 4304 w 9906"/>
                <a:gd name="connsiteY28" fmla="*/ 2354 h 10052"/>
                <a:gd name="connsiteX29" fmla="*/ 4254 w 9906"/>
                <a:gd name="connsiteY29" fmla="*/ 2426 h 10052"/>
                <a:gd name="connsiteX30" fmla="*/ 4203 w 9906"/>
                <a:gd name="connsiteY30" fmla="*/ 2495 h 10052"/>
                <a:gd name="connsiteX31" fmla="*/ 4148 w 9906"/>
                <a:gd name="connsiteY31" fmla="*/ 2562 h 10052"/>
                <a:gd name="connsiteX32" fmla="*/ 4095 w 9906"/>
                <a:gd name="connsiteY32" fmla="*/ 2626 h 10052"/>
                <a:gd name="connsiteX33" fmla="*/ 4038 w 9906"/>
                <a:gd name="connsiteY33" fmla="*/ 2691 h 10052"/>
                <a:gd name="connsiteX34" fmla="*/ 3983 w 9906"/>
                <a:gd name="connsiteY34" fmla="*/ 2753 h 10052"/>
                <a:gd name="connsiteX35" fmla="*/ 3923 w 9906"/>
                <a:gd name="connsiteY35" fmla="*/ 2817 h 10052"/>
                <a:gd name="connsiteX36" fmla="*/ 3865 w 9906"/>
                <a:gd name="connsiteY36" fmla="*/ 2874 h 10052"/>
                <a:gd name="connsiteX37" fmla="*/ 3805 w 9906"/>
                <a:gd name="connsiteY37" fmla="*/ 2934 h 10052"/>
                <a:gd name="connsiteX38" fmla="*/ 3744 w 9906"/>
                <a:gd name="connsiteY38" fmla="*/ 2988 h 10052"/>
                <a:gd name="connsiteX39" fmla="*/ 3682 w 9906"/>
                <a:gd name="connsiteY39" fmla="*/ 3043 h 10052"/>
                <a:gd name="connsiteX40" fmla="*/ 3619 w 9906"/>
                <a:gd name="connsiteY40" fmla="*/ 3097 h 10052"/>
                <a:gd name="connsiteX41" fmla="*/ 3556 w 9906"/>
                <a:gd name="connsiteY41" fmla="*/ 3149 h 10052"/>
                <a:gd name="connsiteX42" fmla="*/ 3491 w 9906"/>
                <a:gd name="connsiteY42" fmla="*/ 3196 h 10052"/>
                <a:gd name="connsiteX43" fmla="*/ 3425 w 9906"/>
                <a:gd name="connsiteY43" fmla="*/ 3243 h 10052"/>
                <a:gd name="connsiteX44" fmla="*/ 3545 w 9906"/>
                <a:gd name="connsiteY44" fmla="*/ 6577 h 10052"/>
                <a:gd name="connsiteX45" fmla="*/ 211 w 9906"/>
                <a:gd name="connsiteY45" fmla="*/ 9804 h 10052"/>
                <a:gd name="connsiteX46" fmla="*/ 365 w 9906"/>
                <a:gd name="connsiteY46" fmla="*/ 9839 h 10052"/>
                <a:gd name="connsiteX47" fmla="*/ 520 w 9906"/>
                <a:gd name="connsiteY47" fmla="*/ 9874 h 10052"/>
                <a:gd name="connsiteX48" fmla="*/ 677 w 9906"/>
                <a:gd name="connsiteY48" fmla="*/ 9903 h 10052"/>
                <a:gd name="connsiteX49" fmla="*/ 832 w 9906"/>
                <a:gd name="connsiteY49" fmla="*/ 9926 h 10052"/>
                <a:gd name="connsiteX50" fmla="*/ 990 w 9906"/>
                <a:gd name="connsiteY50" fmla="*/ 9948 h 10052"/>
                <a:gd name="connsiteX51" fmla="*/ 1147 w 9906"/>
                <a:gd name="connsiteY51" fmla="*/ 9965 h 10052"/>
                <a:gd name="connsiteX52" fmla="*/ 1306 w 9906"/>
                <a:gd name="connsiteY52" fmla="*/ 9980 h 10052"/>
                <a:gd name="connsiteX53" fmla="*/ 1468 w 9906"/>
                <a:gd name="connsiteY53" fmla="*/ 9990 h 10052"/>
                <a:gd name="connsiteX54" fmla="*/ 1629 w 9906"/>
                <a:gd name="connsiteY54" fmla="*/ 9995 h 10052"/>
                <a:gd name="connsiteX55" fmla="*/ 1788 w 9906"/>
                <a:gd name="connsiteY55" fmla="*/ 10000 h 10052"/>
                <a:gd name="connsiteX56" fmla="*/ 1982 w 9906"/>
                <a:gd name="connsiteY56" fmla="*/ 9995 h 10052"/>
                <a:gd name="connsiteX57" fmla="*/ 2169 w 9906"/>
                <a:gd name="connsiteY57" fmla="*/ 9988 h 10052"/>
                <a:gd name="connsiteX58" fmla="*/ 2359 w 9906"/>
                <a:gd name="connsiteY58" fmla="*/ 9975 h 10052"/>
                <a:gd name="connsiteX59" fmla="*/ 2542 w 9906"/>
                <a:gd name="connsiteY59" fmla="*/ 9953 h 10052"/>
                <a:gd name="connsiteX60" fmla="*/ 2730 w 9906"/>
                <a:gd name="connsiteY60" fmla="*/ 9931 h 10052"/>
                <a:gd name="connsiteX61" fmla="*/ 2914 w 9906"/>
                <a:gd name="connsiteY61" fmla="*/ 9898 h 10052"/>
                <a:gd name="connsiteX62" fmla="*/ 3098 w 9906"/>
                <a:gd name="connsiteY62" fmla="*/ 9866 h 10052"/>
                <a:gd name="connsiteX63" fmla="*/ 3281 w 9906"/>
                <a:gd name="connsiteY63" fmla="*/ 9824 h 10052"/>
                <a:gd name="connsiteX64" fmla="*/ 3459 w 9906"/>
                <a:gd name="connsiteY64" fmla="*/ 9779 h 10052"/>
                <a:gd name="connsiteX65" fmla="*/ 3642 w 9906"/>
                <a:gd name="connsiteY65" fmla="*/ 9730 h 10052"/>
                <a:gd name="connsiteX66" fmla="*/ 3816 w 9906"/>
                <a:gd name="connsiteY66" fmla="*/ 9673 h 10052"/>
                <a:gd name="connsiteX67" fmla="*/ 3994 w 9906"/>
                <a:gd name="connsiteY67" fmla="*/ 9616 h 10052"/>
                <a:gd name="connsiteX68" fmla="*/ 4168 w 9906"/>
                <a:gd name="connsiteY68" fmla="*/ 9552 h 10052"/>
                <a:gd name="connsiteX69" fmla="*/ 4342 w 9906"/>
                <a:gd name="connsiteY69" fmla="*/ 9482 h 10052"/>
                <a:gd name="connsiteX70" fmla="*/ 4510 w 9906"/>
                <a:gd name="connsiteY70" fmla="*/ 9405 h 10052"/>
                <a:gd name="connsiteX71" fmla="*/ 4680 w 9906"/>
                <a:gd name="connsiteY71" fmla="*/ 9329 h 10052"/>
                <a:gd name="connsiteX72" fmla="*/ 4849 w 9906"/>
                <a:gd name="connsiteY72" fmla="*/ 9244 h 10052"/>
                <a:gd name="connsiteX73" fmla="*/ 5016 w 9906"/>
                <a:gd name="connsiteY73" fmla="*/ 9158 h 10052"/>
                <a:gd name="connsiteX74" fmla="*/ 5178 w 9906"/>
                <a:gd name="connsiteY74" fmla="*/ 9063 h 10052"/>
                <a:gd name="connsiteX75" fmla="*/ 5340 w 9906"/>
                <a:gd name="connsiteY75" fmla="*/ 8967 h 10052"/>
                <a:gd name="connsiteX76" fmla="*/ 5503 w 9906"/>
                <a:gd name="connsiteY76" fmla="*/ 8865 h 10052"/>
                <a:gd name="connsiteX77" fmla="*/ 5660 w 9906"/>
                <a:gd name="connsiteY77" fmla="*/ 8759 h 10052"/>
                <a:gd name="connsiteX78" fmla="*/ 5817 w 9906"/>
                <a:gd name="connsiteY78" fmla="*/ 8652 h 10052"/>
                <a:gd name="connsiteX79" fmla="*/ 5973 w 9906"/>
                <a:gd name="connsiteY79" fmla="*/ 8536 h 10052"/>
                <a:gd name="connsiteX80" fmla="*/ 6125 w 9906"/>
                <a:gd name="connsiteY80" fmla="*/ 8417 h 10052"/>
                <a:gd name="connsiteX81" fmla="*/ 6273 w 9906"/>
                <a:gd name="connsiteY81" fmla="*/ 8295 h 10052"/>
                <a:gd name="connsiteX82" fmla="*/ 6422 w 9906"/>
                <a:gd name="connsiteY82" fmla="*/ 8169 h 10052"/>
                <a:gd name="connsiteX83" fmla="*/ 6566 w 9906"/>
                <a:gd name="connsiteY83" fmla="*/ 8040 h 10052"/>
                <a:gd name="connsiteX84" fmla="*/ 6708 w 9906"/>
                <a:gd name="connsiteY84" fmla="*/ 7904 h 10052"/>
                <a:gd name="connsiteX85" fmla="*/ 6849 w 9906"/>
                <a:gd name="connsiteY85" fmla="*/ 7768 h 10052"/>
                <a:gd name="connsiteX86" fmla="*/ 6989 w 9906"/>
                <a:gd name="connsiteY86" fmla="*/ 7624 h 10052"/>
                <a:gd name="connsiteX87" fmla="*/ 7123 w 9906"/>
                <a:gd name="connsiteY87" fmla="*/ 7480 h 10052"/>
                <a:gd name="connsiteX88" fmla="*/ 7257 w 9906"/>
                <a:gd name="connsiteY88" fmla="*/ 7329 h 10052"/>
                <a:gd name="connsiteX89" fmla="*/ 7389 w 9906"/>
                <a:gd name="connsiteY89" fmla="*/ 7178 h 10052"/>
                <a:gd name="connsiteX90" fmla="*/ 7516 w 9906"/>
                <a:gd name="connsiteY90" fmla="*/ 7024 h 10052"/>
                <a:gd name="connsiteX91" fmla="*/ 7642 w 9906"/>
                <a:gd name="connsiteY91" fmla="*/ 6861 h 10052"/>
                <a:gd name="connsiteX92" fmla="*/ 7766 w 9906"/>
                <a:gd name="connsiteY92" fmla="*/ 6697 h 10052"/>
                <a:gd name="connsiteX93" fmla="*/ 7886 w 9906"/>
                <a:gd name="connsiteY93" fmla="*/ 6534 h 10052"/>
                <a:gd name="connsiteX94" fmla="*/ 8002 w 9906"/>
                <a:gd name="connsiteY94" fmla="*/ 6365 h 10052"/>
                <a:gd name="connsiteX95" fmla="*/ 8117 w 9906"/>
                <a:gd name="connsiteY95" fmla="*/ 6189 h 10052"/>
                <a:gd name="connsiteX96" fmla="*/ 8230 w 9906"/>
                <a:gd name="connsiteY96" fmla="*/ 6016 h 10052"/>
                <a:gd name="connsiteX97" fmla="*/ 8339 w 9906"/>
                <a:gd name="connsiteY97" fmla="*/ 5835 h 10052"/>
                <a:gd name="connsiteX98" fmla="*/ 8446 w 9906"/>
                <a:gd name="connsiteY98" fmla="*/ 5652 h 10052"/>
                <a:gd name="connsiteX99" fmla="*/ 8548 w 9906"/>
                <a:gd name="connsiteY99" fmla="*/ 5468 h 10052"/>
                <a:gd name="connsiteX100" fmla="*/ 8647 w 9906"/>
                <a:gd name="connsiteY100" fmla="*/ 5278 h 10052"/>
                <a:gd name="connsiteX101" fmla="*/ 8745 w 9906"/>
                <a:gd name="connsiteY101" fmla="*/ 5089 h 10052"/>
                <a:gd name="connsiteX102" fmla="*/ 8839 w 9906"/>
                <a:gd name="connsiteY102" fmla="*/ 4893 h 10052"/>
                <a:gd name="connsiteX103" fmla="*/ 8930 w 9906"/>
                <a:gd name="connsiteY103" fmla="*/ 4698 h 10052"/>
                <a:gd name="connsiteX104" fmla="*/ 9017 w 9906"/>
                <a:gd name="connsiteY104" fmla="*/ 4500 h 10052"/>
                <a:gd name="connsiteX105" fmla="*/ 9100 w 9906"/>
                <a:gd name="connsiteY105" fmla="*/ 4294 h 10052"/>
                <a:gd name="connsiteX106" fmla="*/ 9180 w 9906"/>
                <a:gd name="connsiteY106" fmla="*/ 4091 h 10052"/>
                <a:gd name="connsiteX107" fmla="*/ 9258 w 9906"/>
                <a:gd name="connsiteY107" fmla="*/ 3885 h 10052"/>
                <a:gd name="connsiteX108" fmla="*/ 9333 w 9906"/>
                <a:gd name="connsiteY108" fmla="*/ 3674 h 10052"/>
                <a:gd name="connsiteX109" fmla="*/ 9403 w 9906"/>
                <a:gd name="connsiteY109" fmla="*/ 3464 h 10052"/>
                <a:gd name="connsiteX110" fmla="*/ 9472 w 9906"/>
                <a:gd name="connsiteY110" fmla="*/ 3248 h 10052"/>
                <a:gd name="connsiteX111" fmla="*/ 9534 w 9906"/>
                <a:gd name="connsiteY111" fmla="*/ 3030 h 10052"/>
                <a:gd name="connsiteX112" fmla="*/ 9593 w 9906"/>
                <a:gd name="connsiteY112" fmla="*/ 2815 h 10052"/>
                <a:gd name="connsiteX113" fmla="*/ 9650 w 9906"/>
                <a:gd name="connsiteY113" fmla="*/ 2592 h 10052"/>
                <a:gd name="connsiteX114" fmla="*/ 9703 w 9906"/>
                <a:gd name="connsiteY114" fmla="*/ 2369 h 10052"/>
                <a:gd name="connsiteX115" fmla="*/ 9751 w 9906"/>
                <a:gd name="connsiteY115" fmla="*/ 2143 h 10052"/>
                <a:gd name="connsiteX116" fmla="*/ 9796 w 9906"/>
                <a:gd name="connsiteY116" fmla="*/ 1918 h 10052"/>
                <a:gd name="connsiteX117" fmla="*/ 9837 w 9906"/>
                <a:gd name="connsiteY117" fmla="*/ 1690 h 10052"/>
                <a:gd name="connsiteX118" fmla="*/ 9874 w 9906"/>
                <a:gd name="connsiteY118" fmla="*/ 1457 h 10052"/>
                <a:gd name="connsiteX119" fmla="*/ 9906 w 9906"/>
                <a:gd name="connsiteY119" fmla="*/ 1222 h 10052"/>
                <a:gd name="connsiteX120" fmla="*/ 7321 w 9906"/>
                <a:gd name="connsiteY120" fmla="*/ 1876 h 10052"/>
                <a:gd name="connsiteX121" fmla="*/ 5162 w 9906"/>
                <a:gd name="connsiteY121" fmla="*/ 0 h 10052"/>
                <a:gd name="connsiteX0" fmla="*/ 4843 w 9632"/>
                <a:gd name="connsiteY0" fmla="*/ 0 h 9948"/>
                <a:gd name="connsiteX1" fmla="*/ 4843 w 9632"/>
                <a:gd name="connsiteY1" fmla="*/ 0 h 9948"/>
                <a:gd name="connsiteX2" fmla="*/ 4834 w 9632"/>
                <a:gd name="connsiteY2" fmla="*/ 98 h 9948"/>
                <a:gd name="connsiteX3" fmla="*/ 4817 w 9632"/>
                <a:gd name="connsiteY3" fmla="*/ 200 h 9948"/>
                <a:gd name="connsiteX4" fmla="*/ 4804 w 9632"/>
                <a:gd name="connsiteY4" fmla="*/ 298 h 9948"/>
                <a:gd name="connsiteX5" fmla="*/ 4787 w 9632"/>
                <a:gd name="connsiteY5" fmla="*/ 392 h 9948"/>
                <a:gd name="connsiteX6" fmla="*/ 4768 w 9632"/>
                <a:gd name="connsiteY6" fmla="*/ 488 h 9948"/>
                <a:gd name="connsiteX7" fmla="*/ 4747 w 9632"/>
                <a:gd name="connsiteY7" fmla="*/ 584 h 9948"/>
                <a:gd name="connsiteX8" fmla="*/ 4726 w 9632"/>
                <a:gd name="connsiteY8" fmla="*/ 680 h 9948"/>
                <a:gd name="connsiteX9" fmla="*/ 4703 w 9632"/>
                <a:gd name="connsiteY9" fmla="*/ 774 h 9948"/>
                <a:gd name="connsiteX10" fmla="*/ 4678 w 9632"/>
                <a:gd name="connsiteY10" fmla="*/ 865 h 9948"/>
                <a:gd name="connsiteX11" fmla="*/ 4649 w 9632"/>
                <a:gd name="connsiteY11" fmla="*/ 956 h 9948"/>
                <a:gd name="connsiteX12" fmla="*/ 4625 w 9632"/>
                <a:gd name="connsiteY12" fmla="*/ 1048 h 9948"/>
                <a:gd name="connsiteX13" fmla="*/ 4594 w 9632"/>
                <a:gd name="connsiteY13" fmla="*/ 1139 h 9948"/>
                <a:gd name="connsiteX14" fmla="*/ 4561 w 9632"/>
                <a:gd name="connsiteY14" fmla="*/ 1225 h 9948"/>
                <a:gd name="connsiteX15" fmla="*/ 4529 w 9632"/>
                <a:gd name="connsiteY15" fmla="*/ 1311 h 9948"/>
                <a:gd name="connsiteX16" fmla="*/ 4496 w 9632"/>
                <a:gd name="connsiteY16" fmla="*/ 1398 h 9948"/>
                <a:gd name="connsiteX17" fmla="*/ 4460 w 9632"/>
                <a:gd name="connsiteY17" fmla="*/ 1486 h 9948"/>
                <a:gd name="connsiteX18" fmla="*/ 4424 w 9632"/>
                <a:gd name="connsiteY18" fmla="*/ 1570 h 9948"/>
                <a:gd name="connsiteX19" fmla="*/ 4385 w 9632"/>
                <a:gd name="connsiteY19" fmla="*/ 1654 h 9948"/>
                <a:gd name="connsiteX20" fmla="*/ 4345 w 9632"/>
                <a:gd name="connsiteY20" fmla="*/ 1733 h 9948"/>
                <a:gd name="connsiteX21" fmla="*/ 4303 w 9632"/>
                <a:gd name="connsiteY21" fmla="*/ 1815 h 9948"/>
                <a:gd name="connsiteX22" fmla="*/ 4261 w 9632"/>
                <a:gd name="connsiteY22" fmla="*/ 1893 h 9948"/>
                <a:gd name="connsiteX23" fmla="*/ 4218 w 9632"/>
                <a:gd name="connsiteY23" fmla="*/ 1975 h 9948"/>
                <a:gd name="connsiteX24" fmla="*/ 4173 w 9632"/>
                <a:gd name="connsiteY24" fmla="*/ 2048 h 9948"/>
                <a:gd name="connsiteX25" fmla="*/ 4125 w 9632"/>
                <a:gd name="connsiteY25" fmla="*/ 2122 h 9948"/>
                <a:gd name="connsiteX26" fmla="*/ 4077 w 9632"/>
                <a:gd name="connsiteY26" fmla="*/ 2199 h 9948"/>
                <a:gd name="connsiteX27" fmla="*/ 4028 w 9632"/>
                <a:gd name="connsiteY27" fmla="*/ 2270 h 9948"/>
                <a:gd name="connsiteX28" fmla="*/ 3977 w 9632"/>
                <a:gd name="connsiteY28" fmla="*/ 2342 h 9948"/>
                <a:gd name="connsiteX29" fmla="*/ 3926 w 9632"/>
                <a:gd name="connsiteY29" fmla="*/ 2413 h 9948"/>
                <a:gd name="connsiteX30" fmla="*/ 3875 w 9632"/>
                <a:gd name="connsiteY30" fmla="*/ 2482 h 9948"/>
                <a:gd name="connsiteX31" fmla="*/ 3819 w 9632"/>
                <a:gd name="connsiteY31" fmla="*/ 2549 h 9948"/>
                <a:gd name="connsiteX32" fmla="*/ 3766 w 9632"/>
                <a:gd name="connsiteY32" fmla="*/ 2612 h 9948"/>
                <a:gd name="connsiteX33" fmla="*/ 3708 w 9632"/>
                <a:gd name="connsiteY33" fmla="*/ 2677 h 9948"/>
                <a:gd name="connsiteX34" fmla="*/ 3653 w 9632"/>
                <a:gd name="connsiteY34" fmla="*/ 2739 h 9948"/>
                <a:gd name="connsiteX35" fmla="*/ 3592 w 9632"/>
                <a:gd name="connsiteY35" fmla="*/ 2802 h 9948"/>
                <a:gd name="connsiteX36" fmla="*/ 3534 w 9632"/>
                <a:gd name="connsiteY36" fmla="*/ 2859 h 9948"/>
                <a:gd name="connsiteX37" fmla="*/ 3473 w 9632"/>
                <a:gd name="connsiteY37" fmla="*/ 2919 h 9948"/>
                <a:gd name="connsiteX38" fmla="*/ 3412 w 9632"/>
                <a:gd name="connsiteY38" fmla="*/ 2973 h 9948"/>
                <a:gd name="connsiteX39" fmla="*/ 3349 w 9632"/>
                <a:gd name="connsiteY39" fmla="*/ 3027 h 9948"/>
                <a:gd name="connsiteX40" fmla="*/ 3285 w 9632"/>
                <a:gd name="connsiteY40" fmla="*/ 3081 h 9948"/>
                <a:gd name="connsiteX41" fmla="*/ 3222 w 9632"/>
                <a:gd name="connsiteY41" fmla="*/ 3133 h 9948"/>
                <a:gd name="connsiteX42" fmla="*/ 3156 w 9632"/>
                <a:gd name="connsiteY42" fmla="*/ 3179 h 9948"/>
                <a:gd name="connsiteX43" fmla="*/ 3090 w 9632"/>
                <a:gd name="connsiteY43" fmla="*/ 3226 h 9948"/>
                <a:gd name="connsiteX44" fmla="*/ 3211 w 9632"/>
                <a:gd name="connsiteY44" fmla="*/ 6543 h 9948"/>
                <a:gd name="connsiteX45" fmla="*/ 0 w 9632"/>
                <a:gd name="connsiteY45" fmla="*/ 9788 h 9948"/>
                <a:gd name="connsiteX46" fmla="*/ 157 w 9632"/>
                <a:gd name="connsiteY46" fmla="*/ 9823 h 9948"/>
                <a:gd name="connsiteX47" fmla="*/ 315 w 9632"/>
                <a:gd name="connsiteY47" fmla="*/ 9852 h 9948"/>
                <a:gd name="connsiteX48" fmla="*/ 472 w 9632"/>
                <a:gd name="connsiteY48" fmla="*/ 9875 h 9948"/>
                <a:gd name="connsiteX49" fmla="*/ 631 w 9632"/>
                <a:gd name="connsiteY49" fmla="*/ 9897 h 9948"/>
                <a:gd name="connsiteX50" fmla="*/ 790 w 9632"/>
                <a:gd name="connsiteY50" fmla="*/ 9913 h 9948"/>
                <a:gd name="connsiteX51" fmla="*/ 950 w 9632"/>
                <a:gd name="connsiteY51" fmla="*/ 9928 h 9948"/>
                <a:gd name="connsiteX52" fmla="*/ 1114 w 9632"/>
                <a:gd name="connsiteY52" fmla="*/ 9938 h 9948"/>
                <a:gd name="connsiteX53" fmla="*/ 1276 w 9632"/>
                <a:gd name="connsiteY53" fmla="*/ 9943 h 9948"/>
                <a:gd name="connsiteX54" fmla="*/ 1437 w 9632"/>
                <a:gd name="connsiteY54" fmla="*/ 9948 h 9948"/>
                <a:gd name="connsiteX55" fmla="*/ 1633 w 9632"/>
                <a:gd name="connsiteY55" fmla="*/ 9943 h 9948"/>
                <a:gd name="connsiteX56" fmla="*/ 1822 w 9632"/>
                <a:gd name="connsiteY56" fmla="*/ 9936 h 9948"/>
                <a:gd name="connsiteX57" fmla="*/ 2013 w 9632"/>
                <a:gd name="connsiteY57" fmla="*/ 9923 h 9948"/>
                <a:gd name="connsiteX58" fmla="*/ 2198 w 9632"/>
                <a:gd name="connsiteY58" fmla="*/ 9902 h 9948"/>
                <a:gd name="connsiteX59" fmla="*/ 2388 w 9632"/>
                <a:gd name="connsiteY59" fmla="*/ 9880 h 9948"/>
                <a:gd name="connsiteX60" fmla="*/ 2574 w 9632"/>
                <a:gd name="connsiteY60" fmla="*/ 9847 h 9948"/>
                <a:gd name="connsiteX61" fmla="*/ 2759 w 9632"/>
                <a:gd name="connsiteY61" fmla="*/ 9815 h 9948"/>
                <a:gd name="connsiteX62" fmla="*/ 2944 w 9632"/>
                <a:gd name="connsiteY62" fmla="*/ 9773 h 9948"/>
                <a:gd name="connsiteX63" fmla="*/ 3124 w 9632"/>
                <a:gd name="connsiteY63" fmla="*/ 9728 h 9948"/>
                <a:gd name="connsiteX64" fmla="*/ 3309 w 9632"/>
                <a:gd name="connsiteY64" fmla="*/ 9680 h 9948"/>
                <a:gd name="connsiteX65" fmla="*/ 3484 w 9632"/>
                <a:gd name="connsiteY65" fmla="*/ 9623 h 9948"/>
                <a:gd name="connsiteX66" fmla="*/ 3664 w 9632"/>
                <a:gd name="connsiteY66" fmla="*/ 9566 h 9948"/>
                <a:gd name="connsiteX67" fmla="*/ 3840 w 9632"/>
                <a:gd name="connsiteY67" fmla="*/ 9503 h 9948"/>
                <a:gd name="connsiteX68" fmla="*/ 4015 w 9632"/>
                <a:gd name="connsiteY68" fmla="*/ 9433 h 9948"/>
                <a:gd name="connsiteX69" fmla="*/ 4185 w 9632"/>
                <a:gd name="connsiteY69" fmla="*/ 9356 h 9948"/>
                <a:gd name="connsiteX70" fmla="*/ 4356 w 9632"/>
                <a:gd name="connsiteY70" fmla="*/ 9281 h 9948"/>
                <a:gd name="connsiteX71" fmla="*/ 4527 w 9632"/>
                <a:gd name="connsiteY71" fmla="*/ 9196 h 9948"/>
                <a:gd name="connsiteX72" fmla="*/ 4696 w 9632"/>
                <a:gd name="connsiteY72" fmla="*/ 9111 h 9948"/>
                <a:gd name="connsiteX73" fmla="*/ 4859 w 9632"/>
                <a:gd name="connsiteY73" fmla="*/ 9016 h 9948"/>
                <a:gd name="connsiteX74" fmla="*/ 5023 w 9632"/>
                <a:gd name="connsiteY74" fmla="*/ 8921 h 9948"/>
                <a:gd name="connsiteX75" fmla="*/ 5187 w 9632"/>
                <a:gd name="connsiteY75" fmla="*/ 8819 h 9948"/>
                <a:gd name="connsiteX76" fmla="*/ 5346 w 9632"/>
                <a:gd name="connsiteY76" fmla="*/ 8714 h 9948"/>
                <a:gd name="connsiteX77" fmla="*/ 5504 w 9632"/>
                <a:gd name="connsiteY77" fmla="*/ 8607 h 9948"/>
                <a:gd name="connsiteX78" fmla="*/ 5662 w 9632"/>
                <a:gd name="connsiteY78" fmla="*/ 8492 h 9948"/>
                <a:gd name="connsiteX79" fmla="*/ 5815 w 9632"/>
                <a:gd name="connsiteY79" fmla="*/ 8373 h 9948"/>
                <a:gd name="connsiteX80" fmla="*/ 5965 w 9632"/>
                <a:gd name="connsiteY80" fmla="*/ 8252 h 9948"/>
                <a:gd name="connsiteX81" fmla="*/ 6115 w 9632"/>
                <a:gd name="connsiteY81" fmla="*/ 8127 h 9948"/>
                <a:gd name="connsiteX82" fmla="*/ 6260 w 9632"/>
                <a:gd name="connsiteY82" fmla="*/ 7998 h 9948"/>
                <a:gd name="connsiteX83" fmla="*/ 6404 w 9632"/>
                <a:gd name="connsiteY83" fmla="*/ 7863 h 9948"/>
                <a:gd name="connsiteX84" fmla="*/ 6546 w 9632"/>
                <a:gd name="connsiteY84" fmla="*/ 7728 h 9948"/>
                <a:gd name="connsiteX85" fmla="*/ 6687 w 9632"/>
                <a:gd name="connsiteY85" fmla="*/ 7585 h 9948"/>
                <a:gd name="connsiteX86" fmla="*/ 6823 w 9632"/>
                <a:gd name="connsiteY86" fmla="*/ 7441 h 9948"/>
                <a:gd name="connsiteX87" fmla="*/ 6958 w 9632"/>
                <a:gd name="connsiteY87" fmla="*/ 7291 h 9948"/>
                <a:gd name="connsiteX88" fmla="*/ 7091 w 9632"/>
                <a:gd name="connsiteY88" fmla="*/ 7141 h 9948"/>
                <a:gd name="connsiteX89" fmla="*/ 7219 w 9632"/>
                <a:gd name="connsiteY89" fmla="*/ 6988 h 9948"/>
                <a:gd name="connsiteX90" fmla="*/ 7347 w 9632"/>
                <a:gd name="connsiteY90" fmla="*/ 6826 h 9948"/>
                <a:gd name="connsiteX91" fmla="*/ 7472 w 9632"/>
                <a:gd name="connsiteY91" fmla="*/ 6662 h 9948"/>
                <a:gd name="connsiteX92" fmla="*/ 7593 w 9632"/>
                <a:gd name="connsiteY92" fmla="*/ 6500 h 9948"/>
                <a:gd name="connsiteX93" fmla="*/ 7710 w 9632"/>
                <a:gd name="connsiteY93" fmla="*/ 6332 h 9948"/>
                <a:gd name="connsiteX94" fmla="*/ 7826 w 9632"/>
                <a:gd name="connsiteY94" fmla="*/ 6157 h 9948"/>
                <a:gd name="connsiteX95" fmla="*/ 7940 w 9632"/>
                <a:gd name="connsiteY95" fmla="*/ 5985 h 9948"/>
                <a:gd name="connsiteX96" fmla="*/ 8050 w 9632"/>
                <a:gd name="connsiteY96" fmla="*/ 5805 h 9948"/>
                <a:gd name="connsiteX97" fmla="*/ 8158 w 9632"/>
                <a:gd name="connsiteY97" fmla="*/ 5623 h 9948"/>
                <a:gd name="connsiteX98" fmla="*/ 8261 w 9632"/>
                <a:gd name="connsiteY98" fmla="*/ 5440 h 9948"/>
                <a:gd name="connsiteX99" fmla="*/ 8361 w 9632"/>
                <a:gd name="connsiteY99" fmla="*/ 5251 h 9948"/>
                <a:gd name="connsiteX100" fmla="*/ 8460 w 9632"/>
                <a:gd name="connsiteY100" fmla="*/ 5063 h 9948"/>
                <a:gd name="connsiteX101" fmla="*/ 8555 w 9632"/>
                <a:gd name="connsiteY101" fmla="*/ 4868 h 9948"/>
                <a:gd name="connsiteX102" fmla="*/ 8647 w 9632"/>
                <a:gd name="connsiteY102" fmla="*/ 4674 h 9948"/>
                <a:gd name="connsiteX103" fmla="*/ 8735 w 9632"/>
                <a:gd name="connsiteY103" fmla="*/ 4477 h 9948"/>
                <a:gd name="connsiteX104" fmla="*/ 8818 w 9632"/>
                <a:gd name="connsiteY104" fmla="*/ 4272 h 9948"/>
                <a:gd name="connsiteX105" fmla="*/ 8899 w 9632"/>
                <a:gd name="connsiteY105" fmla="*/ 4070 h 9948"/>
                <a:gd name="connsiteX106" fmla="*/ 8978 w 9632"/>
                <a:gd name="connsiteY106" fmla="*/ 3865 h 9948"/>
                <a:gd name="connsiteX107" fmla="*/ 9054 w 9632"/>
                <a:gd name="connsiteY107" fmla="*/ 3655 h 9948"/>
                <a:gd name="connsiteX108" fmla="*/ 9124 w 9632"/>
                <a:gd name="connsiteY108" fmla="*/ 3446 h 9948"/>
                <a:gd name="connsiteX109" fmla="*/ 9194 w 9632"/>
                <a:gd name="connsiteY109" fmla="*/ 3231 h 9948"/>
                <a:gd name="connsiteX110" fmla="*/ 9256 w 9632"/>
                <a:gd name="connsiteY110" fmla="*/ 3014 h 9948"/>
                <a:gd name="connsiteX111" fmla="*/ 9316 w 9632"/>
                <a:gd name="connsiteY111" fmla="*/ 2800 h 9948"/>
                <a:gd name="connsiteX112" fmla="*/ 9374 w 9632"/>
                <a:gd name="connsiteY112" fmla="*/ 2579 h 9948"/>
                <a:gd name="connsiteX113" fmla="*/ 9427 w 9632"/>
                <a:gd name="connsiteY113" fmla="*/ 2357 h 9948"/>
                <a:gd name="connsiteX114" fmla="*/ 9476 w 9632"/>
                <a:gd name="connsiteY114" fmla="*/ 2132 h 9948"/>
                <a:gd name="connsiteX115" fmla="*/ 9521 w 9632"/>
                <a:gd name="connsiteY115" fmla="*/ 1908 h 9948"/>
                <a:gd name="connsiteX116" fmla="*/ 9562 w 9632"/>
                <a:gd name="connsiteY116" fmla="*/ 1681 h 9948"/>
                <a:gd name="connsiteX117" fmla="*/ 9600 w 9632"/>
                <a:gd name="connsiteY117" fmla="*/ 1449 h 9948"/>
                <a:gd name="connsiteX118" fmla="*/ 9632 w 9632"/>
                <a:gd name="connsiteY118" fmla="*/ 1216 h 9948"/>
                <a:gd name="connsiteX119" fmla="*/ 7022 w 9632"/>
                <a:gd name="connsiteY119" fmla="*/ 1866 h 9948"/>
                <a:gd name="connsiteX120" fmla="*/ 4843 w 9632"/>
                <a:gd name="connsiteY120" fmla="*/ 0 h 9948"/>
                <a:gd name="connsiteX0" fmla="*/ 4865 w 9837"/>
                <a:gd name="connsiteY0" fmla="*/ 0 h 10000"/>
                <a:gd name="connsiteX1" fmla="*/ 4865 w 9837"/>
                <a:gd name="connsiteY1" fmla="*/ 0 h 10000"/>
                <a:gd name="connsiteX2" fmla="*/ 4856 w 9837"/>
                <a:gd name="connsiteY2" fmla="*/ 99 h 10000"/>
                <a:gd name="connsiteX3" fmla="*/ 4838 w 9837"/>
                <a:gd name="connsiteY3" fmla="*/ 201 h 10000"/>
                <a:gd name="connsiteX4" fmla="*/ 4825 w 9837"/>
                <a:gd name="connsiteY4" fmla="*/ 300 h 10000"/>
                <a:gd name="connsiteX5" fmla="*/ 4807 w 9837"/>
                <a:gd name="connsiteY5" fmla="*/ 394 h 10000"/>
                <a:gd name="connsiteX6" fmla="*/ 4787 w 9837"/>
                <a:gd name="connsiteY6" fmla="*/ 491 h 10000"/>
                <a:gd name="connsiteX7" fmla="*/ 4765 w 9837"/>
                <a:gd name="connsiteY7" fmla="*/ 587 h 10000"/>
                <a:gd name="connsiteX8" fmla="*/ 4744 w 9837"/>
                <a:gd name="connsiteY8" fmla="*/ 684 h 10000"/>
                <a:gd name="connsiteX9" fmla="*/ 4720 w 9837"/>
                <a:gd name="connsiteY9" fmla="*/ 778 h 10000"/>
                <a:gd name="connsiteX10" fmla="*/ 4694 w 9837"/>
                <a:gd name="connsiteY10" fmla="*/ 870 h 10000"/>
                <a:gd name="connsiteX11" fmla="*/ 4664 w 9837"/>
                <a:gd name="connsiteY11" fmla="*/ 961 h 10000"/>
                <a:gd name="connsiteX12" fmla="*/ 4639 w 9837"/>
                <a:gd name="connsiteY12" fmla="*/ 1053 h 10000"/>
                <a:gd name="connsiteX13" fmla="*/ 4607 w 9837"/>
                <a:gd name="connsiteY13" fmla="*/ 1145 h 10000"/>
                <a:gd name="connsiteX14" fmla="*/ 4572 w 9837"/>
                <a:gd name="connsiteY14" fmla="*/ 1231 h 10000"/>
                <a:gd name="connsiteX15" fmla="*/ 4539 w 9837"/>
                <a:gd name="connsiteY15" fmla="*/ 1318 h 10000"/>
                <a:gd name="connsiteX16" fmla="*/ 4505 w 9837"/>
                <a:gd name="connsiteY16" fmla="*/ 1405 h 10000"/>
                <a:gd name="connsiteX17" fmla="*/ 4467 w 9837"/>
                <a:gd name="connsiteY17" fmla="*/ 1494 h 10000"/>
                <a:gd name="connsiteX18" fmla="*/ 4430 w 9837"/>
                <a:gd name="connsiteY18" fmla="*/ 1578 h 10000"/>
                <a:gd name="connsiteX19" fmla="*/ 4390 w 9837"/>
                <a:gd name="connsiteY19" fmla="*/ 1663 h 10000"/>
                <a:gd name="connsiteX20" fmla="*/ 4348 w 9837"/>
                <a:gd name="connsiteY20" fmla="*/ 1742 h 10000"/>
                <a:gd name="connsiteX21" fmla="*/ 4304 w 9837"/>
                <a:gd name="connsiteY21" fmla="*/ 1824 h 10000"/>
                <a:gd name="connsiteX22" fmla="*/ 4261 w 9837"/>
                <a:gd name="connsiteY22" fmla="*/ 1903 h 10000"/>
                <a:gd name="connsiteX23" fmla="*/ 4216 w 9837"/>
                <a:gd name="connsiteY23" fmla="*/ 1985 h 10000"/>
                <a:gd name="connsiteX24" fmla="*/ 4169 w 9837"/>
                <a:gd name="connsiteY24" fmla="*/ 2059 h 10000"/>
                <a:gd name="connsiteX25" fmla="*/ 4120 w 9837"/>
                <a:gd name="connsiteY25" fmla="*/ 2133 h 10000"/>
                <a:gd name="connsiteX26" fmla="*/ 4070 w 9837"/>
                <a:gd name="connsiteY26" fmla="*/ 2210 h 10000"/>
                <a:gd name="connsiteX27" fmla="*/ 4019 w 9837"/>
                <a:gd name="connsiteY27" fmla="*/ 2282 h 10000"/>
                <a:gd name="connsiteX28" fmla="*/ 3966 w 9837"/>
                <a:gd name="connsiteY28" fmla="*/ 2354 h 10000"/>
                <a:gd name="connsiteX29" fmla="*/ 3913 w 9837"/>
                <a:gd name="connsiteY29" fmla="*/ 2426 h 10000"/>
                <a:gd name="connsiteX30" fmla="*/ 3860 w 9837"/>
                <a:gd name="connsiteY30" fmla="*/ 2495 h 10000"/>
                <a:gd name="connsiteX31" fmla="*/ 3802 w 9837"/>
                <a:gd name="connsiteY31" fmla="*/ 2562 h 10000"/>
                <a:gd name="connsiteX32" fmla="*/ 3747 w 9837"/>
                <a:gd name="connsiteY32" fmla="*/ 2626 h 10000"/>
                <a:gd name="connsiteX33" fmla="*/ 3687 w 9837"/>
                <a:gd name="connsiteY33" fmla="*/ 2691 h 10000"/>
                <a:gd name="connsiteX34" fmla="*/ 3630 w 9837"/>
                <a:gd name="connsiteY34" fmla="*/ 2753 h 10000"/>
                <a:gd name="connsiteX35" fmla="*/ 3566 w 9837"/>
                <a:gd name="connsiteY35" fmla="*/ 2817 h 10000"/>
                <a:gd name="connsiteX36" fmla="*/ 3506 w 9837"/>
                <a:gd name="connsiteY36" fmla="*/ 2874 h 10000"/>
                <a:gd name="connsiteX37" fmla="*/ 3443 w 9837"/>
                <a:gd name="connsiteY37" fmla="*/ 2934 h 10000"/>
                <a:gd name="connsiteX38" fmla="*/ 3379 w 9837"/>
                <a:gd name="connsiteY38" fmla="*/ 2989 h 10000"/>
                <a:gd name="connsiteX39" fmla="*/ 3314 w 9837"/>
                <a:gd name="connsiteY39" fmla="*/ 3043 h 10000"/>
                <a:gd name="connsiteX40" fmla="*/ 3248 w 9837"/>
                <a:gd name="connsiteY40" fmla="*/ 3097 h 10000"/>
                <a:gd name="connsiteX41" fmla="*/ 3182 w 9837"/>
                <a:gd name="connsiteY41" fmla="*/ 3149 h 10000"/>
                <a:gd name="connsiteX42" fmla="*/ 3114 w 9837"/>
                <a:gd name="connsiteY42" fmla="*/ 3196 h 10000"/>
                <a:gd name="connsiteX43" fmla="*/ 3045 w 9837"/>
                <a:gd name="connsiteY43" fmla="*/ 3243 h 10000"/>
                <a:gd name="connsiteX44" fmla="*/ 3171 w 9837"/>
                <a:gd name="connsiteY44" fmla="*/ 6577 h 10000"/>
                <a:gd name="connsiteX45" fmla="*/ 0 w 9837"/>
                <a:gd name="connsiteY45" fmla="*/ 9874 h 10000"/>
                <a:gd name="connsiteX46" fmla="*/ 164 w 9837"/>
                <a:gd name="connsiteY46" fmla="*/ 9903 h 10000"/>
                <a:gd name="connsiteX47" fmla="*/ 327 w 9837"/>
                <a:gd name="connsiteY47" fmla="*/ 9927 h 10000"/>
                <a:gd name="connsiteX48" fmla="*/ 492 w 9837"/>
                <a:gd name="connsiteY48" fmla="*/ 9949 h 10000"/>
                <a:gd name="connsiteX49" fmla="*/ 657 w 9837"/>
                <a:gd name="connsiteY49" fmla="*/ 9965 h 10000"/>
                <a:gd name="connsiteX50" fmla="*/ 823 w 9837"/>
                <a:gd name="connsiteY50" fmla="*/ 9980 h 10000"/>
                <a:gd name="connsiteX51" fmla="*/ 994 w 9837"/>
                <a:gd name="connsiteY51" fmla="*/ 9990 h 10000"/>
                <a:gd name="connsiteX52" fmla="*/ 1162 w 9837"/>
                <a:gd name="connsiteY52" fmla="*/ 9995 h 10000"/>
                <a:gd name="connsiteX53" fmla="*/ 1329 w 9837"/>
                <a:gd name="connsiteY53" fmla="*/ 10000 h 10000"/>
                <a:gd name="connsiteX54" fmla="*/ 1532 w 9837"/>
                <a:gd name="connsiteY54" fmla="*/ 9995 h 10000"/>
                <a:gd name="connsiteX55" fmla="*/ 1729 w 9837"/>
                <a:gd name="connsiteY55" fmla="*/ 9988 h 10000"/>
                <a:gd name="connsiteX56" fmla="*/ 1927 w 9837"/>
                <a:gd name="connsiteY56" fmla="*/ 9975 h 10000"/>
                <a:gd name="connsiteX57" fmla="*/ 2119 w 9837"/>
                <a:gd name="connsiteY57" fmla="*/ 9954 h 10000"/>
                <a:gd name="connsiteX58" fmla="*/ 2316 w 9837"/>
                <a:gd name="connsiteY58" fmla="*/ 9932 h 10000"/>
                <a:gd name="connsiteX59" fmla="*/ 2509 w 9837"/>
                <a:gd name="connsiteY59" fmla="*/ 9898 h 10000"/>
                <a:gd name="connsiteX60" fmla="*/ 2701 w 9837"/>
                <a:gd name="connsiteY60" fmla="*/ 9866 h 10000"/>
                <a:gd name="connsiteX61" fmla="*/ 2893 w 9837"/>
                <a:gd name="connsiteY61" fmla="*/ 9824 h 10000"/>
                <a:gd name="connsiteX62" fmla="*/ 3080 w 9837"/>
                <a:gd name="connsiteY62" fmla="*/ 9779 h 10000"/>
                <a:gd name="connsiteX63" fmla="*/ 3272 w 9837"/>
                <a:gd name="connsiteY63" fmla="*/ 9731 h 10000"/>
                <a:gd name="connsiteX64" fmla="*/ 3454 w 9837"/>
                <a:gd name="connsiteY64" fmla="*/ 9673 h 10000"/>
                <a:gd name="connsiteX65" fmla="*/ 3641 w 9837"/>
                <a:gd name="connsiteY65" fmla="*/ 9616 h 10000"/>
                <a:gd name="connsiteX66" fmla="*/ 3824 w 9837"/>
                <a:gd name="connsiteY66" fmla="*/ 9553 h 10000"/>
                <a:gd name="connsiteX67" fmla="*/ 4005 w 9837"/>
                <a:gd name="connsiteY67" fmla="*/ 9482 h 10000"/>
                <a:gd name="connsiteX68" fmla="*/ 4182 w 9837"/>
                <a:gd name="connsiteY68" fmla="*/ 9405 h 10000"/>
                <a:gd name="connsiteX69" fmla="*/ 4359 w 9837"/>
                <a:gd name="connsiteY69" fmla="*/ 9330 h 10000"/>
                <a:gd name="connsiteX70" fmla="*/ 4537 w 9837"/>
                <a:gd name="connsiteY70" fmla="*/ 9244 h 10000"/>
                <a:gd name="connsiteX71" fmla="*/ 4712 w 9837"/>
                <a:gd name="connsiteY71" fmla="*/ 9159 h 10000"/>
                <a:gd name="connsiteX72" fmla="*/ 4882 w 9837"/>
                <a:gd name="connsiteY72" fmla="*/ 9063 h 10000"/>
                <a:gd name="connsiteX73" fmla="*/ 5052 w 9837"/>
                <a:gd name="connsiteY73" fmla="*/ 8968 h 10000"/>
                <a:gd name="connsiteX74" fmla="*/ 5222 w 9837"/>
                <a:gd name="connsiteY74" fmla="*/ 8865 h 10000"/>
                <a:gd name="connsiteX75" fmla="*/ 5387 w 9837"/>
                <a:gd name="connsiteY75" fmla="*/ 8760 h 10000"/>
                <a:gd name="connsiteX76" fmla="*/ 5551 w 9837"/>
                <a:gd name="connsiteY76" fmla="*/ 8652 h 10000"/>
                <a:gd name="connsiteX77" fmla="*/ 5715 w 9837"/>
                <a:gd name="connsiteY77" fmla="*/ 8536 h 10000"/>
                <a:gd name="connsiteX78" fmla="*/ 5874 w 9837"/>
                <a:gd name="connsiteY78" fmla="*/ 8417 h 10000"/>
                <a:gd name="connsiteX79" fmla="*/ 6030 w 9837"/>
                <a:gd name="connsiteY79" fmla="*/ 8295 h 10000"/>
                <a:gd name="connsiteX80" fmla="*/ 6186 w 9837"/>
                <a:gd name="connsiteY80" fmla="*/ 8169 h 10000"/>
                <a:gd name="connsiteX81" fmla="*/ 6336 w 9837"/>
                <a:gd name="connsiteY81" fmla="*/ 8040 h 10000"/>
                <a:gd name="connsiteX82" fmla="*/ 6486 w 9837"/>
                <a:gd name="connsiteY82" fmla="*/ 7904 h 10000"/>
                <a:gd name="connsiteX83" fmla="*/ 6633 w 9837"/>
                <a:gd name="connsiteY83" fmla="*/ 7768 h 10000"/>
                <a:gd name="connsiteX84" fmla="*/ 6779 w 9837"/>
                <a:gd name="connsiteY84" fmla="*/ 7625 h 10000"/>
                <a:gd name="connsiteX85" fmla="*/ 6921 w 9837"/>
                <a:gd name="connsiteY85" fmla="*/ 7480 h 10000"/>
                <a:gd name="connsiteX86" fmla="*/ 7061 w 9837"/>
                <a:gd name="connsiteY86" fmla="*/ 7329 h 10000"/>
                <a:gd name="connsiteX87" fmla="*/ 7199 w 9837"/>
                <a:gd name="connsiteY87" fmla="*/ 7178 h 10000"/>
                <a:gd name="connsiteX88" fmla="*/ 7332 w 9837"/>
                <a:gd name="connsiteY88" fmla="*/ 7025 h 10000"/>
                <a:gd name="connsiteX89" fmla="*/ 7465 w 9837"/>
                <a:gd name="connsiteY89" fmla="*/ 6862 h 10000"/>
                <a:gd name="connsiteX90" fmla="*/ 7594 w 9837"/>
                <a:gd name="connsiteY90" fmla="*/ 6697 h 10000"/>
                <a:gd name="connsiteX91" fmla="*/ 7720 w 9837"/>
                <a:gd name="connsiteY91" fmla="*/ 6534 h 10000"/>
                <a:gd name="connsiteX92" fmla="*/ 7842 w 9837"/>
                <a:gd name="connsiteY92" fmla="*/ 6365 h 10000"/>
                <a:gd name="connsiteX93" fmla="*/ 7962 w 9837"/>
                <a:gd name="connsiteY93" fmla="*/ 6189 h 10000"/>
                <a:gd name="connsiteX94" fmla="*/ 8080 w 9837"/>
                <a:gd name="connsiteY94" fmla="*/ 6016 h 10000"/>
                <a:gd name="connsiteX95" fmla="*/ 8195 w 9837"/>
                <a:gd name="connsiteY95" fmla="*/ 5835 h 10000"/>
                <a:gd name="connsiteX96" fmla="*/ 8307 w 9837"/>
                <a:gd name="connsiteY96" fmla="*/ 5652 h 10000"/>
                <a:gd name="connsiteX97" fmla="*/ 8414 w 9837"/>
                <a:gd name="connsiteY97" fmla="*/ 5468 h 10000"/>
                <a:gd name="connsiteX98" fmla="*/ 8517 w 9837"/>
                <a:gd name="connsiteY98" fmla="*/ 5278 h 10000"/>
                <a:gd name="connsiteX99" fmla="*/ 8620 w 9837"/>
                <a:gd name="connsiteY99" fmla="*/ 5089 h 10000"/>
                <a:gd name="connsiteX100" fmla="*/ 8719 w 9837"/>
                <a:gd name="connsiteY100" fmla="*/ 4893 h 10000"/>
                <a:gd name="connsiteX101" fmla="*/ 8814 w 9837"/>
                <a:gd name="connsiteY101" fmla="*/ 4698 h 10000"/>
                <a:gd name="connsiteX102" fmla="*/ 8906 w 9837"/>
                <a:gd name="connsiteY102" fmla="*/ 4500 h 10000"/>
                <a:gd name="connsiteX103" fmla="*/ 8992 w 9837"/>
                <a:gd name="connsiteY103" fmla="*/ 4294 h 10000"/>
                <a:gd name="connsiteX104" fmla="*/ 9076 w 9837"/>
                <a:gd name="connsiteY104" fmla="*/ 4091 h 10000"/>
                <a:gd name="connsiteX105" fmla="*/ 9158 w 9837"/>
                <a:gd name="connsiteY105" fmla="*/ 3885 h 10000"/>
                <a:gd name="connsiteX106" fmla="*/ 9237 w 9837"/>
                <a:gd name="connsiteY106" fmla="*/ 3674 h 10000"/>
                <a:gd name="connsiteX107" fmla="*/ 9310 w 9837"/>
                <a:gd name="connsiteY107" fmla="*/ 3464 h 10000"/>
                <a:gd name="connsiteX108" fmla="*/ 9382 w 9837"/>
                <a:gd name="connsiteY108" fmla="*/ 3248 h 10000"/>
                <a:gd name="connsiteX109" fmla="*/ 9447 w 9837"/>
                <a:gd name="connsiteY109" fmla="*/ 3030 h 10000"/>
                <a:gd name="connsiteX110" fmla="*/ 9509 w 9837"/>
                <a:gd name="connsiteY110" fmla="*/ 2815 h 10000"/>
                <a:gd name="connsiteX111" fmla="*/ 9569 w 9837"/>
                <a:gd name="connsiteY111" fmla="*/ 2592 h 10000"/>
                <a:gd name="connsiteX112" fmla="*/ 9624 w 9837"/>
                <a:gd name="connsiteY112" fmla="*/ 2369 h 10000"/>
                <a:gd name="connsiteX113" fmla="*/ 9675 w 9837"/>
                <a:gd name="connsiteY113" fmla="*/ 2143 h 10000"/>
                <a:gd name="connsiteX114" fmla="*/ 9722 w 9837"/>
                <a:gd name="connsiteY114" fmla="*/ 1918 h 10000"/>
                <a:gd name="connsiteX115" fmla="*/ 9764 w 9837"/>
                <a:gd name="connsiteY115" fmla="*/ 1690 h 10000"/>
                <a:gd name="connsiteX116" fmla="*/ 9804 w 9837"/>
                <a:gd name="connsiteY116" fmla="*/ 1457 h 10000"/>
                <a:gd name="connsiteX117" fmla="*/ 9837 w 9837"/>
                <a:gd name="connsiteY117" fmla="*/ 1222 h 10000"/>
                <a:gd name="connsiteX118" fmla="*/ 7127 w 9837"/>
                <a:gd name="connsiteY118" fmla="*/ 1876 h 10000"/>
                <a:gd name="connsiteX119" fmla="*/ 4865 w 9837"/>
                <a:gd name="connsiteY119"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32 w 10000"/>
                <a:gd name="connsiteY46" fmla="*/ 9868 h 10000"/>
                <a:gd name="connsiteX47" fmla="*/ 167 w 10000"/>
                <a:gd name="connsiteY47" fmla="*/ 9903 h 10000"/>
                <a:gd name="connsiteX48" fmla="*/ 332 w 10000"/>
                <a:gd name="connsiteY48" fmla="*/ 9927 h 10000"/>
                <a:gd name="connsiteX49" fmla="*/ 500 w 10000"/>
                <a:gd name="connsiteY49" fmla="*/ 9949 h 10000"/>
                <a:gd name="connsiteX50" fmla="*/ 668 w 10000"/>
                <a:gd name="connsiteY50" fmla="*/ 9965 h 10000"/>
                <a:gd name="connsiteX51" fmla="*/ 837 w 10000"/>
                <a:gd name="connsiteY51" fmla="*/ 9980 h 10000"/>
                <a:gd name="connsiteX52" fmla="*/ 1010 w 10000"/>
                <a:gd name="connsiteY52" fmla="*/ 9990 h 10000"/>
                <a:gd name="connsiteX53" fmla="*/ 1181 w 10000"/>
                <a:gd name="connsiteY53" fmla="*/ 9995 h 10000"/>
                <a:gd name="connsiteX54" fmla="*/ 1351 w 10000"/>
                <a:gd name="connsiteY54" fmla="*/ 10000 h 10000"/>
                <a:gd name="connsiteX55" fmla="*/ 1557 w 10000"/>
                <a:gd name="connsiteY55" fmla="*/ 9995 h 10000"/>
                <a:gd name="connsiteX56" fmla="*/ 1758 w 10000"/>
                <a:gd name="connsiteY56" fmla="*/ 9988 h 10000"/>
                <a:gd name="connsiteX57" fmla="*/ 1959 w 10000"/>
                <a:gd name="connsiteY57" fmla="*/ 9975 h 10000"/>
                <a:gd name="connsiteX58" fmla="*/ 2154 w 10000"/>
                <a:gd name="connsiteY58" fmla="*/ 9954 h 10000"/>
                <a:gd name="connsiteX59" fmla="*/ 2354 w 10000"/>
                <a:gd name="connsiteY59" fmla="*/ 9932 h 10000"/>
                <a:gd name="connsiteX60" fmla="*/ 2551 w 10000"/>
                <a:gd name="connsiteY60" fmla="*/ 9898 h 10000"/>
                <a:gd name="connsiteX61" fmla="*/ 2746 w 10000"/>
                <a:gd name="connsiteY61" fmla="*/ 9866 h 10000"/>
                <a:gd name="connsiteX62" fmla="*/ 2941 w 10000"/>
                <a:gd name="connsiteY62" fmla="*/ 9824 h 10000"/>
                <a:gd name="connsiteX63" fmla="*/ 3131 w 10000"/>
                <a:gd name="connsiteY63" fmla="*/ 9779 h 10000"/>
                <a:gd name="connsiteX64" fmla="*/ 3326 w 10000"/>
                <a:gd name="connsiteY64" fmla="*/ 9731 h 10000"/>
                <a:gd name="connsiteX65" fmla="*/ 3511 w 10000"/>
                <a:gd name="connsiteY65" fmla="*/ 9673 h 10000"/>
                <a:gd name="connsiteX66" fmla="*/ 3701 w 10000"/>
                <a:gd name="connsiteY66" fmla="*/ 9616 h 10000"/>
                <a:gd name="connsiteX67" fmla="*/ 3887 w 10000"/>
                <a:gd name="connsiteY67" fmla="*/ 9553 h 10000"/>
                <a:gd name="connsiteX68" fmla="*/ 4071 w 10000"/>
                <a:gd name="connsiteY68" fmla="*/ 9482 h 10000"/>
                <a:gd name="connsiteX69" fmla="*/ 4251 w 10000"/>
                <a:gd name="connsiteY69" fmla="*/ 9405 h 10000"/>
                <a:gd name="connsiteX70" fmla="*/ 4431 w 10000"/>
                <a:gd name="connsiteY70" fmla="*/ 9330 h 10000"/>
                <a:gd name="connsiteX71" fmla="*/ 4612 w 10000"/>
                <a:gd name="connsiteY71" fmla="*/ 9244 h 10000"/>
                <a:gd name="connsiteX72" fmla="*/ 4790 w 10000"/>
                <a:gd name="connsiteY72" fmla="*/ 9159 h 10000"/>
                <a:gd name="connsiteX73" fmla="*/ 4963 w 10000"/>
                <a:gd name="connsiteY73" fmla="*/ 9063 h 10000"/>
                <a:gd name="connsiteX74" fmla="*/ 5136 w 10000"/>
                <a:gd name="connsiteY74" fmla="*/ 8968 h 10000"/>
                <a:gd name="connsiteX75" fmla="*/ 5309 w 10000"/>
                <a:gd name="connsiteY75" fmla="*/ 8865 h 10000"/>
                <a:gd name="connsiteX76" fmla="*/ 5476 w 10000"/>
                <a:gd name="connsiteY76" fmla="*/ 8760 h 10000"/>
                <a:gd name="connsiteX77" fmla="*/ 5643 w 10000"/>
                <a:gd name="connsiteY77" fmla="*/ 8652 h 10000"/>
                <a:gd name="connsiteX78" fmla="*/ 5810 w 10000"/>
                <a:gd name="connsiteY78" fmla="*/ 8536 h 10000"/>
                <a:gd name="connsiteX79" fmla="*/ 5971 w 10000"/>
                <a:gd name="connsiteY79" fmla="*/ 8417 h 10000"/>
                <a:gd name="connsiteX80" fmla="*/ 6130 w 10000"/>
                <a:gd name="connsiteY80" fmla="*/ 8295 h 10000"/>
                <a:gd name="connsiteX81" fmla="*/ 6289 w 10000"/>
                <a:gd name="connsiteY81" fmla="*/ 8169 h 10000"/>
                <a:gd name="connsiteX82" fmla="*/ 6441 w 10000"/>
                <a:gd name="connsiteY82" fmla="*/ 8040 h 10000"/>
                <a:gd name="connsiteX83" fmla="*/ 6593 w 10000"/>
                <a:gd name="connsiteY83" fmla="*/ 7904 h 10000"/>
                <a:gd name="connsiteX84" fmla="*/ 6743 w 10000"/>
                <a:gd name="connsiteY84" fmla="*/ 7768 h 10000"/>
                <a:gd name="connsiteX85" fmla="*/ 6891 w 10000"/>
                <a:gd name="connsiteY85" fmla="*/ 7625 h 10000"/>
                <a:gd name="connsiteX86" fmla="*/ 7036 w 10000"/>
                <a:gd name="connsiteY86" fmla="*/ 7480 h 10000"/>
                <a:gd name="connsiteX87" fmla="*/ 7178 w 10000"/>
                <a:gd name="connsiteY87" fmla="*/ 7329 h 10000"/>
                <a:gd name="connsiteX88" fmla="*/ 7318 w 10000"/>
                <a:gd name="connsiteY88" fmla="*/ 7178 h 10000"/>
                <a:gd name="connsiteX89" fmla="*/ 7453 w 10000"/>
                <a:gd name="connsiteY89" fmla="*/ 7025 h 10000"/>
                <a:gd name="connsiteX90" fmla="*/ 7589 w 10000"/>
                <a:gd name="connsiteY90" fmla="*/ 6862 h 10000"/>
                <a:gd name="connsiteX91" fmla="*/ 7720 w 10000"/>
                <a:gd name="connsiteY91" fmla="*/ 6697 h 10000"/>
                <a:gd name="connsiteX92" fmla="*/ 7848 w 10000"/>
                <a:gd name="connsiteY92" fmla="*/ 6534 h 10000"/>
                <a:gd name="connsiteX93" fmla="*/ 7972 w 10000"/>
                <a:gd name="connsiteY93" fmla="*/ 6365 h 10000"/>
                <a:gd name="connsiteX94" fmla="*/ 8094 w 10000"/>
                <a:gd name="connsiteY94" fmla="*/ 6189 h 10000"/>
                <a:gd name="connsiteX95" fmla="*/ 8214 w 10000"/>
                <a:gd name="connsiteY95" fmla="*/ 6016 h 10000"/>
                <a:gd name="connsiteX96" fmla="*/ 8331 w 10000"/>
                <a:gd name="connsiteY96" fmla="*/ 5835 h 10000"/>
                <a:gd name="connsiteX97" fmla="*/ 8445 w 10000"/>
                <a:gd name="connsiteY97" fmla="*/ 5652 h 10000"/>
                <a:gd name="connsiteX98" fmla="*/ 8553 w 10000"/>
                <a:gd name="connsiteY98" fmla="*/ 5468 h 10000"/>
                <a:gd name="connsiteX99" fmla="*/ 8658 w 10000"/>
                <a:gd name="connsiteY99" fmla="*/ 5278 h 10000"/>
                <a:gd name="connsiteX100" fmla="*/ 8763 w 10000"/>
                <a:gd name="connsiteY100" fmla="*/ 5089 h 10000"/>
                <a:gd name="connsiteX101" fmla="*/ 8863 w 10000"/>
                <a:gd name="connsiteY101" fmla="*/ 4893 h 10000"/>
                <a:gd name="connsiteX102" fmla="*/ 8960 w 10000"/>
                <a:gd name="connsiteY102" fmla="*/ 4698 h 10000"/>
                <a:gd name="connsiteX103" fmla="*/ 9054 w 10000"/>
                <a:gd name="connsiteY103" fmla="*/ 4500 h 10000"/>
                <a:gd name="connsiteX104" fmla="*/ 9141 w 10000"/>
                <a:gd name="connsiteY104" fmla="*/ 4294 h 10000"/>
                <a:gd name="connsiteX105" fmla="*/ 9226 w 10000"/>
                <a:gd name="connsiteY105" fmla="*/ 4091 h 10000"/>
                <a:gd name="connsiteX106" fmla="*/ 9310 w 10000"/>
                <a:gd name="connsiteY106" fmla="*/ 3885 h 10000"/>
                <a:gd name="connsiteX107" fmla="*/ 9390 w 10000"/>
                <a:gd name="connsiteY107" fmla="*/ 3674 h 10000"/>
                <a:gd name="connsiteX108" fmla="*/ 9464 w 10000"/>
                <a:gd name="connsiteY108" fmla="*/ 3464 h 10000"/>
                <a:gd name="connsiteX109" fmla="*/ 9537 w 10000"/>
                <a:gd name="connsiteY109" fmla="*/ 3248 h 10000"/>
                <a:gd name="connsiteX110" fmla="*/ 9604 w 10000"/>
                <a:gd name="connsiteY110" fmla="*/ 3030 h 10000"/>
                <a:gd name="connsiteX111" fmla="*/ 9667 w 10000"/>
                <a:gd name="connsiteY111" fmla="*/ 2815 h 10000"/>
                <a:gd name="connsiteX112" fmla="*/ 9728 w 10000"/>
                <a:gd name="connsiteY112" fmla="*/ 2592 h 10000"/>
                <a:gd name="connsiteX113" fmla="*/ 9783 w 10000"/>
                <a:gd name="connsiteY113" fmla="*/ 2369 h 10000"/>
                <a:gd name="connsiteX114" fmla="*/ 9835 w 10000"/>
                <a:gd name="connsiteY114" fmla="*/ 2143 h 10000"/>
                <a:gd name="connsiteX115" fmla="*/ 9883 w 10000"/>
                <a:gd name="connsiteY115" fmla="*/ 1918 h 10000"/>
                <a:gd name="connsiteX116" fmla="*/ 9926 w 10000"/>
                <a:gd name="connsiteY116" fmla="*/ 1690 h 10000"/>
                <a:gd name="connsiteX117" fmla="*/ 9966 w 10000"/>
                <a:gd name="connsiteY117" fmla="*/ 1457 h 10000"/>
                <a:gd name="connsiteX118" fmla="*/ 10000 w 10000"/>
                <a:gd name="connsiteY118" fmla="*/ 1222 h 10000"/>
                <a:gd name="connsiteX119" fmla="*/ 7245 w 10000"/>
                <a:gd name="connsiteY119" fmla="*/ 1876 h 10000"/>
                <a:gd name="connsiteX120" fmla="*/ 4946 w 10000"/>
                <a:gd name="connsiteY120"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167 w 10000"/>
                <a:gd name="connsiteY46" fmla="*/ 9903 h 10000"/>
                <a:gd name="connsiteX47" fmla="*/ 332 w 10000"/>
                <a:gd name="connsiteY47" fmla="*/ 9927 h 10000"/>
                <a:gd name="connsiteX48" fmla="*/ 500 w 10000"/>
                <a:gd name="connsiteY48" fmla="*/ 9949 h 10000"/>
                <a:gd name="connsiteX49" fmla="*/ 668 w 10000"/>
                <a:gd name="connsiteY49" fmla="*/ 9965 h 10000"/>
                <a:gd name="connsiteX50" fmla="*/ 837 w 10000"/>
                <a:gd name="connsiteY50" fmla="*/ 9980 h 10000"/>
                <a:gd name="connsiteX51" fmla="*/ 1010 w 10000"/>
                <a:gd name="connsiteY51" fmla="*/ 9990 h 10000"/>
                <a:gd name="connsiteX52" fmla="*/ 1181 w 10000"/>
                <a:gd name="connsiteY52" fmla="*/ 9995 h 10000"/>
                <a:gd name="connsiteX53" fmla="*/ 1351 w 10000"/>
                <a:gd name="connsiteY53" fmla="*/ 10000 h 10000"/>
                <a:gd name="connsiteX54" fmla="*/ 1557 w 10000"/>
                <a:gd name="connsiteY54" fmla="*/ 9995 h 10000"/>
                <a:gd name="connsiteX55" fmla="*/ 1758 w 10000"/>
                <a:gd name="connsiteY55" fmla="*/ 9988 h 10000"/>
                <a:gd name="connsiteX56" fmla="*/ 1959 w 10000"/>
                <a:gd name="connsiteY56" fmla="*/ 9975 h 10000"/>
                <a:gd name="connsiteX57" fmla="*/ 2154 w 10000"/>
                <a:gd name="connsiteY57" fmla="*/ 9954 h 10000"/>
                <a:gd name="connsiteX58" fmla="*/ 2354 w 10000"/>
                <a:gd name="connsiteY58" fmla="*/ 9932 h 10000"/>
                <a:gd name="connsiteX59" fmla="*/ 2551 w 10000"/>
                <a:gd name="connsiteY59" fmla="*/ 9898 h 10000"/>
                <a:gd name="connsiteX60" fmla="*/ 2746 w 10000"/>
                <a:gd name="connsiteY60" fmla="*/ 9866 h 10000"/>
                <a:gd name="connsiteX61" fmla="*/ 2941 w 10000"/>
                <a:gd name="connsiteY61" fmla="*/ 9824 h 10000"/>
                <a:gd name="connsiteX62" fmla="*/ 3131 w 10000"/>
                <a:gd name="connsiteY62" fmla="*/ 9779 h 10000"/>
                <a:gd name="connsiteX63" fmla="*/ 3326 w 10000"/>
                <a:gd name="connsiteY63" fmla="*/ 9731 h 10000"/>
                <a:gd name="connsiteX64" fmla="*/ 3511 w 10000"/>
                <a:gd name="connsiteY64" fmla="*/ 9673 h 10000"/>
                <a:gd name="connsiteX65" fmla="*/ 3701 w 10000"/>
                <a:gd name="connsiteY65" fmla="*/ 9616 h 10000"/>
                <a:gd name="connsiteX66" fmla="*/ 3887 w 10000"/>
                <a:gd name="connsiteY66" fmla="*/ 9553 h 10000"/>
                <a:gd name="connsiteX67" fmla="*/ 4071 w 10000"/>
                <a:gd name="connsiteY67" fmla="*/ 9482 h 10000"/>
                <a:gd name="connsiteX68" fmla="*/ 4251 w 10000"/>
                <a:gd name="connsiteY68" fmla="*/ 9405 h 10000"/>
                <a:gd name="connsiteX69" fmla="*/ 4431 w 10000"/>
                <a:gd name="connsiteY69" fmla="*/ 9330 h 10000"/>
                <a:gd name="connsiteX70" fmla="*/ 4612 w 10000"/>
                <a:gd name="connsiteY70" fmla="*/ 9244 h 10000"/>
                <a:gd name="connsiteX71" fmla="*/ 4790 w 10000"/>
                <a:gd name="connsiteY71" fmla="*/ 9159 h 10000"/>
                <a:gd name="connsiteX72" fmla="*/ 4963 w 10000"/>
                <a:gd name="connsiteY72" fmla="*/ 9063 h 10000"/>
                <a:gd name="connsiteX73" fmla="*/ 5136 w 10000"/>
                <a:gd name="connsiteY73" fmla="*/ 8968 h 10000"/>
                <a:gd name="connsiteX74" fmla="*/ 5309 w 10000"/>
                <a:gd name="connsiteY74" fmla="*/ 8865 h 10000"/>
                <a:gd name="connsiteX75" fmla="*/ 5476 w 10000"/>
                <a:gd name="connsiteY75" fmla="*/ 8760 h 10000"/>
                <a:gd name="connsiteX76" fmla="*/ 5643 w 10000"/>
                <a:gd name="connsiteY76" fmla="*/ 8652 h 10000"/>
                <a:gd name="connsiteX77" fmla="*/ 5810 w 10000"/>
                <a:gd name="connsiteY77" fmla="*/ 8536 h 10000"/>
                <a:gd name="connsiteX78" fmla="*/ 5971 w 10000"/>
                <a:gd name="connsiteY78" fmla="*/ 8417 h 10000"/>
                <a:gd name="connsiteX79" fmla="*/ 6130 w 10000"/>
                <a:gd name="connsiteY79" fmla="*/ 8295 h 10000"/>
                <a:gd name="connsiteX80" fmla="*/ 6289 w 10000"/>
                <a:gd name="connsiteY80" fmla="*/ 8169 h 10000"/>
                <a:gd name="connsiteX81" fmla="*/ 6441 w 10000"/>
                <a:gd name="connsiteY81" fmla="*/ 8040 h 10000"/>
                <a:gd name="connsiteX82" fmla="*/ 6593 w 10000"/>
                <a:gd name="connsiteY82" fmla="*/ 7904 h 10000"/>
                <a:gd name="connsiteX83" fmla="*/ 6743 w 10000"/>
                <a:gd name="connsiteY83" fmla="*/ 7768 h 10000"/>
                <a:gd name="connsiteX84" fmla="*/ 6891 w 10000"/>
                <a:gd name="connsiteY84" fmla="*/ 7625 h 10000"/>
                <a:gd name="connsiteX85" fmla="*/ 7036 w 10000"/>
                <a:gd name="connsiteY85" fmla="*/ 7480 h 10000"/>
                <a:gd name="connsiteX86" fmla="*/ 7178 w 10000"/>
                <a:gd name="connsiteY86" fmla="*/ 7329 h 10000"/>
                <a:gd name="connsiteX87" fmla="*/ 7318 w 10000"/>
                <a:gd name="connsiteY87" fmla="*/ 7178 h 10000"/>
                <a:gd name="connsiteX88" fmla="*/ 7453 w 10000"/>
                <a:gd name="connsiteY88" fmla="*/ 7025 h 10000"/>
                <a:gd name="connsiteX89" fmla="*/ 7589 w 10000"/>
                <a:gd name="connsiteY89" fmla="*/ 6862 h 10000"/>
                <a:gd name="connsiteX90" fmla="*/ 7720 w 10000"/>
                <a:gd name="connsiteY90" fmla="*/ 6697 h 10000"/>
                <a:gd name="connsiteX91" fmla="*/ 7848 w 10000"/>
                <a:gd name="connsiteY91" fmla="*/ 6534 h 10000"/>
                <a:gd name="connsiteX92" fmla="*/ 7972 w 10000"/>
                <a:gd name="connsiteY92" fmla="*/ 6365 h 10000"/>
                <a:gd name="connsiteX93" fmla="*/ 8094 w 10000"/>
                <a:gd name="connsiteY93" fmla="*/ 6189 h 10000"/>
                <a:gd name="connsiteX94" fmla="*/ 8214 w 10000"/>
                <a:gd name="connsiteY94" fmla="*/ 6016 h 10000"/>
                <a:gd name="connsiteX95" fmla="*/ 8331 w 10000"/>
                <a:gd name="connsiteY95" fmla="*/ 5835 h 10000"/>
                <a:gd name="connsiteX96" fmla="*/ 8445 w 10000"/>
                <a:gd name="connsiteY96" fmla="*/ 5652 h 10000"/>
                <a:gd name="connsiteX97" fmla="*/ 8553 w 10000"/>
                <a:gd name="connsiteY97" fmla="*/ 5468 h 10000"/>
                <a:gd name="connsiteX98" fmla="*/ 8658 w 10000"/>
                <a:gd name="connsiteY98" fmla="*/ 5278 h 10000"/>
                <a:gd name="connsiteX99" fmla="*/ 8763 w 10000"/>
                <a:gd name="connsiteY99" fmla="*/ 5089 h 10000"/>
                <a:gd name="connsiteX100" fmla="*/ 8863 w 10000"/>
                <a:gd name="connsiteY100" fmla="*/ 4893 h 10000"/>
                <a:gd name="connsiteX101" fmla="*/ 8960 w 10000"/>
                <a:gd name="connsiteY101" fmla="*/ 4698 h 10000"/>
                <a:gd name="connsiteX102" fmla="*/ 9054 w 10000"/>
                <a:gd name="connsiteY102" fmla="*/ 4500 h 10000"/>
                <a:gd name="connsiteX103" fmla="*/ 9141 w 10000"/>
                <a:gd name="connsiteY103" fmla="*/ 4294 h 10000"/>
                <a:gd name="connsiteX104" fmla="*/ 9226 w 10000"/>
                <a:gd name="connsiteY104" fmla="*/ 4091 h 10000"/>
                <a:gd name="connsiteX105" fmla="*/ 9310 w 10000"/>
                <a:gd name="connsiteY105" fmla="*/ 3885 h 10000"/>
                <a:gd name="connsiteX106" fmla="*/ 9390 w 10000"/>
                <a:gd name="connsiteY106" fmla="*/ 3674 h 10000"/>
                <a:gd name="connsiteX107" fmla="*/ 9464 w 10000"/>
                <a:gd name="connsiteY107" fmla="*/ 3464 h 10000"/>
                <a:gd name="connsiteX108" fmla="*/ 9537 w 10000"/>
                <a:gd name="connsiteY108" fmla="*/ 3248 h 10000"/>
                <a:gd name="connsiteX109" fmla="*/ 9604 w 10000"/>
                <a:gd name="connsiteY109" fmla="*/ 3030 h 10000"/>
                <a:gd name="connsiteX110" fmla="*/ 9667 w 10000"/>
                <a:gd name="connsiteY110" fmla="*/ 2815 h 10000"/>
                <a:gd name="connsiteX111" fmla="*/ 9728 w 10000"/>
                <a:gd name="connsiteY111" fmla="*/ 2592 h 10000"/>
                <a:gd name="connsiteX112" fmla="*/ 9783 w 10000"/>
                <a:gd name="connsiteY112" fmla="*/ 2369 h 10000"/>
                <a:gd name="connsiteX113" fmla="*/ 9835 w 10000"/>
                <a:gd name="connsiteY113" fmla="*/ 2143 h 10000"/>
                <a:gd name="connsiteX114" fmla="*/ 9883 w 10000"/>
                <a:gd name="connsiteY114" fmla="*/ 1918 h 10000"/>
                <a:gd name="connsiteX115" fmla="*/ 9926 w 10000"/>
                <a:gd name="connsiteY115" fmla="*/ 1690 h 10000"/>
                <a:gd name="connsiteX116" fmla="*/ 9966 w 10000"/>
                <a:gd name="connsiteY116" fmla="*/ 1457 h 10000"/>
                <a:gd name="connsiteX117" fmla="*/ 10000 w 10000"/>
                <a:gd name="connsiteY117" fmla="*/ 1222 h 10000"/>
                <a:gd name="connsiteX118" fmla="*/ 7245 w 10000"/>
                <a:gd name="connsiteY118" fmla="*/ 1876 h 10000"/>
                <a:gd name="connsiteX119" fmla="*/ 4946 w 10000"/>
                <a:gd name="connsiteY119" fmla="*/ 0 h 10000"/>
                <a:gd name="connsiteX0" fmla="*/ 4779 w 9833"/>
                <a:gd name="connsiteY0" fmla="*/ 0 h 10000"/>
                <a:gd name="connsiteX1" fmla="*/ 4779 w 9833"/>
                <a:gd name="connsiteY1" fmla="*/ 0 h 10000"/>
                <a:gd name="connsiteX2" fmla="*/ 4769 w 9833"/>
                <a:gd name="connsiteY2" fmla="*/ 99 h 10000"/>
                <a:gd name="connsiteX3" fmla="*/ 4751 w 9833"/>
                <a:gd name="connsiteY3" fmla="*/ 201 h 10000"/>
                <a:gd name="connsiteX4" fmla="*/ 4738 w 9833"/>
                <a:gd name="connsiteY4" fmla="*/ 300 h 10000"/>
                <a:gd name="connsiteX5" fmla="*/ 4720 w 9833"/>
                <a:gd name="connsiteY5" fmla="*/ 394 h 10000"/>
                <a:gd name="connsiteX6" fmla="*/ 4699 w 9833"/>
                <a:gd name="connsiteY6" fmla="*/ 491 h 10000"/>
                <a:gd name="connsiteX7" fmla="*/ 4677 w 9833"/>
                <a:gd name="connsiteY7" fmla="*/ 587 h 10000"/>
                <a:gd name="connsiteX8" fmla="*/ 4656 w 9833"/>
                <a:gd name="connsiteY8" fmla="*/ 684 h 10000"/>
                <a:gd name="connsiteX9" fmla="*/ 4631 w 9833"/>
                <a:gd name="connsiteY9" fmla="*/ 778 h 10000"/>
                <a:gd name="connsiteX10" fmla="*/ 4605 w 9833"/>
                <a:gd name="connsiteY10" fmla="*/ 870 h 10000"/>
                <a:gd name="connsiteX11" fmla="*/ 4574 w 9833"/>
                <a:gd name="connsiteY11" fmla="*/ 961 h 10000"/>
                <a:gd name="connsiteX12" fmla="*/ 4549 w 9833"/>
                <a:gd name="connsiteY12" fmla="*/ 1053 h 10000"/>
                <a:gd name="connsiteX13" fmla="*/ 4516 w 9833"/>
                <a:gd name="connsiteY13" fmla="*/ 1145 h 10000"/>
                <a:gd name="connsiteX14" fmla="*/ 4481 w 9833"/>
                <a:gd name="connsiteY14" fmla="*/ 1231 h 10000"/>
                <a:gd name="connsiteX15" fmla="*/ 4447 w 9833"/>
                <a:gd name="connsiteY15" fmla="*/ 1318 h 10000"/>
                <a:gd name="connsiteX16" fmla="*/ 4413 w 9833"/>
                <a:gd name="connsiteY16" fmla="*/ 1405 h 10000"/>
                <a:gd name="connsiteX17" fmla="*/ 4374 w 9833"/>
                <a:gd name="connsiteY17" fmla="*/ 1494 h 10000"/>
                <a:gd name="connsiteX18" fmla="*/ 4336 w 9833"/>
                <a:gd name="connsiteY18" fmla="*/ 1578 h 10000"/>
                <a:gd name="connsiteX19" fmla="*/ 4296 w 9833"/>
                <a:gd name="connsiteY19" fmla="*/ 1663 h 10000"/>
                <a:gd name="connsiteX20" fmla="*/ 4253 w 9833"/>
                <a:gd name="connsiteY20" fmla="*/ 1742 h 10000"/>
                <a:gd name="connsiteX21" fmla="*/ 4208 w 9833"/>
                <a:gd name="connsiteY21" fmla="*/ 1824 h 10000"/>
                <a:gd name="connsiteX22" fmla="*/ 4165 w 9833"/>
                <a:gd name="connsiteY22" fmla="*/ 1903 h 10000"/>
                <a:gd name="connsiteX23" fmla="*/ 4119 w 9833"/>
                <a:gd name="connsiteY23" fmla="*/ 1985 h 10000"/>
                <a:gd name="connsiteX24" fmla="*/ 4071 w 9833"/>
                <a:gd name="connsiteY24" fmla="*/ 2059 h 10000"/>
                <a:gd name="connsiteX25" fmla="*/ 4021 w 9833"/>
                <a:gd name="connsiteY25" fmla="*/ 2133 h 10000"/>
                <a:gd name="connsiteX26" fmla="*/ 3970 w 9833"/>
                <a:gd name="connsiteY26" fmla="*/ 2210 h 10000"/>
                <a:gd name="connsiteX27" fmla="*/ 3919 w 9833"/>
                <a:gd name="connsiteY27" fmla="*/ 2282 h 10000"/>
                <a:gd name="connsiteX28" fmla="*/ 3865 w 9833"/>
                <a:gd name="connsiteY28" fmla="*/ 2354 h 10000"/>
                <a:gd name="connsiteX29" fmla="*/ 3811 w 9833"/>
                <a:gd name="connsiteY29" fmla="*/ 2426 h 10000"/>
                <a:gd name="connsiteX30" fmla="*/ 3757 w 9833"/>
                <a:gd name="connsiteY30" fmla="*/ 2495 h 10000"/>
                <a:gd name="connsiteX31" fmla="*/ 3698 w 9833"/>
                <a:gd name="connsiteY31" fmla="*/ 2562 h 10000"/>
                <a:gd name="connsiteX32" fmla="*/ 3642 w 9833"/>
                <a:gd name="connsiteY32" fmla="*/ 2626 h 10000"/>
                <a:gd name="connsiteX33" fmla="*/ 3581 w 9833"/>
                <a:gd name="connsiteY33" fmla="*/ 2691 h 10000"/>
                <a:gd name="connsiteX34" fmla="*/ 3523 w 9833"/>
                <a:gd name="connsiteY34" fmla="*/ 2753 h 10000"/>
                <a:gd name="connsiteX35" fmla="*/ 3458 w 9833"/>
                <a:gd name="connsiteY35" fmla="*/ 2817 h 10000"/>
                <a:gd name="connsiteX36" fmla="*/ 3397 w 9833"/>
                <a:gd name="connsiteY36" fmla="*/ 2874 h 10000"/>
                <a:gd name="connsiteX37" fmla="*/ 3333 w 9833"/>
                <a:gd name="connsiteY37" fmla="*/ 2934 h 10000"/>
                <a:gd name="connsiteX38" fmla="*/ 3268 w 9833"/>
                <a:gd name="connsiteY38" fmla="*/ 2989 h 10000"/>
                <a:gd name="connsiteX39" fmla="*/ 3202 w 9833"/>
                <a:gd name="connsiteY39" fmla="*/ 3043 h 10000"/>
                <a:gd name="connsiteX40" fmla="*/ 3135 w 9833"/>
                <a:gd name="connsiteY40" fmla="*/ 3097 h 10000"/>
                <a:gd name="connsiteX41" fmla="*/ 3068 w 9833"/>
                <a:gd name="connsiteY41" fmla="*/ 3149 h 10000"/>
                <a:gd name="connsiteX42" fmla="*/ 2999 w 9833"/>
                <a:gd name="connsiteY42" fmla="*/ 3196 h 10000"/>
                <a:gd name="connsiteX43" fmla="*/ 2928 w 9833"/>
                <a:gd name="connsiteY43" fmla="*/ 3243 h 10000"/>
                <a:gd name="connsiteX44" fmla="*/ 3057 w 9833"/>
                <a:gd name="connsiteY44" fmla="*/ 6577 h 10000"/>
                <a:gd name="connsiteX45" fmla="*/ 0 w 9833"/>
                <a:gd name="connsiteY45" fmla="*/ 9903 h 10000"/>
                <a:gd name="connsiteX46" fmla="*/ 165 w 9833"/>
                <a:gd name="connsiteY46" fmla="*/ 9927 h 10000"/>
                <a:gd name="connsiteX47" fmla="*/ 333 w 9833"/>
                <a:gd name="connsiteY47" fmla="*/ 9949 h 10000"/>
                <a:gd name="connsiteX48" fmla="*/ 501 w 9833"/>
                <a:gd name="connsiteY48" fmla="*/ 9965 h 10000"/>
                <a:gd name="connsiteX49" fmla="*/ 670 w 9833"/>
                <a:gd name="connsiteY49" fmla="*/ 9980 h 10000"/>
                <a:gd name="connsiteX50" fmla="*/ 843 w 9833"/>
                <a:gd name="connsiteY50" fmla="*/ 9990 h 10000"/>
                <a:gd name="connsiteX51" fmla="*/ 1014 w 9833"/>
                <a:gd name="connsiteY51" fmla="*/ 9995 h 10000"/>
                <a:gd name="connsiteX52" fmla="*/ 1184 w 9833"/>
                <a:gd name="connsiteY52" fmla="*/ 10000 h 10000"/>
                <a:gd name="connsiteX53" fmla="*/ 1390 w 9833"/>
                <a:gd name="connsiteY53" fmla="*/ 9995 h 10000"/>
                <a:gd name="connsiteX54" fmla="*/ 1591 w 9833"/>
                <a:gd name="connsiteY54" fmla="*/ 9988 h 10000"/>
                <a:gd name="connsiteX55" fmla="*/ 1792 w 9833"/>
                <a:gd name="connsiteY55" fmla="*/ 9975 h 10000"/>
                <a:gd name="connsiteX56" fmla="*/ 1987 w 9833"/>
                <a:gd name="connsiteY56" fmla="*/ 9954 h 10000"/>
                <a:gd name="connsiteX57" fmla="*/ 2187 w 9833"/>
                <a:gd name="connsiteY57" fmla="*/ 9932 h 10000"/>
                <a:gd name="connsiteX58" fmla="*/ 2384 w 9833"/>
                <a:gd name="connsiteY58" fmla="*/ 9898 h 10000"/>
                <a:gd name="connsiteX59" fmla="*/ 2579 w 9833"/>
                <a:gd name="connsiteY59" fmla="*/ 9866 h 10000"/>
                <a:gd name="connsiteX60" fmla="*/ 2774 w 9833"/>
                <a:gd name="connsiteY60" fmla="*/ 9824 h 10000"/>
                <a:gd name="connsiteX61" fmla="*/ 2964 w 9833"/>
                <a:gd name="connsiteY61" fmla="*/ 9779 h 10000"/>
                <a:gd name="connsiteX62" fmla="*/ 3159 w 9833"/>
                <a:gd name="connsiteY62" fmla="*/ 9731 h 10000"/>
                <a:gd name="connsiteX63" fmla="*/ 3344 w 9833"/>
                <a:gd name="connsiteY63" fmla="*/ 9673 h 10000"/>
                <a:gd name="connsiteX64" fmla="*/ 3534 w 9833"/>
                <a:gd name="connsiteY64" fmla="*/ 9616 h 10000"/>
                <a:gd name="connsiteX65" fmla="*/ 3720 w 9833"/>
                <a:gd name="connsiteY65" fmla="*/ 9553 h 10000"/>
                <a:gd name="connsiteX66" fmla="*/ 3904 w 9833"/>
                <a:gd name="connsiteY66" fmla="*/ 9482 h 10000"/>
                <a:gd name="connsiteX67" fmla="*/ 4084 w 9833"/>
                <a:gd name="connsiteY67" fmla="*/ 9405 h 10000"/>
                <a:gd name="connsiteX68" fmla="*/ 4264 w 9833"/>
                <a:gd name="connsiteY68" fmla="*/ 9330 h 10000"/>
                <a:gd name="connsiteX69" fmla="*/ 4445 w 9833"/>
                <a:gd name="connsiteY69" fmla="*/ 9244 h 10000"/>
                <a:gd name="connsiteX70" fmla="*/ 4623 w 9833"/>
                <a:gd name="connsiteY70" fmla="*/ 9159 h 10000"/>
                <a:gd name="connsiteX71" fmla="*/ 4796 w 9833"/>
                <a:gd name="connsiteY71" fmla="*/ 9063 h 10000"/>
                <a:gd name="connsiteX72" fmla="*/ 4969 w 9833"/>
                <a:gd name="connsiteY72" fmla="*/ 8968 h 10000"/>
                <a:gd name="connsiteX73" fmla="*/ 5142 w 9833"/>
                <a:gd name="connsiteY73" fmla="*/ 8865 h 10000"/>
                <a:gd name="connsiteX74" fmla="*/ 5309 w 9833"/>
                <a:gd name="connsiteY74" fmla="*/ 8760 h 10000"/>
                <a:gd name="connsiteX75" fmla="*/ 5476 w 9833"/>
                <a:gd name="connsiteY75" fmla="*/ 8652 h 10000"/>
                <a:gd name="connsiteX76" fmla="*/ 5643 w 9833"/>
                <a:gd name="connsiteY76" fmla="*/ 8536 h 10000"/>
                <a:gd name="connsiteX77" fmla="*/ 5804 w 9833"/>
                <a:gd name="connsiteY77" fmla="*/ 8417 h 10000"/>
                <a:gd name="connsiteX78" fmla="*/ 5963 w 9833"/>
                <a:gd name="connsiteY78" fmla="*/ 8295 h 10000"/>
                <a:gd name="connsiteX79" fmla="*/ 6122 w 9833"/>
                <a:gd name="connsiteY79" fmla="*/ 8169 h 10000"/>
                <a:gd name="connsiteX80" fmla="*/ 6274 w 9833"/>
                <a:gd name="connsiteY80" fmla="*/ 8040 h 10000"/>
                <a:gd name="connsiteX81" fmla="*/ 6426 w 9833"/>
                <a:gd name="connsiteY81" fmla="*/ 7904 h 10000"/>
                <a:gd name="connsiteX82" fmla="*/ 6576 w 9833"/>
                <a:gd name="connsiteY82" fmla="*/ 7768 h 10000"/>
                <a:gd name="connsiteX83" fmla="*/ 6724 w 9833"/>
                <a:gd name="connsiteY83" fmla="*/ 7625 h 10000"/>
                <a:gd name="connsiteX84" fmla="*/ 6869 w 9833"/>
                <a:gd name="connsiteY84" fmla="*/ 7480 h 10000"/>
                <a:gd name="connsiteX85" fmla="*/ 7011 w 9833"/>
                <a:gd name="connsiteY85" fmla="*/ 7329 h 10000"/>
                <a:gd name="connsiteX86" fmla="*/ 7151 w 9833"/>
                <a:gd name="connsiteY86" fmla="*/ 7178 h 10000"/>
                <a:gd name="connsiteX87" fmla="*/ 7286 w 9833"/>
                <a:gd name="connsiteY87" fmla="*/ 7025 h 10000"/>
                <a:gd name="connsiteX88" fmla="*/ 7422 w 9833"/>
                <a:gd name="connsiteY88" fmla="*/ 6862 h 10000"/>
                <a:gd name="connsiteX89" fmla="*/ 7553 w 9833"/>
                <a:gd name="connsiteY89" fmla="*/ 6697 h 10000"/>
                <a:gd name="connsiteX90" fmla="*/ 7681 w 9833"/>
                <a:gd name="connsiteY90" fmla="*/ 6534 h 10000"/>
                <a:gd name="connsiteX91" fmla="*/ 7805 w 9833"/>
                <a:gd name="connsiteY91" fmla="*/ 6365 h 10000"/>
                <a:gd name="connsiteX92" fmla="*/ 7927 w 9833"/>
                <a:gd name="connsiteY92" fmla="*/ 6189 h 10000"/>
                <a:gd name="connsiteX93" fmla="*/ 8047 w 9833"/>
                <a:gd name="connsiteY93" fmla="*/ 6016 h 10000"/>
                <a:gd name="connsiteX94" fmla="*/ 8164 w 9833"/>
                <a:gd name="connsiteY94" fmla="*/ 5835 h 10000"/>
                <a:gd name="connsiteX95" fmla="*/ 8278 w 9833"/>
                <a:gd name="connsiteY95" fmla="*/ 5652 h 10000"/>
                <a:gd name="connsiteX96" fmla="*/ 8386 w 9833"/>
                <a:gd name="connsiteY96" fmla="*/ 5468 h 10000"/>
                <a:gd name="connsiteX97" fmla="*/ 8491 w 9833"/>
                <a:gd name="connsiteY97" fmla="*/ 5278 h 10000"/>
                <a:gd name="connsiteX98" fmla="*/ 8596 w 9833"/>
                <a:gd name="connsiteY98" fmla="*/ 5089 h 10000"/>
                <a:gd name="connsiteX99" fmla="*/ 8696 w 9833"/>
                <a:gd name="connsiteY99" fmla="*/ 4893 h 10000"/>
                <a:gd name="connsiteX100" fmla="*/ 8793 w 9833"/>
                <a:gd name="connsiteY100" fmla="*/ 4698 h 10000"/>
                <a:gd name="connsiteX101" fmla="*/ 8887 w 9833"/>
                <a:gd name="connsiteY101" fmla="*/ 4500 h 10000"/>
                <a:gd name="connsiteX102" fmla="*/ 8974 w 9833"/>
                <a:gd name="connsiteY102" fmla="*/ 4294 h 10000"/>
                <a:gd name="connsiteX103" fmla="*/ 9059 w 9833"/>
                <a:gd name="connsiteY103" fmla="*/ 4091 h 10000"/>
                <a:gd name="connsiteX104" fmla="*/ 9143 w 9833"/>
                <a:gd name="connsiteY104" fmla="*/ 3885 h 10000"/>
                <a:gd name="connsiteX105" fmla="*/ 9223 w 9833"/>
                <a:gd name="connsiteY105" fmla="*/ 3674 h 10000"/>
                <a:gd name="connsiteX106" fmla="*/ 9297 w 9833"/>
                <a:gd name="connsiteY106" fmla="*/ 3464 h 10000"/>
                <a:gd name="connsiteX107" fmla="*/ 9370 w 9833"/>
                <a:gd name="connsiteY107" fmla="*/ 3248 h 10000"/>
                <a:gd name="connsiteX108" fmla="*/ 9437 w 9833"/>
                <a:gd name="connsiteY108" fmla="*/ 3030 h 10000"/>
                <a:gd name="connsiteX109" fmla="*/ 9500 w 9833"/>
                <a:gd name="connsiteY109" fmla="*/ 2815 h 10000"/>
                <a:gd name="connsiteX110" fmla="*/ 9561 w 9833"/>
                <a:gd name="connsiteY110" fmla="*/ 2592 h 10000"/>
                <a:gd name="connsiteX111" fmla="*/ 9616 w 9833"/>
                <a:gd name="connsiteY111" fmla="*/ 2369 h 10000"/>
                <a:gd name="connsiteX112" fmla="*/ 9668 w 9833"/>
                <a:gd name="connsiteY112" fmla="*/ 2143 h 10000"/>
                <a:gd name="connsiteX113" fmla="*/ 9716 w 9833"/>
                <a:gd name="connsiteY113" fmla="*/ 1918 h 10000"/>
                <a:gd name="connsiteX114" fmla="*/ 9759 w 9833"/>
                <a:gd name="connsiteY114" fmla="*/ 1690 h 10000"/>
                <a:gd name="connsiteX115" fmla="*/ 9799 w 9833"/>
                <a:gd name="connsiteY115" fmla="*/ 1457 h 10000"/>
                <a:gd name="connsiteX116" fmla="*/ 9833 w 9833"/>
                <a:gd name="connsiteY116" fmla="*/ 1222 h 10000"/>
                <a:gd name="connsiteX117" fmla="*/ 7078 w 9833"/>
                <a:gd name="connsiteY117" fmla="*/ 1876 h 10000"/>
                <a:gd name="connsiteX118" fmla="*/ 4779 w 9833"/>
                <a:gd name="connsiteY118" fmla="*/ 0 h 10000"/>
                <a:gd name="connsiteX0" fmla="*/ 4860 w 10000"/>
                <a:gd name="connsiteY0" fmla="*/ 0 h 10000"/>
                <a:gd name="connsiteX1" fmla="*/ 4860 w 10000"/>
                <a:gd name="connsiteY1" fmla="*/ 0 h 10000"/>
                <a:gd name="connsiteX2" fmla="*/ 4850 w 10000"/>
                <a:gd name="connsiteY2" fmla="*/ 99 h 10000"/>
                <a:gd name="connsiteX3" fmla="*/ 4832 w 10000"/>
                <a:gd name="connsiteY3" fmla="*/ 201 h 10000"/>
                <a:gd name="connsiteX4" fmla="*/ 4818 w 10000"/>
                <a:gd name="connsiteY4" fmla="*/ 300 h 10000"/>
                <a:gd name="connsiteX5" fmla="*/ 4800 w 10000"/>
                <a:gd name="connsiteY5" fmla="*/ 394 h 10000"/>
                <a:gd name="connsiteX6" fmla="*/ 4779 w 10000"/>
                <a:gd name="connsiteY6" fmla="*/ 491 h 10000"/>
                <a:gd name="connsiteX7" fmla="*/ 4756 w 10000"/>
                <a:gd name="connsiteY7" fmla="*/ 587 h 10000"/>
                <a:gd name="connsiteX8" fmla="*/ 4735 w 10000"/>
                <a:gd name="connsiteY8" fmla="*/ 684 h 10000"/>
                <a:gd name="connsiteX9" fmla="*/ 4710 w 10000"/>
                <a:gd name="connsiteY9" fmla="*/ 778 h 10000"/>
                <a:gd name="connsiteX10" fmla="*/ 4683 w 10000"/>
                <a:gd name="connsiteY10" fmla="*/ 870 h 10000"/>
                <a:gd name="connsiteX11" fmla="*/ 4652 w 10000"/>
                <a:gd name="connsiteY11" fmla="*/ 961 h 10000"/>
                <a:gd name="connsiteX12" fmla="*/ 4626 w 10000"/>
                <a:gd name="connsiteY12" fmla="*/ 1053 h 10000"/>
                <a:gd name="connsiteX13" fmla="*/ 4593 w 10000"/>
                <a:gd name="connsiteY13" fmla="*/ 1145 h 10000"/>
                <a:gd name="connsiteX14" fmla="*/ 4557 w 10000"/>
                <a:gd name="connsiteY14" fmla="*/ 1231 h 10000"/>
                <a:gd name="connsiteX15" fmla="*/ 4523 w 10000"/>
                <a:gd name="connsiteY15" fmla="*/ 1318 h 10000"/>
                <a:gd name="connsiteX16" fmla="*/ 4488 w 10000"/>
                <a:gd name="connsiteY16" fmla="*/ 1405 h 10000"/>
                <a:gd name="connsiteX17" fmla="*/ 4448 w 10000"/>
                <a:gd name="connsiteY17" fmla="*/ 1494 h 10000"/>
                <a:gd name="connsiteX18" fmla="*/ 4410 w 10000"/>
                <a:gd name="connsiteY18" fmla="*/ 1578 h 10000"/>
                <a:gd name="connsiteX19" fmla="*/ 4369 w 10000"/>
                <a:gd name="connsiteY19" fmla="*/ 1663 h 10000"/>
                <a:gd name="connsiteX20" fmla="*/ 4325 w 10000"/>
                <a:gd name="connsiteY20" fmla="*/ 1742 h 10000"/>
                <a:gd name="connsiteX21" fmla="*/ 4279 w 10000"/>
                <a:gd name="connsiteY21" fmla="*/ 1824 h 10000"/>
                <a:gd name="connsiteX22" fmla="*/ 4236 w 10000"/>
                <a:gd name="connsiteY22" fmla="*/ 1903 h 10000"/>
                <a:gd name="connsiteX23" fmla="*/ 4189 w 10000"/>
                <a:gd name="connsiteY23" fmla="*/ 1985 h 10000"/>
                <a:gd name="connsiteX24" fmla="*/ 4140 w 10000"/>
                <a:gd name="connsiteY24" fmla="*/ 2059 h 10000"/>
                <a:gd name="connsiteX25" fmla="*/ 4089 w 10000"/>
                <a:gd name="connsiteY25" fmla="*/ 2133 h 10000"/>
                <a:gd name="connsiteX26" fmla="*/ 4037 w 10000"/>
                <a:gd name="connsiteY26" fmla="*/ 2210 h 10000"/>
                <a:gd name="connsiteX27" fmla="*/ 3986 w 10000"/>
                <a:gd name="connsiteY27" fmla="*/ 2282 h 10000"/>
                <a:gd name="connsiteX28" fmla="*/ 3931 w 10000"/>
                <a:gd name="connsiteY28" fmla="*/ 2354 h 10000"/>
                <a:gd name="connsiteX29" fmla="*/ 3876 w 10000"/>
                <a:gd name="connsiteY29" fmla="*/ 2426 h 10000"/>
                <a:gd name="connsiteX30" fmla="*/ 3821 w 10000"/>
                <a:gd name="connsiteY30" fmla="*/ 2495 h 10000"/>
                <a:gd name="connsiteX31" fmla="*/ 3761 w 10000"/>
                <a:gd name="connsiteY31" fmla="*/ 2562 h 10000"/>
                <a:gd name="connsiteX32" fmla="*/ 3704 w 10000"/>
                <a:gd name="connsiteY32" fmla="*/ 2626 h 10000"/>
                <a:gd name="connsiteX33" fmla="*/ 3642 w 10000"/>
                <a:gd name="connsiteY33" fmla="*/ 2691 h 10000"/>
                <a:gd name="connsiteX34" fmla="*/ 3583 w 10000"/>
                <a:gd name="connsiteY34" fmla="*/ 2753 h 10000"/>
                <a:gd name="connsiteX35" fmla="*/ 3517 w 10000"/>
                <a:gd name="connsiteY35" fmla="*/ 2817 h 10000"/>
                <a:gd name="connsiteX36" fmla="*/ 3455 w 10000"/>
                <a:gd name="connsiteY36" fmla="*/ 2874 h 10000"/>
                <a:gd name="connsiteX37" fmla="*/ 3390 w 10000"/>
                <a:gd name="connsiteY37" fmla="*/ 2934 h 10000"/>
                <a:gd name="connsiteX38" fmla="*/ 3324 w 10000"/>
                <a:gd name="connsiteY38" fmla="*/ 2989 h 10000"/>
                <a:gd name="connsiteX39" fmla="*/ 3256 w 10000"/>
                <a:gd name="connsiteY39" fmla="*/ 3043 h 10000"/>
                <a:gd name="connsiteX40" fmla="*/ 3188 w 10000"/>
                <a:gd name="connsiteY40" fmla="*/ 3097 h 10000"/>
                <a:gd name="connsiteX41" fmla="*/ 3120 w 10000"/>
                <a:gd name="connsiteY41" fmla="*/ 3149 h 10000"/>
                <a:gd name="connsiteX42" fmla="*/ 3050 w 10000"/>
                <a:gd name="connsiteY42" fmla="*/ 3196 h 10000"/>
                <a:gd name="connsiteX43" fmla="*/ 2978 w 10000"/>
                <a:gd name="connsiteY43" fmla="*/ 3243 h 10000"/>
                <a:gd name="connsiteX44" fmla="*/ 3109 w 10000"/>
                <a:gd name="connsiteY44" fmla="*/ 6577 h 10000"/>
                <a:gd name="connsiteX45" fmla="*/ 0 w 10000"/>
                <a:gd name="connsiteY45" fmla="*/ 9903 h 10000"/>
                <a:gd name="connsiteX46" fmla="*/ 339 w 10000"/>
                <a:gd name="connsiteY46" fmla="*/ 9949 h 10000"/>
                <a:gd name="connsiteX47" fmla="*/ 510 w 10000"/>
                <a:gd name="connsiteY47" fmla="*/ 9965 h 10000"/>
                <a:gd name="connsiteX48" fmla="*/ 681 w 10000"/>
                <a:gd name="connsiteY48" fmla="*/ 9980 h 10000"/>
                <a:gd name="connsiteX49" fmla="*/ 857 w 10000"/>
                <a:gd name="connsiteY49" fmla="*/ 9990 h 10000"/>
                <a:gd name="connsiteX50" fmla="*/ 1031 w 10000"/>
                <a:gd name="connsiteY50" fmla="*/ 9995 h 10000"/>
                <a:gd name="connsiteX51" fmla="*/ 1204 w 10000"/>
                <a:gd name="connsiteY51" fmla="*/ 10000 h 10000"/>
                <a:gd name="connsiteX52" fmla="*/ 1414 w 10000"/>
                <a:gd name="connsiteY52" fmla="*/ 9995 h 10000"/>
                <a:gd name="connsiteX53" fmla="*/ 1618 w 10000"/>
                <a:gd name="connsiteY53" fmla="*/ 9988 h 10000"/>
                <a:gd name="connsiteX54" fmla="*/ 1822 w 10000"/>
                <a:gd name="connsiteY54" fmla="*/ 9975 h 10000"/>
                <a:gd name="connsiteX55" fmla="*/ 2021 w 10000"/>
                <a:gd name="connsiteY55" fmla="*/ 9954 h 10000"/>
                <a:gd name="connsiteX56" fmla="*/ 2224 w 10000"/>
                <a:gd name="connsiteY56" fmla="*/ 9932 h 10000"/>
                <a:gd name="connsiteX57" fmla="*/ 2424 w 10000"/>
                <a:gd name="connsiteY57" fmla="*/ 9898 h 10000"/>
                <a:gd name="connsiteX58" fmla="*/ 2623 w 10000"/>
                <a:gd name="connsiteY58" fmla="*/ 9866 h 10000"/>
                <a:gd name="connsiteX59" fmla="*/ 2821 w 10000"/>
                <a:gd name="connsiteY59" fmla="*/ 9824 h 10000"/>
                <a:gd name="connsiteX60" fmla="*/ 3014 w 10000"/>
                <a:gd name="connsiteY60" fmla="*/ 9779 h 10000"/>
                <a:gd name="connsiteX61" fmla="*/ 3213 w 10000"/>
                <a:gd name="connsiteY61" fmla="*/ 9731 h 10000"/>
                <a:gd name="connsiteX62" fmla="*/ 3401 w 10000"/>
                <a:gd name="connsiteY62" fmla="*/ 9673 h 10000"/>
                <a:gd name="connsiteX63" fmla="*/ 3594 w 10000"/>
                <a:gd name="connsiteY63" fmla="*/ 9616 h 10000"/>
                <a:gd name="connsiteX64" fmla="*/ 3783 w 10000"/>
                <a:gd name="connsiteY64" fmla="*/ 9553 h 10000"/>
                <a:gd name="connsiteX65" fmla="*/ 3970 w 10000"/>
                <a:gd name="connsiteY65" fmla="*/ 9482 h 10000"/>
                <a:gd name="connsiteX66" fmla="*/ 4153 w 10000"/>
                <a:gd name="connsiteY66" fmla="*/ 9405 h 10000"/>
                <a:gd name="connsiteX67" fmla="*/ 4336 w 10000"/>
                <a:gd name="connsiteY67" fmla="*/ 9330 h 10000"/>
                <a:gd name="connsiteX68" fmla="*/ 4520 w 10000"/>
                <a:gd name="connsiteY68" fmla="*/ 9244 h 10000"/>
                <a:gd name="connsiteX69" fmla="*/ 4702 w 10000"/>
                <a:gd name="connsiteY69" fmla="*/ 9159 h 10000"/>
                <a:gd name="connsiteX70" fmla="*/ 4877 w 10000"/>
                <a:gd name="connsiteY70" fmla="*/ 9063 h 10000"/>
                <a:gd name="connsiteX71" fmla="*/ 5053 w 10000"/>
                <a:gd name="connsiteY71" fmla="*/ 8968 h 10000"/>
                <a:gd name="connsiteX72" fmla="*/ 5229 w 10000"/>
                <a:gd name="connsiteY72" fmla="*/ 8865 h 10000"/>
                <a:gd name="connsiteX73" fmla="*/ 5399 w 10000"/>
                <a:gd name="connsiteY73" fmla="*/ 8760 h 10000"/>
                <a:gd name="connsiteX74" fmla="*/ 5569 w 10000"/>
                <a:gd name="connsiteY74" fmla="*/ 8652 h 10000"/>
                <a:gd name="connsiteX75" fmla="*/ 5739 w 10000"/>
                <a:gd name="connsiteY75" fmla="*/ 8536 h 10000"/>
                <a:gd name="connsiteX76" fmla="*/ 5903 w 10000"/>
                <a:gd name="connsiteY76" fmla="*/ 8417 h 10000"/>
                <a:gd name="connsiteX77" fmla="*/ 6064 w 10000"/>
                <a:gd name="connsiteY77" fmla="*/ 8295 h 10000"/>
                <a:gd name="connsiteX78" fmla="*/ 6226 w 10000"/>
                <a:gd name="connsiteY78" fmla="*/ 8169 h 10000"/>
                <a:gd name="connsiteX79" fmla="*/ 6381 w 10000"/>
                <a:gd name="connsiteY79" fmla="*/ 8040 h 10000"/>
                <a:gd name="connsiteX80" fmla="*/ 6535 w 10000"/>
                <a:gd name="connsiteY80" fmla="*/ 7904 h 10000"/>
                <a:gd name="connsiteX81" fmla="*/ 6688 w 10000"/>
                <a:gd name="connsiteY81" fmla="*/ 7768 h 10000"/>
                <a:gd name="connsiteX82" fmla="*/ 6838 w 10000"/>
                <a:gd name="connsiteY82" fmla="*/ 7625 h 10000"/>
                <a:gd name="connsiteX83" fmla="*/ 6986 w 10000"/>
                <a:gd name="connsiteY83" fmla="*/ 7480 h 10000"/>
                <a:gd name="connsiteX84" fmla="*/ 7130 w 10000"/>
                <a:gd name="connsiteY84" fmla="*/ 7329 h 10000"/>
                <a:gd name="connsiteX85" fmla="*/ 7272 w 10000"/>
                <a:gd name="connsiteY85" fmla="*/ 7178 h 10000"/>
                <a:gd name="connsiteX86" fmla="*/ 7410 w 10000"/>
                <a:gd name="connsiteY86" fmla="*/ 7025 h 10000"/>
                <a:gd name="connsiteX87" fmla="*/ 7548 w 10000"/>
                <a:gd name="connsiteY87" fmla="*/ 6862 h 10000"/>
                <a:gd name="connsiteX88" fmla="*/ 7681 w 10000"/>
                <a:gd name="connsiteY88" fmla="*/ 6697 h 10000"/>
                <a:gd name="connsiteX89" fmla="*/ 7811 w 10000"/>
                <a:gd name="connsiteY89" fmla="*/ 6534 h 10000"/>
                <a:gd name="connsiteX90" fmla="*/ 7938 w 10000"/>
                <a:gd name="connsiteY90" fmla="*/ 6365 h 10000"/>
                <a:gd name="connsiteX91" fmla="*/ 8062 w 10000"/>
                <a:gd name="connsiteY91" fmla="*/ 6189 h 10000"/>
                <a:gd name="connsiteX92" fmla="*/ 8184 w 10000"/>
                <a:gd name="connsiteY92" fmla="*/ 6016 h 10000"/>
                <a:gd name="connsiteX93" fmla="*/ 8303 w 10000"/>
                <a:gd name="connsiteY93" fmla="*/ 5835 h 10000"/>
                <a:gd name="connsiteX94" fmla="*/ 8419 w 10000"/>
                <a:gd name="connsiteY94" fmla="*/ 5652 h 10000"/>
                <a:gd name="connsiteX95" fmla="*/ 8528 w 10000"/>
                <a:gd name="connsiteY95" fmla="*/ 5468 h 10000"/>
                <a:gd name="connsiteX96" fmla="*/ 8635 w 10000"/>
                <a:gd name="connsiteY96" fmla="*/ 5278 h 10000"/>
                <a:gd name="connsiteX97" fmla="*/ 8742 w 10000"/>
                <a:gd name="connsiteY97" fmla="*/ 5089 h 10000"/>
                <a:gd name="connsiteX98" fmla="*/ 8844 w 10000"/>
                <a:gd name="connsiteY98" fmla="*/ 4893 h 10000"/>
                <a:gd name="connsiteX99" fmla="*/ 8942 w 10000"/>
                <a:gd name="connsiteY99" fmla="*/ 4698 h 10000"/>
                <a:gd name="connsiteX100" fmla="*/ 9038 w 10000"/>
                <a:gd name="connsiteY100" fmla="*/ 4500 h 10000"/>
                <a:gd name="connsiteX101" fmla="*/ 9126 w 10000"/>
                <a:gd name="connsiteY101" fmla="*/ 4294 h 10000"/>
                <a:gd name="connsiteX102" fmla="*/ 9213 w 10000"/>
                <a:gd name="connsiteY102" fmla="*/ 4091 h 10000"/>
                <a:gd name="connsiteX103" fmla="*/ 9298 w 10000"/>
                <a:gd name="connsiteY103" fmla="*/ 3885 h 10000"/>
                <a:gd name="connsiteX104" fmla="*/ 9380 w 10000"/>
                <a:gd name="connsiteY104" fmla="*/ 3674 h 10000"/>
                <a:gd name="connsiteX105" fmla="*/ 9455 w 10000"/>
                <a:gd name="connsiteY105" fmla="*/ 3464 h 10000"/>
                <a:gd name="connsiteX106" fmla="*/ 9529 w 10000"/>
                <a:gd name="connsiteY106" fmla="*/ 3248 h 10000"/>
                <a:gd name="connsiteX107" fmla="*/ 9597 w 10000"/>
                <a:gd name="connsiteY107" fmla="*/ 3030 h 10000"/>
                <a:gd name="connsiteX108" fmla="*/ 9661 w 10000"/>
                <a:gd name="connsiteY108" fmla="*/ 2815 h 10000"/>
                <a:gd name="connsiteX109" fmla="*/ 9723 w 10000"/>
                <a:gd name="connsiteY109" fmla="*/ 2592 h 10000"/>
                <a:gd name="connsiteX110" fmla="*/ 9779 w 10000"/>
                <a:gd name="connsiteY110" fmla="*/ 2369 h 10000"/>
                <a:gd name="connsiteX111" fmla="*/ 9832 w 10000"/>
                <a:gd name="connsiteY111" fmla="*/ 2143 h 10000"/>
                <a:gd name="connsiteX112" fmla="*/ 9881 w 10000"/>
                <a:gd name="connsiteY112" fmla="*/ 1918 h 10000"/>
                <a:gd name="connsiteX113" fmla="*/ 9925 w 10000"/>
                <a:gd name="connsiteY113" fmla="*/ 1690 h 10000"/>
                <a:gd name="connsiteX114" fmla="*/ 9965 w 10000"/>
                <a:gd name="connsiteY114" fmla="*/ 1457 h 10000"/>
                <a:gd name="connsiteX115" fmla="*/ 10000 w 10000"/>
                <a:gd name="connsiteY115" fmla="*/ 1222 h 10000"/>
                <a:gd name="connsiteX116" fmla="*/ 7198 w 10000"/>
                <a:gd name="connsiteY116" fmla="*/ 1876 h 10000"/>
                <a:gd name="connsiteX117" fmla="*/ 4860 w 10000"/>
                <a:gd name="connsiteY117" fmla="*/ 0 h 10000"/>
                <a:gd name="connsiteX0" fmla="*/ 4687 w 9827"/>
                <a:gd name="connsiteY0" fmla="*/ 0 h 10203"/>
                <a:gd name="connsiteX1" fmla="*/ 4687 w 9827"/>
                <a:gd name="connsiteY1" fmla="*/ 0 h 10203"/>
                <a:gd name="connsiteX2" fmla="*/ 4677 w 9827"/>
                <a:gd name="connsiteY2" fmla="*/ 99 h 10203"/>
                <a:gd name="connsiteX3" fmla="*/ 4659 w 9827"/>
                <a:gd name="connsiteY3" fmla="*/ 201 h 10203"/>
                <a:gd name="connsiteX4" fmla="*/ 4645 w 9827"/>
                <a:gd name="connsiteY4" fmla="*/ 300 h 10203"/>
                <a:gd name="connsiteX5" fmla="*/ 4627 w 9827"/>
                <a:gd name="connsiteY5" fmla="*/ 394 h 10203"/>
                <a:gd name="connsiteX6" fmla="*/ 4606 w 9827"/>
                <a:gd name="connsiteY6" fmla="*/ 491 h 10203"/>
                <a:gd name="connsiteX7" fmla="*/ 4583 w 9827"/>
                <a:gd name="connsiteY7" fmla="*/ 587 h 10203"/>
                <a:gd name="connsiteX8" fmla="*/ 4562 w 9827"/>
                <a:gd name="connsiteY8" fmla="*/ 684 h 10203"/>
                <a:gd name="connsiteX9" fmla="*/ 4537 w 9827"/>
                <a:gd name="connsiteY9" fmla="*/ 778 h 10203"/>
                <a:gd name="connsiteX10" fmla="*/ 4510 w 9827"/>
                <a:gd name="connsiteY10" fmla="*/ 870 h 10203"/>
                <a:gd name="connsiteX11" fmla="*/ 4479 w 9827"/>
                <a:gd name="connsiteY11" fmla="*/ 961 h 10203"/>
                <a:gd name="connsiteX12" fmla="*/ 4453 w 9827"/>
                <a:gd name="connsiteY12" fmla="*/ 1053 h 10203"/>
                <a:gd name="connsiteX13" fmla="*/ 4420 w 9827"/>
                <a:gd name="connsiteY13" fmla="*/ 1145 h 10203"/>
                <a:gd name="connsiteX14" fmla="*/ 4384 w 9827"/>
                <a:gd name="connsiteY14" fmla="*/ 1231 h 10203"/>
                <a:gd name="connsiteX15" fmla="*/ 4350 w 9827"/>
                <a:gd name="connsiteY15" fmla="*/ 1318 h 10203"/>
                <a:gd name="connsiteX16" fmla="*/ 4315 w 9827"/>
                <a:gd name="connsiteY16" fmla="*/ 1405 h 10203"/>
                <a:gd name="connsiteX17" fmla="*/ 4275 w 9827"/>
                <a:gd name="connsiteY17" fmla="*/ 1494 h 10203"/>
                <a:gd name="connsiteX18" fmla="*/ 4237 w 9827"/>
                <a:gd name="connsiteY18" fmla="*/ 1578 h 10203"/>
                <a:gd name="connsiteX19" fmla="*/ 4196 w 9827"/>
                <a:gd name="connsiteY19" fmla="*/ 1663 h 10203"/>
                <a:gd name="connsiteX20" fmla="*/ 4152 w 9827"/>
                <a:gd name="connsiteY20" fmla="*/ 1742 h 10203"/>
                <a:gd name="connsiteX21" fmla="*/ 4106 w 9827"/>
                <a:gd name="connsiteY21" fmla="*/ 1824 h 10203"/>
                <a:gd name="connsiteX22" fmla="*/ 4063 w 9827"/>
                <a:gd name="connsiteY22" fmla="*/ 1903 h 10203"/>
                <a:gd name="connsiteX23" fmla="*/ 4016 w 9827"/>
                <a:gd name="connsiteY23" fmla="*/ 1985 h 10203"/>
                <a:gd name="connsiteX24" fmla="*/ 3967 w 9827"/>
                <a:gd name="connsiteY24" fmla="*/ 2059 h 10203"/>
                <a:gd name="connsiteX25" fmla="*/ 3916 w 9827"/>
                <a:gd name="connsiteY25" fmla="*/ 2133 h 10203"/>
                <a:gd name="connsiteX26" fmla="*/ 3864 w 9827"/>
                <a:gd name="connsiteY26" fmla="*/ 2210 h 10203"/>
                <a:gd name="connsiteX27" fmla="*/ 3813 w 9827"/>
                <a:gd name="connsiteY27" fmla="*/ 2282 h 10203"/>
                <a:gd name="connsiteX28" fmla="*/ 3758 w 9827"/>
                <a:gd name="connsiteY28" fmla="*/ 2354 h 10203"/>
                <a:gd name="connsiteX29" fmla="*/ 3703 w 9827"/>
                <a:gd name="connsiteY29" fmla="*/ 2426 h 10203"/>
                <a:gd name="connsiteX30" fmla="*/ 3648 w 9827"/>
                <a:gd name="connsiteY30" fmla="*/ 2495 h 10203"/>
                <a:gd name="connsiteX31" fmla="*/ 3588 w 9827"/>
                <a:gd name="connsiteY31" fmla="*/ 2562 h 10203"/>
                <a:gd name="connsiteX32" fmla="*/ 3531 w 9827"/>
                <a:gd name="connsiteY32" fmla="*/ 2626 h 10203"/>
                <a:gd name="connsiteX33" fmla="*/ 3469 w 9827"/>
                <a:gd name="connsiteY33" fmla="*/ 2691 h 10203"/>
                <a:gd name="connsiteX34" fmla="*/ 3410 w 9827"/>
                <a:gd name="connsiteY34" fmla="*/ 2753 h 10203"/>
                <a:gd name="connsiteX35" fmla="*/ 3344 w 9827"/>
                <a:gd name="connsiteY35" fmla="*/ 2817 h 10203"/>
                <a:gd name="connsiteX36" fmla="*/ 3282 w 9827"/>
                <a:gd name="connsiteY36" fmla="*/ 2874 h 10203"/>
                <a:gd name="connsiteX37" fmla="*/ 3217 w 9827"/>
                <a:gd name="connsiteY37" fmla="*/ 2934 h 10203"/>
                <a:gd name="connsiteX38" fmla="*/ 3151 w 9827"/>
                <a:gd name="connsiteY38" fmla="*/ 2989 h 10203"/>
                <a:gd name="connsiteX39" fmla="*/ 3083 w 9827"/>
                <a:gd name="connsiteY39" fmla="*/ 3043 h 10203"/>
                <a:gd name="connsiteX40" fmla="*/ 3015 w 9827"/>
                <a:gd name="connsiteY40" fmla="*/ 3097 h 10203"/>
                <a:gd name="connsiteX41" fmla="*/ 2947 w 9827"/>
                <a:gd name="connsiteY41" fmla="*/ 3149 h 10203"/>
                <a:gd name="connsiteX42" fmla="*/ 2877 w 9827"/>
                <a:gd name="connsiteY42" fmla="*/ 3196 h 10203"/>
                <a:gd name="connsiteX43" fmla="*/ 2805 w 9827"/>
                <a:gd name="connsiteY43" fmla="*/ 3243 h 10203"/>
                <a:gd name="connsiteX44" fmla="*/ 2936 w 9827"/>
                <a:gd name="connsiteY44" fmla="*/ 6577 h 10203"/>
                <a:gd name="connsiteX45" fmla="*/ 166 w 9827"/>
                <a:gd name="connsiteY45" fmla="*/ 9949 h 10203"/>
                <a:gd name="connsiteX46" fmla="*/ 337 w 9827"/>
                <a:gd name="connsiteY46" fmla="*/ 9965 h 10203"/>
                <a:gd name="connsiteX47" fmla="*/ 508 w 9827"/>
                <a:gd name="connsiteY47" fmla="*/ 9980 h 10203"/>
                <a:gd name="connsiteX48" fmla="*/ 684 w 9827"/>
                <a:gd name="connsiteY48" fmla="*/ 9990 h 10203"/>
                <a:gd name="connsiteX49" fmla="*/ 858 w 9827"/>
                <a:gd name="connsiteY49" fmla="*/ 9995 h 10203"/>
                <a:gd name="connsiteX50" fmla="*/ 1031 w 9827"/>
                <a:gd name="connsiteY50" fmla="*/ 10000 h 10203"/>
                <a:gd name="connsiteX51" fmla="*/ 1241 w 9827"/>
                <a:gd name="connsiteY51" fmla="*/ 9995 h 10203"/>
                <a:gd name="connsiteX52" fmla="*/ 1445 w 9827"/>
                <a:gd name="connsiteY52" fmla="*/ 9988 h 10203"/>
                <a:gd name="connsiteX53" fmla="*/ 1649 w 9827"/>
                <a:gd name="connsiteY53" fmla="*/ 9975 h 10203"/>
                <a:gd name="connsiteX54" fmla="*/ 1848 w 9827"/>
                <a:gd name="connsiteY54" fmla="*/ 9954 h 10203"/>
                <a:gd name="connsiteX55" fmla="*/ 2051 w 9827"/>
                <a:gd name="connsiteY55" fmla="*/ 9932 h 10203"/>
                <a:gd name="connsiteX56" fmla="*/ 2251 w 9827"/>
                <a:gd name="connsiteY56" fmla="*/ 9898 h 10203"/>
                <a:gd name="connsiteX57" fmla="*/ 2450 w 9827"/>
                <a:gd name="connsiteY57" fmla="*/ 9866 h 10203"/>
                <a:gd name="connsiteX58" fmla="*/ 2648 w 9827"/>
                <a:gd name="connsiteY58" fmla="*/ 9824 h 10203"/>
                <a:gd name="connsiteX59" fmla="*/ 2841 w 9827"/>
                <a:gd name="connsiteY59" fmla="*/ 9779 h 10203"/>
                <a:gd name="connsiteX60" fmla="*/ 3040 w 9827"/>
                <a:gd name="connsiteY60" fmla="*/ 9731 h 10203"/>
                <a:gd name="connsiteX61" fmla="*/ 3228 w 9827"/>
                <a:gd name="connsiteY61" fmla="*/ 9673 h 10203"/>
                <a:gd name="connsiteX62" fmla="*/ 3421 w 9827"/>
                <a:gd name="connsiteY62" fmla="*/ 9616 h 10203"/>
                <a:gd name="connsiteX63" fmla="*/ 3610 w 9827"/>
                <a:gd name="connsiteY63" fmla="*/ 9553 h 10203"/>
                <a:gd name="connsiteX64" fmla="*/ 3797 w 9827"/>
                <a:gd name="connsiteY64" fmla="*/ 9482 h 10203"/>
                <a:gd name="connsiteX65" fmla="*/ 3980 w 9827"/>
                <a:gd name="connsiteY65" fmla="*/ 9405 h 10203"/>
                <a:gd name="connsiteX66" fmla="*/ 4163 w 9827"/>
                <a:gd name="connsiteY66" fmla="*/ 9330 h 10203"/>
                <a:gd name="connsiteX67" fmla="*/ 4347 w 9827"/>
                <a:gd name="connsiteY67" fmla="*/ 9244 h 10203"/>
                <a:gd name="connsiteX68" fmla="*/ 4529 w 9827"/>
                <a:gd name="connsiteY68" fmla="*/ 9159 h 10203"/>
                <a:gd name="connsiteX69" fmla="*/ 4704 w 9827"/>
                <a:gd name="connsiteY69" fmla="*/ 9063 h 10203"/>
                <a:gd name="connsiteX70" fmla="*/ 4880 w 9827"/>
                <a:gd name="connsiteY70" fmla="*/ 8968 h 10203"/>
                <a:gd name="connsiteX71" fmla="*/ 5056 w 9827"/>
                <a:gd name="connsiteY71" fmla="*/ 8865 h 10203"/>
                <a:gd name="connsiteX72" fmla="*/ 5226 w 9827"/>
                <a:gd name="connsiteY72" fmla="*/ 8760 h 10203"/>
                <a:gd name="connsiteX73" fmla="*/ 5396 w 9827"/>
                <a:gd name="connsiteY73" fmla="*/ 8652 h 10203"/>
                <a:gd name="connsiteX74" fmla="*/ 5566 w 9827"/>
                <a:gd name="connsiteY74" fmla="*/ 8536 h 10203"/>
                <a:gd name="connsiteX75" fmla="*/ 5730 w 9827"/>
                <a:gd name="connsiteY75" fmla="*/ 8417 h 10203"/>
                <a:gd name="connsiteX76" fmla="*/ 5891 w 9827"/>
                <a:gd name="connsiteY76" fmla="*/ 8295 h 10203"/>
                <a:gd name="connsiteX77" fmla="*/ 6053 w 9827"/>
                <a:gd name="connsiteY77" fmla="*/ 8169 h 10203"/>
                <a:gd name="connsiteX78" fmla="*/ 6208 w 9827"/>
                <a:gd name="connsiteY78" fmla="*/ 8040 h 10203"/>
                <a:gd name="connsiteX79" fmla="*/ 6362 w 9827"/>
                <a:gd name="connsiteY79" fmla="*/ 7904 h 10203"/>
                <a:gd name="connsiteX80" fmla="*/ 6515 w 9827"/>
                <a:gd name="connsiteY80" fmla="*/ 7768 h 10203"/>
                <a:gd name="connsiteX81" fmla="*/ 6665 w 9827"/>
                <a:gd name="connsiteY81" fmla="*/ 7625 h 10203"/>
                <a:gd name="connsiteX82" fmla="*/ 6813 w 9827"/>
                <a:gd name="connsiteY82" fmla="*/ 7480 h 10203"/>
                <a:gd name="connsiteX83" fmla="*/ 6957 w 9827"/>
                <a:gd name="connsiteY83" fmla="*/ 7329 h 10203"/>
                <a:gd name="connsiteX84" fmla="*/ 7099 w 9827"/>
                <a:gd name="connsiteY84" fmla="*/ 7178 h 10203"/>
                <a:gd name="connsiteX85" fmla="*/ 7237 w 9827"/>
                <a:gd name="connsiteY85" fmla="*/ 7025 h 10203"/>
                <a:gd name="connsiteX86" fmla="*/ 7375 w 9827"/>
                <a:gd name="connsiteY86" fmla="*/ 6862 h 10203"/>
                <a:gd name="connsiteX87" fmla="*/ 7508 w 9827"/>
                <a:gd name="connsiteY87" fmla="*/ 6697 h 10203"/>
                <a:gd name="connsiteX88" fmla="*/ 7638 w 9827"/>
                <a:gd name="connsiteY88" fmla="*/ 6534 h 10203"/>
                <a:gd name="connsiteX89" fmla="*/ 7765 w 9827"/>
                <a:gd name="connsiteY89" fmla="*/ 6365 h 10203"/>
                <a:gd name="connsiteX90" fmla="*/ 7889 w 9827"/>
                <a:gd name="connsiteY90" fmla="*/ 6189 h 10203"/>
                <a:gd name="connsiteX91" fmla="*/ 8011 w 9827"/>
                <a:gd name="connsiteY91" fmla="*/ 6016 h 10203"/>
                <a:gd name="connsiteX92" fmla="*/ 8130 w 9827"/>
                <a:gd name="connsiteY92" fmla="*/ 5835 h 10203"/>
                <a:gd name="connsiteX93" fmla="*/ 8246 w 9827"/>
                <a:gd name="connsiteY93" fmla="*/ 5652 h 10203"/>
                <a:gd name="connsiteX94" fmla="*/ 8355 w 9827"/>
                <a:gd name="connsiteY94" fmla="*/ 5468 h 10203"/>
                <a:gd name="connsiteX95" fmla="*/ 8462 w 9827"/>
                <a:gd name="connsiteY95" fmla="*/ 5278 h 10203"/>
                <a:gd name="connsiteX96" fmla="*/ 8569 w 9827"/>
                <a:gd name="connsiteY96" fmla="*/ 5089 h 10203"/>
                <a:gd name="connsiteX97" fmla="*/ 8671 w 9827"/>
                <a:gd name="connsiteY97" fmla="*/ 4893 h 10203"/>
                <a:gd name="connsiteX98" fmla="*/ 8769 w 9827"/>
                <a:gd name="connsiteY98" fmla="*/ 4698 h 10203"/>
                <a:gd name="connsiteX99" fmla="*/ 8865 w 9827"/>
                <a:gd name="connsiteY99" fmla="*/ 4500 h 10203"/>
                <a:gd name="connsiteX100" fmla="*/ 8953 w 9827"/>
                <a:gd name="connsiteY100" fmla="*/ 4294 h 10203"/>
                <a:gd name="connsiteX101" fmla="*/ 9040 w 9827"/>
                <a:gd name="connsiteY101" fmla="*/ 4091 h 10203"/>
                <a:gd name="connsiteX102" fmla="*/ 9125 w 9827"/>
                <a:gd name="connsiteY102" fmla="*/ 3885 h 10203"/>
                <a:gd name="connsiteX103" fmla="*/ 9207 w 9827"/>
                <a:gd name="connsiteY103" fmla="*/ 3674 h 10203"/>
                <a:gd name="connsiteX104" fmla="*/ 9282 w 9827"/>
                <a:gd name="connsiteY104" fmla="*/ 3464 h 10203"/>
                <a:gd name="connsiteX105" fmla="*/ 9356 w 9827"/>
                <a:gd name="connsiteY105" fmla="*/ 3248 h 10203"/>
                <a:gd name="connsiteX106" fmla="*/ 9424 w 9827"/>
                <a:gd name="connsiteY106" fmla="*/ 3030 h 10203"/>
                <a:gd name="connsiteX107" fmla="*/ 9488 w 9827"/>
                <a:gd name="connsiteY107" fmla="*/ 2815 h 10203"/>
                <a:gd name="connsiteX108" fmla="*/ 9550 w 9827"/>
                <a:gd name="connsiteY108" fmla="*/ 2592 h 10203"/>
                <a:gd name="connsiteX109" fmla="*/ 9606 w 9827"/>
                <a:gd name="connsiteY109" fmla="*/ 2369 h 10203"/>
                <a:gd name="connsiteX110" fmla="*/ 9659 w 9827"/>
                <a:gd name="connsiteY110" fmla="*/ 2143 h 10203"/>
                <a:gd name="connsiteX111" fmla="*/ 9708 w 9827"/>
                <a:gd name="connsiteY111" fmla="*/ 1918 h 10203"/>
                <a:gd name="connsiteX112" fmla="*/ 9752 w 9827"/>
                <a:gd name="connsiteY112" fmla="*/ 1690 h 10203"/>
                <a:gd name="connsiteX113" fmla="*/ 9792 w 9827"/>
                <a:gd name="connsiteY113" fmla="*/ 1457 h 10203"/>
                <a:gd name="connsiteX114" fmla="*/ 9827 w 9827"/>
                <a:gd name="connsiteY114" fmla="*/ 1222 h 10203"/>
                <a:gd name="connsiteX115" fmla="*/ 7025 w 9827"/>
                <a:gd name="connsiteY115" fmla="*/ 1876 h 10203"/>
                <a:gd name="connsiteX116" fmla="*/ 4687 w 9827"/>
                <a:gd name="connsiteY116" fmla="*/ 0 h 10203"/>
                <a:gd name="connsiteX0" fmla="*/ 4427 w 9657"/>
                <a:gd name="connsiteY0" fmla="*/ 0 h 9801"/>
                <a:gd name="connsiteX1" fmla="*/ 4427 w 9657"/>
                <a:gd name="connsiteY1" fmla="*/ 0 h 9801"/>
                <a:gd name="connsiteX2" fmla="*/ 4416 w 9657"/>
                <a:gd name="connsiteY2" fmla="*/ 97 h 9801"/>
                <a:gd name="connsiteX3" fmla="*/ 4398 w 9657"/>
                <a:gd name="connsiteY3" fmla="*/ 197 h 9801"/>
                <a:gd name="connsiteX4" fmla="*/ 4384 w 9657"/>
                <a:gd name="connsiteY4" fmla="*/ 294 h 9801"/>
                <a:gd name="connsiteX5" fmla="*/ 4365 w 9657"/>
                <a:gd name="connsiteY5" fmla="*/ 386 h 9801"/>
                <a:gd name="connsiteX6" fmla="*/ 4344 w 9657"/>
                <a:gd name="connsiteY6" fmla="*/ 481 h 9801"/>
                <a:gd name="connsiteX7" fmla="*/ 4321 w 9657"/>
                <a:gd name="connsiteY7" fmla="*/ 575 h 9801"/>
                <a:gd name="connsiteX8" fmla="*/ 4299 w 9657"/>
                <a:gd name="connsiteY8" fmla="*/ 670 h 9801"/>
                <a:gd name="connsiteX9" fmla="*/ 4274 w 9657"/>
                <a:gd name="connsiteY9" fmla="*/ 763 h 9801"/>
                <a:gd name="connsiteX10" fmla="*/ 4246 w 9657"/>
                <a:gd name="connsiteY10" fmla="*/ 853 h 9801"/>
                <a:gd name="connsiteX11" fmla="*/ 4215 w 9657"/>
                <a:gd name="connsiteY11" fmla="*/ 942 h 9801"/>
                <a:gd name="connsiteX12" fmla="*/ 4188 w 9657"/>
                <a:gd name="connsiteY12" fmla="*/ 1032 h 9801"/>
                <a:gd name="connsiteX13" fmla="*/ 4155 w 9657"/>
                <a:gd name="connsiteY13" fmla="*/ 1122 h 9801"/>
                <a:gd name="connsiteX14" fmla="*/ 4118 w 9657"/>
                <a:gd name="connsiteY14" fmla="*/ 1207 h 9801"/>
                <a:gd name="connsiteX15" fmla="*/ 4084 w 9657"/>
                <a:gd name="connsiteY15" fmla="*/ 1292 h 9801"/>
                <a:gd name="connsiteX16" fmla="*/ 4048 w 9657"/>
                <a:gd name="connsiteY16" fmla="*/ 1377 h 9801"/>
                <a:gd name="connsiteX17" fmla="*/ 4007 w 9657"/>
                <a:gd name="connsiteY17" fmla="*/ 1464 h 9801"/>
                <a:gd name="connsiteX18" fmla="*/ 3969 w 9657"/>
                <a:gd name="connsiteY18" fmla="*/ 1547 h 9801"/>
                <a:gd name="connsiteX19" fmla="*/ 3927 w 9657"/>
                <a:gd name="connsiteY19" fmla="*/ 1630 h 9801"/>
                <a:gd name="connsiteX20" fmla="*/ 3882 w 9657"/>
                <a:gd name="connsiteY20" fmla="*/ 1707 h 9801"/>
                <a:gd name="connsiteX21" fmla="*/ 3835 w 9657"/>
                <a:gd name="connsiteY21" fmla="*/ 1788 h 9801"/>
                <a:gd name="connsiteX22" fmla="*/ 3792 w 9657"/>
                <a:gd name="connsiteY22" fmla="*/ 1865 h 9801"/>
                <a:gd name="connsiteX23" fmla="*/ 3744 w 9657"/>
                <a:gd name="connsiteY23" fmla="*/ 1946 h 9801"/>
                <a:gd name="connsiteX24" fmla="*/ 3694 w 9657"/>
                <a:gd name="connsiteY24" fmla="*/ 2018 h 9801"/>
                <a:gd name="connsiteX25" fmla="*/ 3642 w 9657"/>
                <a:gd name="connsiteY25" fmla="*/ 2091 h 9801"/>
                <a:gd name="connsiteX26" fmla="*/ 3589 w 9657"/>
                <a:gd name="connsiteY26" fmla="*/ 2166 h 9801"/>
                <a:gd name="connsiteX27" fmla="*/ 3537 w 9657"/>
                <a:gd name="connsiteY27" fmla="*/ 2237 h 9801"/>
                <a:gd name="connsiteX28" fmla="*/ 3481 w 9657"/>
                <a:gd name="connsiteY28" fmla="*/ 2307 h 9801"/>
                <a:gd name="connsiteX29" fmla="*/ 3425 w 9657"/>
                <a:gd name="connsiteY29" fmla="*/ 2378 h 9801"/>
                <a:gd name="connsiteX30" fmla="*/ 3369 w 9657"/>
                <a:gd name="connsiteY30" fmla="*/ 2445 h 9801"/>
                <a:gd name="connsiteX31" fmla="*/ 3308 w 9657"/>
                <a:gd name="connsiteY31" fmla="*/ 2511 h 9801"/>
                <a:gd name="connsiteX32" fmla="*/ 3250 w 9657"/>
                <a:gd name="connsiteY32" fmla="*/ 2574 h 9801"/>
                <a:gd name="connsiteX33" fmla="*/ 3187 w 9657"/>
                <a:gd name="connsiteY33" fmla="*/ 2637 h 9801"/>
                <a:gd name="connsiteX34" fmla="*/ 3127 w 9657"/>
                <a:gd name="connsiteY34" fmla="*/ 2698 h 9801"/>
                <a:gd name="connsiteX35" fmla="*/ 3060 w 9657"/>
                <a:gd name="connsiteY35" fmla="*/ 2761 h 9801"/>
                <a:gd name="connsiteX36" fmla="*/ 2997 w 9657"/>
                <a:gd name="connsiteY36" fmla="*/ 2817 h 9801"/>
                <a:gd name="connsiteX37" fmla="*/ 2931 w 9657"/>
                <a:gd name="connsiteY37" fmla="*/ 2876 h 9801"/>
                <a:gd name="connsiteX38" fmla="*/ 2863 w 9657"/>
                <a:gd name="connsiteY38" fmla="*/ 2930 h 9801"/>
                <a:gd name="connsiteX39" fmla="*/ 2794 w 9657"/>
                <a:gd name="connsiteY39" fmla="*/ 2982 h 9801"/>
                <a:gd name="connsiteX40" fmla="*/ 2725 w 9657"/>
                <a:gd name="connsiteY40" fmla="*/ 3035 h 9801"/>
                <a:gd name="connsiteX41" fmla="*/ 2656 w 9657"/>
                <a:gd name="connsiteY41" fmla="*/ 3086 h 9801"/>
                <a:gd name="connsiteX42" fmla="*/ 2585 w 9657"/>
                <a:gd name="connsiteY42" fmla="*/ 3132 h 9801"/>
                <a:gd name="connsiteX43" fmla="*/ 2511 w 9657"/>
                <a:gd name="connsiteY43" fmla="*/ 3178 h 9801"/>
                <a:gd name="connsiteX44" fmla="*/ 2645 w 9657"/>
                <a:gd name="connsiteY44" fmla="*/ 6446 h 9801"/>
                <a:gd name="connsiteX45" fmla="*/ 0 w 9657"/>
                <a:gd name="connsiteY45" fmla="*/ 9767 h 9801"/>
                <a:gd name="connsiteX46" fmla="*/ 174 w 9657"/>
                <a:gd name="connsiteY46" fmla="*/ 9781 h 9801"/>
                <a:gd name="connsiteX47" fmla="*/ 353 w 9657"/>
                <a:gd name="connsiteY47" fmla="*/ 9791 h 9801"/>
                <a:gd name="connsiteX48" fmla="*/ 530 w 9657"/>
                <a:gd name="connsiteY48" fmla="*/ 9796 h 9801"/>
                <a:gd name="connsiteX49" fmla="*/ 706 w 9657"/>
                <a:gd name="connsiteY49" fmla="*/ 9801 h 9801"/>
                <a:gd name="connsiteX50" fmla="*/ 920 w 9657"/>
                <a:gd name="connsiteY50" fmla="*/ 9796 h 9801"/>
                <a:gd name="connsiteX51" fmla="*/ 1127 w 9657"/>
                <a:gd name="connsiteY51" fmla="*/ 9789 h 9801"/>
                <a:gd name="connsiteX52" fmla="*/ 1335 w 9657"/>
                <a:gd name="connsiteY52" fmla="*/ 9777 h 9801"/>
                <a:gd name="connsiteX53" fmla="*/ 1538 w 9657"/>
                <a:gd name="connsiteY53" fmla="*/ 9756 h 9801"/>
                <a:gd name="connsiteX54" fmla="*/ 1744 w 9657"/>
                <a:gd name="connsiteY54" fmla="*/ 9734 h 9801"/>
                <a:gd name="connsiteX55" fmla="*/ 1948 w 9657"/>
                <a:gd name="connsiteY55" fmla="*/ 9701 h 9801"/>
                <a:gd name="connsiteX56" fmla="*/ 2150 w 9657"/>
                <a:gd name="connsiteY56" fmla="*/ 9670 h 9801"/>
                <a:gd name="connsiteX57" fmla="*/ 2352 w 9657"/>
                <a:gd name="connsiteY57" fmla="*/ 9629 h 9801"/>
                <a:gd name="connsiteX58" fmla="*/ 2548 w 9657"/>
                <a:gd name="connsiteY58" fmla="*/ 9584 h 9801"/>
                <a:gd name="connsiteX59" fmla="*/ 2751 w 9657"/>
                <a:gd name="connsiteY59" fmla="*/ 9537 h 9801"/>
                <a:gd name="connsiteX60" fmla="*/ 2942 w 9657"/>
                <a:gd name="connsiteY60" fmla="*/ 9481 h 9801"/>
                <a:gd name="connsiteX61" fmla="*/ 3138 w 9657"/>
                <a:gd name="connsiteY61" fmla="*/ 9425 h 9801"/>
                <a:gd name="connsiteX62" fmla="*/ 3331 w 9657"/>
                <a:gd name="connsiteY62" fmla="*/ 9363 h 9801"/>
                <a:gd name="connsiteX63" fmla="*/ 3521 w 9657"/>
                <a:gd name="connsiteY63" fmla="*/ 9293 h 9801"/>
                <a:gd name="connsiteX64" fmla="*/ 3707 w 9657"/>
                <a:gd name="connsiteY64" fmla="*/ 9218 h 9801"/>
                <a:gd name="connsiteX65" fmla="*/ 3893 w 9657"/>
                <a:gd name="connsiteY65" fmla="*/ 9144 h 9801"/>
                <a:gd name="connsiteX66" fmla="*/ 4081 w 9657"/>
                <a:gd name="connsiteY66" fmla="*/ 9060 h 9801"/>
                <a:gd name="connsiteX67" fmla="*/ 4266 w 9657"/>
                <a:gd name="connsiteY67" fmla="*/ 8977 h 9801"/>
                <a:gd name="connsiteX68" fmla="*/ 4444 w 9657"/>
                <a:gd name="connsiteY68" fmla="*/ 8883 h 9801"/>
                <a:gd name="connsiteX69" fmla="*/ 4623 w 9657"/>
                <a:gd name="connsiteY69" fmla="*/ 8790 h 9801"/>
                <a:gd name="connsiteX70" fmla="*/ 4802 w 9657"/>
                <a:gd name="connsiteY70" fmla="*/ 8689 h 9801"/>
                <a:gd name="connsiteX71" fmla="*/ 4975 w 9657"/>
                <a:gd name="connsiteY71" fmla="*/ 8586 h 9801"/>
                <a:gd name="connsiteX72" fmla="*/ 5148 w 9657"/>
                <a:gd name="connsiteY72" fmla="*/ 8480 h 9801"/>
                <a:gd name="connsiteX73" fmla="*/ 5321 w 9657"/>
                <a:gd name="connsiteY73" fmla="*/ 8366 h 9801"/>
                <a:gd name="connsiteX74" fmla="*/ 5488 w 9657"/>
                <a:gd name="connsiteY74" fmla="*/ 8250 h 9801"/>
                <a:gd name="connsiteX75" fmla="*/ 5652 w 9657"/>
                <a:gd name="connsiteY75" fmla="*/ 8130 h 9801"/>
                <a:gd name="connsiteX76" fmla="*/ 5817 w 9657"/>
                <a:gd name="connsiteY76" fmla="*/ 8006 h 9801"/>
                <a:gd name="connsiteX77" fmla="*/ 5974 w 9657"/>
                <a:gd name="connsiteY77" fmla="*/ 7880 h 9801"/>
                <a:gd name="connsiteX78" fmla="*/ 6131 w 9657"/>
                <a:gd name="connsiteY78" fmla="*/ 7747 h 9801"/>
                <a:gd name="connsiteX79" fmla="*/ 6287 w 9657"/>
                <a:gd name="connsiteY79" fmla="*/ 7613 h 9801"/>
                <a:gd name="connsiteX80" fmla="*/ 6439 w 9657"/>
                <a:gd name="connsiteY80" fmla="*/ 7473 h 9801"/>
                <a:gd name="connsiteX81" fmla="*/ 6590 w 9657"/>
                <a:gd name="connsiteY81" fmla="*/ 7331 h 9801"/>
                <a:gd name="connsiteX82" fmla="*/ 6736 w 9657"/>
                <a:gd name="connsiteY82" fmla="*/ 7183 h 9801"/>
                <a:gd name="connsiteX83" fmla="*/ 6881 w 9657"/>
                <a:gd name="connsiteY83" fmla="*/ 7035 h 9801"/>
                <a:gd name="connsiteX84" fmla="*/ 7021 w 9657"/>
                <a:gd name="connsiteY84" fmla="*/ 6885 h 9801"/>
                <a:gd name="connsiteX85" fmla="*/ 7162 w 9657"/>
                <a:gd name="connsiteY85" fmla="*/ 6725 h 9801"/>
                <a:gd name="connsiteX86" fmla="*/ 7297 w 9657"/>
                <a:gd name="connsiteY86" fmla="*/ 6564 h 9801"/>
                <a:gd name="connsiteX87" fmla="*/ 7429 w 9657"/>
                <a:gd name="connsiteY87" fmla="*/ 6404 h 9801"/>
                <a:gd name="connsiteX88" fmla="*/ 7559 w 9657"/>
                <a:gd name="connsiteY88" fmla="*/ 6238 h 9801"/>
                <a:gd name="connsiteX89" fmla="*/ 7685 w 9657"/>
                <a:gd name="connsiteY89" fmla="*/ 6066 h 9801"/>
                <a:gd name="connsiteX90" fmla="*/ 7809 w 9657"/>
                <a:gd name="connsiteY90" fmla="*/ 5896 h 9801"/>
                <a:gd name="connsiteX91" fmla="*/ 7930 w 9657"/>
                <a:gd name="connsiteY91" fmla="*/ 5719 h 9801"/>
                <a:gd name="connsiteX92" fmla="*/ 8048 w 9657"/>
                <a:gd name="connsiteY92" fmla="*/ 5540 h 9801"/>
                <a:gd name="connsiteX93" fmla="*/ 8159 w 9657"/>
                <a:gd name="connsiteY93" fmla="*/ 5359 h 9801"/>
                <a:gd name="connsiteX94" fmla="*/ 8268 w 9657"/>
                <a:gd name="connsiteY94" fmla="*/ 5173 h 9801"/>
                <a:gd name="connsiteX95" fmla="*/ 8377 w 9657"/>
                <a:gd name="connsiteY95" fmla="*/ 4988 h 9801"/>
                <a:gd name="connsiteX96" fmla="*/ 8481 w 9657"/>
                <a:gd name="connsiteY96" fmla="*/ 4796 h 9801"/>
                <a:gd name="connsiteX97" fmla="*/ 8580 w 9657"/>
                <a:gd name="connsiteY97" fmla="*/ 4605 h 9801"/>
                <a:gd name="connsiteX98" fmla="*/ 8678 w 9657"/>
                <a:gd name="connsiteY98" fmla="*/ 4410 h 9801"/>
                <a:gd name="connsiteX99" fmla="*/ 8768 w 9657"/>
                <a:gd name="connsiteY99" fmla="*/ 4209 h 9801"/>
                <a:gd name="connsiteX100" fmla="*/ 8856 w 9657"/>
                <a:gd name="connsiteY100" fmla="*/ 4010 h 9801"/>
                <a:gd name="connsiteX101" fmla="*/ 8943 w 9657"/>
                <a:gd name="connsiteY101" fmla="*/ 3808 h 9801"/>
                <a:gd name="connsiteX102" fmla="*/ 9026 w 9657"/>
                <a:gd name="connsiteY102" fmla="*/ 3601 h 9801"/>
                <a:gd name="connsiteX103" fmla="*/ 9102 w 9657"/>
                <a:gd name="connsiteY103" fmla="*/ 3395 h 9801"/>
                <a:gd name="connsiteX104" fmla="*/ 9178 w 9657"/>
                <a:gd name="connsiteY104" fmla="*/ 3183 h 9801"/>
                <a:gd name="connsiteX105" fmla="*/ 9247 w 9657"/>
                <a:gd name="connsiteY105" fmla="*/ 2970 h 9801"/>
                <a:gd name="connsiteX106" fmla="*/ 9312 w 9657"/>
                <a:gd name="connsiteY106" fmla="*/ 2759 h 9801"/>
                <a:gd name="connsiteX107" fmla="*/ 9375 w 9657"/>
                <a:gd name="connsiteY107" fmla="*/ 2540 h 9801"/>
                <a:gd name="connsiteX108" fmla="*/ 9432 w 9657"/>
                <a:gd name="connsiteY108" fmla="*/ 2322 h 9801"/>
                <a:gd name="connsiteX109" fmla="*/ 9486 w 9657"/>
                <a:gd name="connsiteY109" fmla="*/ 2100 h 9801"/>
                <a:gd name="connsiteX110" fmla="*/ 9536 w 9657"/>
                <a:gd name="connsiteY110" fmla="*/ 1880 h 9801"/>
                <a:gd name="connsiteX111" fmla="*/ 9581 w 9657"/>
                <a:gd name="connsiteY111" fmla="*/ 1656 h 9801"/>
                <a:gd name="connsiteX112" fmla="*/ 9621 w 9657"/>
                <a:gd name="connsiteY112" fmla="*/ 1428 h 9801"/>
                <a:gd name="connsiteX113" fmla="*/ 9657 w 9657"/>
                <a:gd name="connsiteY113" fmla="*/ 1198 h 9801"/>
                <a:gd name="connsiteX114" fmla="*/ 6806 w 9657"/>
                <a:gd name="connsiteY114" fmla="*/ 1839 h 9801"/>
                <a:gd name="connsiteX115" fmla="*/ 4427 w 9657"/>
                <a:gd name="connsiteY115" fmla="*/ 0 h 9801"/>
                <a:gd name="connsiteX0" fmla="*/ 4552 w 9968"/>
                <a:gd name="connsiteY0" fmla="*/ 0 h 10234"/>
                <a:gd name="connsiteX1" fmla="*/ 4552 w 9968"/>
                <a:gd name="connsiteY1" fmla="*/ 0 h 10234"/>
                <a:gd name="connsiteX2" fmla="*/ 4541 w 9968"/>
                <a:gd name="connsiteY2" fmla="*/ 99 h 10234"/>
                <a:gd name="connsiteX3" fmla="*/ 4522 w 9968"/>
                <a:gd name="connsiteY3" fmla="*/ 201 h 10234"/>
                <a:gd name="connsiteX4" fmla="*/ 4508 w 9968"/>
                <a:gd name="connsiteY4" fmla="*/ 300 h 10234"/>
                <a:gd name="connsiteX5" fmla="*/ 4488 w 9968"/>
                <a:gd name="connsiteY5" fmla="*/ 394 h 10234"/>
                <a:gd name="connsiteX6" fmla="*/ 4466 w 9968"/>
                <a:gd name="connsiteY6" fmla="*/ 491 h 10234"/>
                <a:gd name="connsiteX7" fmla="*/ 4442 w 9968"/>
                <a:gd name="connsiteY7" fmla="*/ 587 h 10234"/>
                <a:gd name="connsiteX8" fmla="*/ 4420 w 9968"/>
                <a:gd name="connsiteY8" fmla="*/ 684 h 10234"/>
                <a:gd name="connsiteX9" fmla="*/ 4394 w 9968"/>
                <a:gd name="connsiteY9" fmla="*/ 778 h 10234"/>
                <a:gd name="connsiteX10" fmla="*/ 4365 w 9968"/>
                <a:gd name="connsiteY10" fmla="*/ 870 h 10234"/>
                <a:gd name="connsiteX11" fmla="*/ 4333 w 9968"/>
                <a:gd name="connsiteY11" fmla="*/ 961 h 10234"/>
                <a:gd name="connsiteX12" fmla="*/ 4305 w 9968"/>
                <a:gd name="connsiteY12" fmla="*/ 1053 h 10234"/>
                <a:gd name="connsiteX13" fmla="*/ 4271 w 9968"/>
                <a:gd name="connsiteY13" fmla="*/ 1145 h 10234"/>
                <a:gd name="connsiteX14" fmla="*/ 4232 w 9968"/>
                <a:gd name="connsiteY14" fmla="*/ 1232 h 10234"/>
                <a:gd name="connsiteX15" fmla="*/ 4197 w 9968"/>
                <a:gd name="connsiteY15" fmla="*/ 1318 h 10234"/>
                <a:gd name="connsiteX16" fmla="*/ 4160 w 9968"/>
                <a:gd name="connsiteY16" fmla="*/ 1405 h 10234"/>
                <a:gd name="connsiteX17" fmla="*/ 4117 w 9968"/>
                <a:gd name="connsiteY17" fmla="*/ 1494 h 10234"/>
                <a:gd name="connsiteX18" fmla="*/ 4078 w 9968"/>
                <a:gd name="connsiteY18" fmla="*/ 1578 h 10234"/>
                <a:gd name="connsiteX19" fmla="*/ 4034 w 9968"/>
                <a:gd name="connsiteY19" fmla="*/ 1663 h 10234"/>
                <a:gd name="connsiteX20" fmla="*/ 3988 w 9968"/>
                <a:gd name="connsiteY20" fmla="*/ 1742 h 10234"/>
                <a:gd name="connsiteX21" fmla="*/ 3939 w 9968"/>
                <a:gd name="connsiteY21" fmla="*/ 1824 h 10234"/>
                <a:gd name="connsiteX22" fmla="*/ 3895 w 9968"/>
                <a:gd name="connsiteY22" fmla="*/ 1903 h 10234"/>
                <a:gd name="connsiteX23" fmla="*/ 3845 w 9968"/>
                <a:gd name="connsiteY23" fmla="*/ 1986 h 10234"/>
                <a:gd name="connsiteX24" fmla="*/ 3793 w 9968"/>
                <a:gd name="connsiteY24" fmla="*/ 2059 h 10234"/>
                <a:gd name="connsiteX25" fmla="*/ 3739 w 9968"/>
                <a:gd name="connsiteY25" fmla="*/ 2133 h 10234"/>
                <a:gd name="connsiteX26" fmla="*/ 3684 w 9968"/>
                <a:gd name="connsiteY26" fmla="*/ 2210 h 10234"/>
                <a:gd name="connsiteX27" fmla="*/ 3631 w 9968"/>
                <a:gd name="connsiteY27" fmla="*/ 2282 h 10234"/>
                <a:gd name="connsiteX28" fmla="*/ 3573 w 9968"/>
                <a:gd name="connsiteY28" fmla="*/ 2354 h 10234"/>
                <a:gd name="connsiteX29" fmla="*/ 3515 w 9968"/>
                <a:gd name="connsiteY29" fmla="*/ 2426 h 10234"/>
                <a:gd name="connsiteX30" fmla="*/ 3457 w 9968"/>
                <a:gd name="connsiteY30" fmla="*/ 2495 h 10234"/>
                <a:gd name="connsiteX31" fmla="*/ 3393 w 9968"/>
                <a:gd name="connsiteY31" fmla="*/ 2562 h 10234"/>
                <a:gd name="connsiteX32" fmla="*/ 3333 w 9968"/>
                <a:gd name="connsiteY32" fmla="*/ 2626 h 10234"/>
                <a:gd name="connsiteX33" fmla="*/ 3268 w 9968"/>
                <a:gd name="connsiteY33" fmla="*/ 2691 h 10234"/>
                <a:gd name="connsiteX34" fmla="*/ 3206 w 9968"/>
                <a:gd name="connsiteY34" fmla="*/ 2753 h 10234"/>
                <a:gd name="connsiteX35" fmla="*/ 3137 w 9968"/>
                <a:gd name="connsiteY35" fmla="*/ 2817 h 10234"/>
                <a:gd name="connsiteX36" fmla="*/ 3071 w 9968"/>
                <a:gd name="connsiteY36" fmla="*/ 2874 h 10234"/>
                <a:gd name="connsiteX37" fmla="*/ 3003 w 9968"/>
                <a:gd name="connsiteY37" fmla="*/ 2934 h 10234"/>
                <a:gd name="connsiteX38" fmla="*/ 2933 w 9968"/>
                <a:gd name="connsiteY38" fmla="*/ 2989 h 10234"/>
                <a:gd name="connsiteX39" fmla="*/ 2861 w 9968"/>
                <a:gd name="connsiteY39" fmla="*/ 3043 h 10234"/>
                <a:gd name="connsiteX40" fmla="*/ 2790 w 9968"/>
                <a:gd name="connsiteY40" fmla="*/ 3097 h 10234"/>
                <a:gd name="connsiteX41" fmla="*/ 2718 w 9968"/>
                <a:gd name="connsiteY41" fmla="*/ 3149 h 10234"/>
                <a:gd name="connsiteX42" fmla="*/ 2645 w 9968"/>
                <a:gd name="connsiteY42" fmla="*/ 3196 h 10234"/>
                <a:gd name="connsiteX43" fmla="*/ 2568 w 9968"/>
                <a:gd name="connsiteY43" fmla="*/ 3243 h 10234"/>
                <a:gd name="connsiteX44" fmla="*/ 2707 w 9968"/>
                <a:gd name="connsiteY44" fmla="*/ 6577 h 10234"/>
                <a:gd name="connsiteX45" fmla="*/ 148 w 9968"/>
                <a:gd name="connsiteY45" fmla="*/ 9980 h 10234"/>
                <a:gd name="connsiteX46" fmla="*/ 334 w 9968"/>
                <a:gd name="connsiteY46" fmla="*/ 9990 h 10234"/>
                <a:gd name="connsiteX47" fmla="*/ 517 w 9968"/>
                <a:gd name="connsiteY47" fmla="*/ 9995 h 10234"/>
                <a:gd name="connsiteX48" fmla="*/ 699 w 9968"/>
                <a:gd name="connsiteY48" fmla="*/ 10000 h 10234"/>
                <a:gd name="connsiteX49" fmla="*/ 921 w 9968"/>
                <a:gd name="connsiteY49" fmla="*/ 9995 h 10234"/>
                <a:gd name="connsiteX50" fmla="*/ 1135 w 9968"/>
                <a:gd name="connsiteY50" fmla="*/ 9988 h 10234"/>
                <a:gd name="connsiteX51" fmla="*/ 1350 w 9968"/>
                <a:gd name="connsiteY51" fmla="*/ 9976 h 10234"/>
                <a:gd name="connsiteX52" fmla="*/ 1561 w 9968"/>
                <a:gd name="connsiteY52" fmla="*/ 9954 h 10234"/>
                <a:gd name="connsiteX53" fmla="*/ 1774 w 9968"/>
                <a:gd name="connsiteY53" fmla="*/ 9932 h 10234"/>
                <a:gd name="connsiteX54" fmla="*/ 1985 w 9968"/>
                <a:gd name="connsiteY54" fmla="*/ 9898 h 10234"/>
                <a:gd name="connsiteX55" fmla="*/ 2194 w 9968"/>
                <a:gd name="connsiteY55" fmla="*/ 9866 h 10234"/>
                <a:gd name="connsiteX56" fmla="*/ 2404 w 9968"/>
                <a:gd name="connsiteY56" fmla="*/ 9825 h 10234"/>
                <a:gd name="connsiteX57" fmla="*/ 2607 w 9968"/>
                <a:gd name="connsiteY57" fmla="*/ 9779 h 10234"/>
                <a:gd name="connsiteX58" fmla="*/ 2817 w 9968"/>
                <a:gd name="connsiteY58" fmla="*/ 9731 h 10234"/>
                <a:gd name="connsiteX59" fmla="*/ 3014 w 9968"/>
                <a:gd name="connsiteY59" fmla="*/ 9674 h 10234"/>
                <a:gd name="connsiteX60" fmla="*/ 3217 w 9968"/>
                <a:gd name="connsiteY60" fmla="*/ 9616 h 10234"/>
                <a:gd name="connsiteX61" fmla="*/ 3417 w 9968"/>
                <a:gd name="connsiteY61" fmla="*/ 9553 h 10234"/>
                <a:gd name="connsiteX62" fmla="*/ 3614 w 9968"/>
                <a:gd name="connsiteY62" fmla="*/ 9482 h 10234"/>
                <a:gd name="connsiteX63" fmla="*/ 3807 w 9968"/>
                <a:gd name="connsiteY63" fmla="*/ 9405 h 10234"/>
                <a:gd name="connsiteX64" fmla="*/ 3999 w 9968"/>
                <a:gd name="connsiteY64" fmla="*/ 9330 h 10234"/>
                <a:gd name="connsiteX65" fmla="*/ 4194 w 9968"/>
                <a:gd name="connsiteY65" fmla="*/ 9244 h 10234"/>
                <a:gd name="connsiteX66" fmla="*/ 4386 w 9968"/>
                <a:gd name="connsiteY66" fmla="*/ 9159 h 10234"/>
                <a:gd name="connsiteX67" fmla="*/ 4570 w 9968"/>
                <a:gd name="connsiteY67" fmla="*/ 9063 h 10234"/>
                <a:gd name="connsiteX68" fmla="*/ 4755 w 9968"/>
                <a:gd name="connsiteY68" fmla="*/ 8968 h 10234"/>
                <a:gd name="connsiteX69" fmla="*/ 4941 w 9968"/>
                <a:gd name="connsiteY69" fmla="*/ 8865 h 10234"/>
                <a:gd name="connsiteX70" fmla="*/ 5120 w 9968"/>
                <a:gd name="connsiteY70" fmla="*/ 8760 h 10234"/>
                <a:gd name="connsiteX71" fmla="*/ 5299 w 9968"/>
                <a:gd name="connsiteY71" fmla="*/ 8652 h 10234"/>
                <a:gd name="connsiteX72" fmla="*/ 5478 w 9968"/>
                <a:gd name="connsiteY72" fmla="*/ 8536 h 10234"/>
                <a:gd name="connsiteX73" fmla="*/ 5651 w 9968"/>
                <a:gd name="connsiteY73" fmla="*/ 8418 h 10234"/>
                <a:gd name="connsiteX74" fmla="*/ 5821 w 9968"/>
                <a:gd name="connsiteY74" fmla="*/ 8295 h 10234"/>
                <a:gd name="connsiteX75" fmla="*/ 5992 w 9968"/>
                <a:gd name="connsiteY75" fmla="*/ 8169 h 10234"/>
                <a:gd name="connsiteX76" fmla="*/ 6154 w 9968"/>
                <a:gd name="connsiteY76" fmla="*/ 8040 h 10234"/>
                <a:gd name="connsiteX77" fmla="*/ 6317 w 9968"/>
                <a:gd name="connsiteY77" fmla="*/ 7904 h 10234"/>
                <a:gd name="connsiteX78" fmla="*/ 6478 w 9968"/>
                <a:gd name="connsiteY78" fmla="*/ 7768 h 10234"/>
                <a:gd name="connsiteX79" fmla="*/ 6636 w 9968"/>
                <a:gd name="connsiteY79" fmla="*/ 7625 h 10234"/>
                <a:gd name="connsiteX80" fmla="*/ 6792 w 9968"/>
                <a:gd name="connsiteY80" fmla="*/ 7480 h 10234"/>
                <a:gd name="connsiteX81" fmla="*/ 6943 w 9968"/>
                <a:gd name="connsiteY81" fmla="*/ 7329 h 10234"/>
                <a:gd name="connsiteX82" fmla="*/ 7093 w 9968"/>
                <a:gd name="connsiteY82" fmla="*/ 7178 h 10234"/>
                <a:gd name="connsiteX83" fmla="*/ 7238 w 9968"/>
                <a:gd name="connsiteY83" fmla="*/ 7025 h 10234"/>
                <a:gd name="connsiteX84" fmla="*/ 7384 w 9968"/>
                <a:gd name="connsiteY84" fmla="*/ 6862 h 10234"/>
                <a:gd name="connsiteX85" fmla="*/ 7524 w 9968"/>
                <a:gd name="connsiteY85" fmla="*/ 6697 h 10234"/>
                <a:gd name="connsiteX86" fmla="*/ 7661 w 9968"/>
                <a:gd name="connsiteY86" fmla="*/ 6534 h 10234"/>
                <a:gd name="connsiteX87" fmla="*/ 7795 w 9968"/>
                <a:gd name="connsiteY87" fmla="*/ 6365 h 10234"/>
                <a:gd name="connsiteX88" fmla="*/ 7926 w 9968"/>
                <a:gd name="connsiteY88" fmla="*/ 6189 h 10234"/>
                <a:gd name="connsiteX89" fmla="*/ 8054 w 9968"/>
                <a:gd name="connsiteY89" fmla="*/ 6016 h 10234"/>
                <a:gd name="connsiteX90" fmla="*/ 8180 w 9968"/>
                <a:gd name="connsiteY90" fmla="*/ 5835 h 10234"/>
                <a:gd name="connsiteX91" fmla="*/ 8302 w 9968"/>
                <a:gd name="connsiteY91" fmla="*/ 5652 h 10234"/>
                <a:gd name="connsiteX92" fmla="*/ 8417 w 9968"/>
                <a:gd name="connsiteY92" fmla="*/ 5468 h 10234"/>
                <a:gd name="connsiteX93" fmla="*/ 8530 w 9968"/>
                <a:gd name="connsiteY93" fmla="*/ 5278 h 10234"/>
                <a:gd name="connsiteX94" fmla="*/ 8643 w 9968"/>
                <a:gd name="connsiteY94" fmla="*/ 5089 h 10234"/>
                <a:gd name="connsiteX95" fmla="*/ 8750 w 9968"/>
                <a:gd name="connsiteY95" fmla="*/ 4893 h 10234"/>
                <a:gd name="connsiteX96" fmla="*/ 8853 w 9968"/>
                <a:gd name="connsiteY96" fmla="*/ 4699 h 10234"/>
                <a:gd name="connsiteX97" fmla="*/ 8954 w 9968"/>
                <a:gd name="connsiteY97" fmla="*/ 4500 h 10234"/>
                <a:gd name="connsiteX98" fmla="*/ 9047 w 9968"/>
                <a:gd name="connsiteY98" fmla="*/ 4294 h 10234"/>
                <a:gd name="connsiteX99" fmla="*/ 9139 w 9968"/>
                <a:gd name="connsiteY99" fmla="*/ 4091 h 10234"/>
                <a:gd name="connsiteX100" fmla="*/ 9229 w 9968"/>
                <a:gd name="connsiteY100" fmla="*/ 3885 h 10234"/>
                <a:gd name="connsiteX101" fmla="*/ 9315 w 9968"/>
                <a:gd name="connsiteY101" fmla="*/ 3674 h 10234"/>
                <a:gd name="connsiteX102" fmla="*/ 9393 w 9968"/>
                <a:gd name="connsiteY102" fmla="*/ 3464 h 10234"/>
                <a:gd name="connsiteX103" fmla="*/ 9472 w 9968"/>
                <a:gd name="connsiteY103" fmla="*/ 3248 h 10234"/>
                <a:gd name="connsiteX104" fmla="*/ 9543 w 9968"/>
                <a:gd name="connsiteY104" fmla="*/ 3030 h 10234"/>
                <a:gd name="connsiteX105" fmla="*/ 9611 w 9968"/>
                <a:gd name="connsiteY105" fmla="*/ 2815 h 10234"/>
                <a:gd name="connsiteX106" fmla="*/ 9676 w 9968"/>
                <a:gd name="connsiteY106" fmla="*/ 2592 h 10234"/>
                <a:gd name="connsiteX107" fmla="*/ 9735 w 9968"/>
                <a:gd name="connsiteY107" fmla="*/ 2369 h 10234"/>
                <a:gd name="connsiteX108" fmla="*/ 9791 w 9968"/>
                <a:gd name="connsiteY108" fmla="*/ 2143 h 10234"/>
                <a:gd name="connsiteX109" fmla="*/ 9843 w 9968"/>
                <a:gd name="connsiteY109" fmla="*/ 1918 h 10234"/>
                <a:gd name="connsiteX110" fmla="*/ 9889 w 9968"/>
                <a:gd name="connsiteY110" fmla="*/ 1690 h 10234"/>
                <a:gd name="connsiteX111" fmla="*/ 9931 w 9968"/>
                <a:gd name="connsiteY111" fmla="*/ 1457 h 10234"/>
                <a:gd name="connsiteX112" fmla="*/ 9968 w 9968"/>
                <a:gd name="connsiteY112" fmla="*/ 1222 h 10234"/>
                <a:gd name="connsiteX113" fmla="*/ 7016 w 9968"/>
                <a:gd name="connsiteY113" fmla="*/ 1876 h 10234"/>
                <a:gd name="connsiteX114" fmla="*/ 4552 w 9968"/>
                <a:gd name="connsiteY114" fmla="*/ 0 h 10234"/>
                <a:gd name="connsiteX0" fmla="*/ 4367 w 9800"/>
                <a:gd name="connsiteY0" fmla="*/ 0 h 10009"/>
                <a:gd name="connsiteX1" fmla="*/ 4367 w 9800"/>
                <a:gd name="connsiteY1" fmla="*/ 0 h 10009"/>
                <a:gd name="connsiteX2" fmla="*/ 4356 w 9800"/>
                <a:gd name="connsiteY2" fmla="*/ 97 h 10009"/>
                <a:gd name="connsiteX3" fmla="*/ 4337 w 9800"/>
                <a:gd name="connsiteY3" fmla="*/ 196 h 10009"/>
                <a:gd name="connsiteX4" fmla="*/ 4322 w 9800"/>
                <a:gd name="connsiteY4" fmla="*/ 293 h 10009"/>
                <a:gd name="connsiteX5" fmla="*/ 4302 w 9800"/>
                <a:gd name="connsiteY5" fmla="*/ 385 h 10009"/>
                <a:gd name="connsiteX6" fmla="*/ 4280 w 9800"/>
                <a:gd name="connsiteY6" fmla="*/ 480 h 10009"/>
                <a:gd name="connsiteX7" fmla="*/ 4256 w 9800"/>
                <a:gd name="connsiteY7" fmla="*/ 574 h 10009"/>
                <a:gd name="connsiteX8" fmla="*/ 4234 w 9800"/>
                <a:gd name="connsiteY8" fmla="*/ 668 h 10009"/>
                <a:gd name="connsiteX9" fmla="*/ 4208 w 9800"/>
                <a:gd name="connsiteY9" fmla="*/ 760 h 10009"/>
                <a:gd name="connsiteX10" fmla="*/ 4179 w 9800"/>
                <a:gd name="connsiteY10" fmla="*/ 850 h 10009"/>
                <a:gd name="connsiteX11" fmla="*/ 4147 w 9800"/>
                <a:gd name="connsiteY11" fmla="*/ 939 h 10009"/>
                <a:gd name="connsiteX12" fmla="*/ 4119 w 9800"/>
                <a:gd name="connsiteY12" fmla="*/ 1029 h 10009"/>
                <a:gd name="connsiteX13" fmla="*/ 4085 w 9800"/>
                <a:gd name="connsiteY13" fmla="*/ 1119 h 10009"/>
                <a:gd name="connsiteX14" fmla="*/ 4046 w 9800"/>
                <a:gd name="connsiteY14" fmla="*/ 1204 h 10009"/>
                <a:gd name="connsiteX15" fmla="*/ 4010 w 9800"/>
                <a:gd name="connsiteY15" fmla="*/ 1288 h 10009"/>
                <a:gd name="connsiteX16" fmla="*/ 3973 w 9800"/>
                <a:gd name="connsiteY16" fmla="*/ 1373 h 10009"/>
                <a:gd name="connsiteX17" fmla="*/ 3930 w 9800"/>
                <a:gd name="connsiteY17" fmla="*/ 1460 h 10009"/>
                <a:gd name="connsiteX18" fmla="*/ 3891 w 9800"/>
                <a:gd name="connsiteY18" fmla="*/ 1542 h 10009"/>
                <a:gd name="connsiteX19" fmla="*/ 3847 w 9800"/>
                <a:gd name="connsiteY19" fmla="*/ 1625 h 10009"/>
                <a:gd name="connsiteX20" fmla="*/ 3801 w 9800"/>
                <a:gd name="connsiteY20" fmla="*/ 1702 h 10009"/>
                <a:gd name="connsiteX21" fmla="*/ 3752 w 9800"/>
                <a:gd name="connsiteY21" fmla="*/ 1782 h 10009"/>
                <a:gd name="connsiteX22" fmla="*/ 3708 w 9800"/>
                <a:gd name="connsiteY22" fmla="*/ 1859 h 10009"/>
                <a:gd name="connsiteX23" fmla="*/ 3657 w 9800"/>
                <a:gd name="connsiteY23" fmla="*/ 1941 h 10009"/>
                <a:gd name="connsiteX24" fmla="*/ 3605 w 9800"/>
                <a:gd name="connsiteY24" fmla="*/ 2012 h 10009"/>
                <a:gd name="connsiteX25" fmla="*/ 3551 w 9800"/>
                <a:gd name="connsiteY25" fmla="*/ 2084 h 10009"/>
                <a:gd name="connsiteX26" fmla="*/ 3496 w 9800"/>
                <a:gd name="connsiteY26" fmla="*/ 2159 h 10009"/>
                <a:gd name="connsiteX27" fmla="*/ 3443 w 9800"/>
                <a:gd name="connsiteY27" fmla="*/ 2230 h 10009"/>
                <a:gd name="connsiteX28" fmla="*/ 3384 w 9800"/>
                <a:gd name="connsiteY28" fmla="*/ 2300 h 10009"/>
                <a:gd name="connsiteX29" fmla="*/ 3326 w 9800"/>
                <a:gd name="connsiteY29" fmla="*/ 2371 h 10009"/>
                <a:gd name="connsiteX30" fmla="*/ 3268 w 9800"/>
                <a:gd name="connsiteY30" fmla="*/ 2438 h 10009"/>
                <a:gd name="connsiteX31" fmla="*/ 3204 w 9800"/>
                <a:gd name="connsiteY31" fmla="*/ 2503 h 10009"/>
                <a:gd name="connsiteX32" fmla="*/ 3144 w 9800"/>
                <a:gd name="connsiteY32" fmla="*/ 2566 h 10009"/>
                <a:gd name="connsiteX33" fmla="*/ 3078 w 9800"/>
                <a:gd name="connsiteY33" fmla="*/ 2629 h 10009"/>
                <a:gd name="connsiteX34" fmla="*/ 3016 w 9800"/>
                <a:gd name="connsiteY34" fmla="*/ 2690 h 10009"/>
                <a:gd name="connsiteX35" fmla="*/ 2947 w 9800"/>
                <a:gd name="connsiteY35" fmla="*/ 2753 h 10009"/>
                <a:gd name="connsiteX36" fmla="*/ 2881 w 9800"/>
                <a:gd name="connsiteY36" fmla="*/ 2808 h 10009"/>
                <a:gd name="connsiteX37" fmla="*/ 2813 w 9800"/>
                <a:gd name="connsiteY37" fmla="*/ 2867 h 10009"/>
                <a:gd name="connsiteX38" fmla="*/ 2742 w 9800"/>
                <a:gd name="connsiteY38" fmla="*/ 2921 h 10009"/>
                <a:gd name="connsiteX39" fmla="*/ 2670 w 9800"/>
                <a:gd name="connsiteY39" fmla="*/ 2973 h 10009"/>
                <a:gd name="connsiteX40" fmla="*/ 2599 w 9800"/>
                <a:gd name="connsiteY40" fmla="*/ 3026 h 10009"/>
                <a:gd name="connsiteX41" fmla="*/ 2527 w 9800"/>
                <a:gd name="connsiteY41" fmla="*/ 3077 h 10009"/>
                <a:gd name="connsiteX42" fmla="*/ 2453 w 9800"/>
                <a:gd name="connsiteY42" fmla="*/ 3123 h 10009"/>
                <a:gd name="connsiteX43" fmla="*/ 2376 w 9800"/>
                <a:gd name="connsiteY43" fmla="*/ 3169 h 10009"/>
                <a:gd name="connsiteX44" fmla="*/ 2516 w 9800"/>
                <a:gd name="connsiteY44" fmla="*/ 6427 h 10009"/>
                <a:gd name="connsiteX45" fmla="*/ 135 w 9800"/>
                <a:gd name="connsiteY45" fmla="*/ 9762 h 10009"/>
                <a:gd name="connsiteX46" fmla="*/ 319 w 9800"/>
                <a:gd name="connsiteY46" fmla="*/ 9766 h 10009"/>
                <a:gd name="connsiteX47" fmla="*/ 501 w 9800"/>
                <a:gd name="connsiteY47" fmla="*/ 9771 h 10009"/>
                <a:gd name="connsiteX48" fmla="*/ 724 w 9800"/>
                <a:gd name="connsiteY48" fmla="*/ 9766 h 10009"/>
                <a:gd name="connsiteX49" fmla="*/ 939 w 9800"/>
                <a:gd name="connsiteY49" fmla="*/ 9760 h 10009"/>
                <a:gd name="connsiteX50" fmla="*/ 1154 w 9800"/>
                <a:gd name="connsiteY50" fmla="*/ 9748 h 10009"/>
                <a:gd name="connsiteX51" fmla="*/ 1366 w 9800"/>
                <a:gd name="connsiteY51" fmla="*/ 9726 h 10009"/>
                <a:gd name="connsiteX52" fmla="*/ 1580 w 9800"/>
                <a:gd name="connsiteY52" fmla="*/ 9705 h 10009"/>
                <a:gd name="connsiteX53" fmla="*/ 1791 w 9800"/>
                <a:gd name="connsiteY53" fmla="*/ 9672 h 10009"/>
                <a:gd name="connsiteX54" fmla="*/ 2001 w 9800"/>
                <a:gd name="connsiteY54" fmla="*/ 9640 h 10009"/>
                <a:gd name="connsiteX55" fmla="*/ 2212 w 9800"/>
                <a:gd name="connsiteY55" fmla="*/ 9600 h 10009"/>
                <a:gd name="connsiteX56" fmla="*/ 2415 w 9800"/>
                <a:gd name="connsiteY56" fmla="*/ 9555 h 10009"/>
                <a:gd name="connsiteX57" fmla="*/ 2626 w 9800"/>
                <a:gd name="connsiteY57" fmla="*/ 9509 h 10009"/>
                <a:gd name="connsiteX58" fmla="*/ 2824 w 9800"/>
                <a:gd name="connsiteY58" fmla="*/ 9453 h 10009"/>
                <a:gd name="connsiteX59" fmla="*/ 3027 w 9800"/>
                <a:gd name="connsiteY59" fmla="*/ 9396 h 10009"/>
                <a:gd name="connsiteX60" fmla="*/ 3228 w 9800"/>
                <a:gd name="connsiteY60" fmla="*/ 9335 h 10009"/>
                <a:gd name="connsiteX61" fmla="*/ 3426 w 9800"/>
                <a:gd name="connsiteY61" fmla="*/ 9265 h 10009"/>
                <a:gd name="connsiteX62" fmla="*/ 3619 w 9800"/>
                <a:gd name="connsiteY62" fmla="*/ 9190 h 10009"/>
                <a:gd name="connsiteX63" fmla="*/ 3812 w 9800"/>
                <a:gd name="connsiteY63" fmla="*/ 9117 h 10009"/>
                <a:gd name="connsiteX64" fmla="*/ 4007 w 9800"/>
                <a:gd name="connsiteY64" fmla="*/ 9033 h 10009"/>
                <a:gd name="connsiteX65" fmla="*/ 4200 w 9800"/>
                <a:gd name="connsiteY65" fmla="*/ 8950 h 10009"/>
                <a:gd name="connsiteX66" fmla="*/ 4385 w 9800"/>
                <a:gd name="connsiteY66" fmla="*/ 8856 h 10009"/>
                <a:gd name="connsiteX67" fmla="*/ 4570 w 9800"/>
                <a:gd name="connsiteY67" fmla="*/ 8763 h 10009"/>
                <a:gd name="connsiteX68" fmla="*/ 4757 w 9800"/>
                <a:gd name="connsiteY68" fmla="*/ 8662 h 10009"/>
                <a:gd name="connsiteX69" fmla="*/ 4936 w 9800"/>
                <a:gd name="connsiteY69" fmla="*/ 8560 h 10009"/>
                <a:gd name="connsiteX70" fmla="*/ 5116 w 9800"/>
                <a:gd name="connsiteY70" fmla="*/ 8454 h 10009"/>
                <a:gd name="connsiteX71" fmla="*/ 5296 w 9800"/>
                <a:gd name="connsiteY71" fmla="*/ 8341 h 10009"/>
                <a:gd name="connsiteX72" fmla="*/ 5469 w 9800"/>
                <a:gd name="connsiteY72" fmla="*/ 8226 h 10009"/>
                <a:gd name="connsiteX73" fmla="*/ 5640 w 9800"/>
                <a:gd name="connsiteY73" fmla="*/ 8105 h 10009"/>
                <a:gd name="connsiteX74" fmla="*/ 5811 w 9800"/>
                <a:gd name="connsiteY74" fmla="*/ 7982 h 10009"/>
                <a:gd name="connsiteX75" fmla="*/ 5974 w 9800"/>
                <a:gd name="connsiteY75" fmla="*/ 7856 h 10009"/>
                <a:gd name="connsiteX76" fmla="*/ 6137 w 9800"/>
                <a:gd name="connsiteY76" fmla="*/ 7723 h 10009"/>
                <a:gd name="connsiteX77" fmla="*/ 6299 w 9800"/>
                <a:gd name="connsiteY77" fmla="*/ 7590 h 10009"/>
                <a:gd name="connsiteX78" fmla="*/ 6457 w 9800"/>
                <a:gd name="connsiteY78" fmla="*/ 7451 h 10009"/>
                <a:gd name="connsiteX79" fmla="*/ 6614 w 9800"/>
                <a:gd name="connsiteY79" fmla="*/ 7309 h 10009"/>
                <a:gd name="connsiteX80" fmla="*/ 6765 w 9800"/>
                <a:gd name="connsiteY80" fmla="*/ 7161 h 10009"/>
                <a:gd name="connsiteX81" fmla="*/ 6916 w 9800"/>
                <a:gd name="connsiteY81" fmla="*/ 7014 h 10009"/>
                <a:gd name="connsiteX82" fmla="*/ 7061 w 9800"/>
                <a:gd name="connsiteY82" fmla="*/ 6864 h 10009"/>
                <a:gd name="connsiteX83" fmla="*/ 7208 w 9800"/>
                <a:gd name="connsiteY83" fmla="*/ 6705 h 10009"/>
                <a:gd name="connsiteX84" fmla="*/ 7348 w 9800"/>
                <a:gd name="connsiteY84" fmla="*/ 6544 h 10009"/>
                <a:gd name="connsiteX85" fmla="*/ 7486 w 9800"/>
                <a:gd name="connsiteY85" fmla="*/ 6385 h 10009"/>
                <a:gd name="connsiteX86" fmla="*/ 7620 w 9800"/>
                <a:gd name="connsiteY86" fmla="*/ 6219 h 10009"/>
                <a:gd name="connsiteX87" fmla="*/ 7751 w 9800"/>
                <a:gd name="connsiteY87" fmla="*/ 6047 h 10009"/>
                <a:gd name="connsiteX88" fmla="*/ 7880 w 9800"/>
                <a:gd name="connsiteY88" fmla="*/ 5878 h 10009"/>
                <a:gd name="connsiteX89" fmla="*/ 8006 w 9800"/>
                <a:gd name="connsiteY89" fmla="*/ 5702 h 10009"/>
                <a:gd name="connsiteX90" fmla="*/ 8129 w 9800"/>
                <a:gd name="connsiteY90" fmla="*/ 5523 h 10009"/>
                <a:gd name="connsiteX91" fmla="*/ 8244 w 9800"/>
                <a:gd name="connsiteY91" fmla="*/ 5343 h 10009"/>
                <a:gd name="connsiteX92" fmla="*/ 8357 w 9800"/>
                <a:gd name="connsiteY92" fmla="*/ 5157 h 10009"/>
                <a:gd name="connsiteX93" fmla="*/ 8471 w 9800"/>
                <a:gd name="connsiteY93" fmla="*/ 4973 h 10009"/>
                <a:gd name="connsiteX94" fmla="*/ 8578 w 9800"/>
                <a:gd name="connsiteY94" fmla="*/ 4781 h 10009"/>
                <a:gd name="connsiteX95" fmla="*/ 8681 w 9800"/>
                <a:gd name="connsiteY95" fmla="*/ 4592 h 10009"/>
                <a:gd name="connsiteX96" fmla="*/ 8783 w 9800"/>
                <a:gd name="connsiteY96" fmla="*/ 4397 h 10009"/>
                <a:gd name="connsiteX97" fmla="*/ 8876 w 9800"/>
                <a:gd name="connsiteY97" fmla="*/ 4196 h 10009"/>
                <a:gd name="connsiteX98" fmla="*/ 8968 w 9800"/>
                <a:gd name="connsiteY98" fmla="*/ 3997 h 10009"/>
                <a:gd name="connsiteX99" fmla="*/ 9059 w 9800"/>
                <a:gd name="connsiteY99" fmla="*/ 3796 h 10009"/>
                <a:gd name="connsiteX100" fmla="*/ 9145 w 9800"/>
                <a:gd name="connsiteY100" fmla="*/ 3590 h 10009"/>
                <a:gd name="connsiteX101" fmla="*/ 9223 w 9800"/>
                <a:gd name="connsiteY101" fmla="*/ 3385 h 10009"/>
                <a:gd name="connsiteX102" fmla="*/ 9302 w 9800"/>
                <a:gd name="connsiteY102" fmla="*/ 3174 h 10009"/>
                <a:gd name="connsiteX103" fmla="*/ 9374 w 9800"/>
                <a:gd name="connsiteY103" fmla="*/ 2961 h 10009"/>
                <a:gd name="connsiteX104" fmla="*/ 9442 w 9800"/>
                <a:gd name="connsiteY104" fmla="*/ 2751 h 10009"/>
                <a:gd name="connsiteX105" fmla="*/ 9507 w 9800"/>
                <a:gd name="connsiteY105" fmla="*/ 2533 h 10009"/>
                <a:gd name="connsiteX106" fmla="*/ 9566 w 9800"/>
                <a:gd name="connsiteY106" fmla="*/ 2315 h 10009"/>
                <a:gd name="connsiteX107" fmla="*/ 9622 w 9800"/>
                <a:gd name="connsiteY107" fmla="*/ 2094 h 10009"/>
                <a:gd name="connsiteX108" fmla="*/ 9675 w 9800"/>
                <a:gd name="connsiteY108" fmla="*/ 1874 h 10009"/>
                <a:gd name="connsiteX109" fmla="*/ 9721 w 9800"/>
                <a:gd name="connsiteY109" fmla="*/ 1651 h 10009"/>
                <a:gd name="connsiteX110" fmla="*/ 9763 w 9800"/>
                <a:gd name="connsiteY110" fmla="*/ 1424 h 10009"/>
                <a:gd name="connsiteX111" fmla="*/ 9800 w 9800"/>
                <a:gd name="connsiteY111" fmla="*/ 1194 h 10009"/>
                <a:gd name="connsiteX112" fmla="*/ 6839 w 9800"/>
                <a:gd name="connsiteY112" fmla="*/ 1833 h 10009"/>
                <a:gd name="connsiteX113" fmla="*/ 4367 w 9800"/>
                <a:gd name="connsiteY113" fmla="*/ 0 h 10009"/>
                <a:gd name="connsiteX0" fmla="*/ 4130 w 9674"/>
                <a:gd name="connsiteY0" fmla="*/ 0 h 9762"/>
                <a:gd name="connsiteX1" fmla="*/ 4130 w 9674"/>
                <a:gd name="connsiteY1" fmla="*/ 0 h 9762"/>
                <a:gd name="connsiteX2" fmla="*/ 4119 w 9674"/>
                <a:gd name="connsiteY2" fmla="*/ 97 h 9762"/>
                <a:gd name="connsiteX3" fmla="*/ 4100 w 9674"/>
                <a:gd name="connsiteY3" fmla="*/ 196 h 9762"/>
                <a:gd name="connsiteX4" fmla="*/ 4084 w 9674"/>
                <a:gd name="connsiteY4" fmla="*/ 293 h 9762"/>
                <a:gd name="connsiteX5" fmla="*/ 4064 w 9674"/>
                <a:gd name="connsiteY5" fmla="*/ 385 h 9762"/>
                <a:gd name="connsiteX6" fmla="*/ 4041 w 9674"/>
                <a:gd name="connsiteY6" fmla="*/ 480 h 9762"/>
                <a:gd name="connsiteX7" fmla="*/ 4017 w 9674"/>
                <a:gd name="connsiteY7" fmla="*/ 573 h 9762"/>
                <a:gd name="connsiteX8" fmla="*/ 3994 w 9674"/>
                <a:gd name="connsiteY8" fmla="*/ 667 h 9762"/>
                <a:gd name="connsiteX9" fmla="*/ 3968 w 9674"/>
                <a:gd name="connsiteY9" fmla="*/ 759 h 9762"/>
                <a:gd name="connsiteX10" fmla="*/ 3938 w 9674"/>
                <a:gd name="connsiteY10" fmla="*/ 849 h 9762"/>
                <a:gd name="connsiteX11" fmla="*/ 3906 w 9674"/>
                <a:gd name="connsiteY11" fmla="*/ 938 h 9762"/>
                <a:gd name="connsiteX12" fmla="*/ 3877 w 9674"/>
                <a:gd name="connsiteY12" fmla="*/ 1028 h 9762"/>
                <a:gd name="connsiteX13" fmla="*/ 3842 w 9674"/>
                <a:gd name="connsiteY13" fmla="*/ 1118 h 9762"/>
                <a:gd name="connsiteX14" fmla="*/ 3803 w 9674"/>
                <a:gd name="connsiteY14" fmla="*/ 1203 h 9762"/>
                <a:gd name="connsiteX15" fmla="*/ 3766 w 9674"/>
                <a:gd name="connsiteY15" fmla="*/ 1287 h 9762"/>
                <a:gd name="connsiteX16" fmla="*/ 3728 w 9674"/>
                <a:gd name="connsiteY16" fmla="*/ 1372 h 9762"/>
                <a:gd name="connsiteX17" fmla="*/ 3684 w 9674"/>
                <a:gd name="connsiteY17" fmla="*/ 1459 h 9762"/>
                <a:gd name="connsiteX18" fmla="*/ 3644 w 9674"/>
                <a:gd name="connsiteY18" fmla="*/ 1541 h 9762"/>
                <a:gd name="connsiteX19" fmla="*/ 3600 w 9674"/>
                <a:gd name="connsiteY19" fmla="*/ 1624 h 9762"/>
                <a:gd name="connsiteX20" fmla="*/ 3553 w 9674"/>
                <a:gd name="connsiteY20" fmla="*/ 1700 h 9762"/>
                <a:gd name="connsiteX21" fmla="*/ 3503 w 9674"/>
                <a:gd name="connsiteY21" fmla="*/ 1780 h 9762"/>
                <a:gd name="connsiteX22" fmla="*/ 3458 w 9674"/>
                <a:gd name="connsiteY22" fmla="*/ 1857 h 9762"/>
                <a:gd name="connsiteX23" fmla="*/ 3406 w 9674"/>
                <a:gd name="connsiteY23" fmla="*/ 1939 h 9762"/>
                <a:gd name="connsiteX24" fmla="*/ 3353 w 9674"/>
                <a:gd name="connsiteY24" fmla="*/ 2010 h 9762"/>
                <a:gd name="connsiteX25" fmla="*/ 3297 w 9674"/>
                <a:gd name="connsiteY25" fmla="*/ 2082 h 9762"/>
                <a:gd name="connsiteX26" fmla="*/ 3241 w 9674"/>
                <a:gd name="connsiteY26" fmla="*/ 2157 h 9762"/>
                <a:gd name="connsiteX27" fmla="*/ 3187 w 9674"/>
                <a:gd name="connsiteY27" fmla="*/ 2228 h 9762"/>
                <a:gd name="connsiteX28" fmla="*/ 3127 w 9674"/>
                <a:gd name="connsiteY28" fmla="*/ 2298 h 9762"/>
                <a:gd name="connsiteX29" fmla="*/ 3068 w 9674"/>
                <a:gd name="connsiteY29" fmla="*/ 2369 h 9762"/>
                <a:gd name="connsiteX30" fmla="*/ 3009 w 9674"/>
                <a:gd name="connsiteY30" fmla="*/ 2436 h 9762"/>
                <a:gd name="connsiteX31" fmla="*/ 2943 w 9674"/>
                <a:gd name="connsiteY31" fmla="*/ 2501 h 9762"/>
                <a:gd name="connsiteX32" fmla="*/ 2882 w 9674"/>
                <a:gd name="connsiteY32" fmla="*/ 2564 h 9762"/>
                <a:gd name="connsiteX33" fmla="*/ 2815 w 9674"/>
                <a:gd name="connsiteY33" fmla="*/ 2627 h 9762"/>
                <a:gd name="connsiteX34" fmla="*/ 2752 w 9674"/>
                <a:gd name="connsiteY34" fmla="*/ 2688 h 9762"/>
                <a:gd name="connsiteX35" fmla="*/ 2681 w 9674"/>
                <a:gd name="connsiteY35" fmla="*/ 2751 h 9762"/>
                <a:gd name="connsiteX36" fmla="*/ 2614 w 9674"/>
                <a:gd name="connsiteY36" fmla="*/ 2805 h 9762"/>
                <a:gd name="connsiteX37" fmla="*/ 2544 w 9674"/>
                <a:gd name="connsiteY37" fmla="*/ 2864 h 9762"/>
                <a:gd name="connsiteX38" fmla="*/ 2472 w 9674"/>
                <a:gd name="connsiteY38" fmla="*/ 2918 h 9762"/>
                <a:gd name="connsiteX39" fmla="*/ 2398 w 9674"/>
                <a:gd name="connsiteY39" fmla="*/ 2970 h 9762"/>
                <a:gd name="connsiteX40" fmla="*/ 2326 w 9674"/>
                <a:gd name="connsiteY40" fmla="*/ 3023 h 9762"/>
                <a:gd name="connsiteX41" fmla="*/ 2253 w 9674"/>
                <a:gd name="connsiteY41" fmla="*/ 3074 h 9762"/>
                <a:gd name="connsiteX42" fmla="*/ 2177 w 9674"/>
                <a:gd name="connsiteY42" fmla="*/ 3120 h 9762"/>
                <a:gd name="connsiteX43" fmla="*/ 2098 w 9674"/>
                <a:gd name="connsiteY43" fmla="*/ 3166 h 9762"/>
                <a:gd name="connsiteX44" fmla="*/ 2241 w 9674"/>
                <a:gd name="connsiteY44" fmla="*/ 6421 h 9762"/>
                <a:gd name="connsiteX45" fmla="*/ 0 w 9674"/>
                <a:gd name="connsiteY45" fmla="*/ 9757 h 9762"/>
                <a:gd name="connsiteX46" fmla="*/ 185 w 9674"/>
                <a:gd name="connsiteY46" fmla="*/ 9762 h 9762"/>
                <a:gd name="connsiteX47" fmla="*/ 413 w 9674"/>
                <a:gd name="connsiteY47" fmla="*/ 9757 h 9762"/>
                <a:gd name="connsiteX48" fmla="*/ 632 w 9674"/>
                <a:gd name="connsiteY48" fmla="*/ 9751 h 9762"/>
                <a:gd name="connsiteX49" fmla="*/ 852 w 9674"/>
                <a:gd name="connsiteY49" fmla="*/ 9739 h 9762"/>
                <a:gd name="connsiteX50" fmla="*/ 1068 w 9674"/>
                <a:gd name="connsiteY50" fmla="*/ 9717 h 9762"/>
                <a:gd name="connsiteX51" fmla="*/ 1286 w 9674"/>
                <a:gd name="connsiteY51" fmla="*/ 9696 h 9762"/>
                <a:gd name="connsiteX52" fmla="*/ 1502 w 9674"/>
                <a:gd name="connsiteY52" fmla="*/ 9663 h 9762"/>
                <a:gd name="connsiteX53" fmla="*/ 1716 w 9674"/>
                <a:gd name="connsiteY53" fmla="*/ 9631 h 9762"/>
                <a:gd name="connsiteX54" fmla="*/ 1931 w 9674"/>
                <a:gd name="connsiteY54" fmla="*/ 9591 h 9762"/>
                <a:gd name="connsiteX55" fmla="*/ 2138 w 9674"/>
                <a:gd name="connsiteY55" fmla="*/ 9546 h 9762"/>
                <a:gd name="connsiteX56" fmla="*/ 2354 w 9674"/>
                <a:gd name="connsiteY56" fmla="*/ 9500 h 9762"/>
                <a:gd name="connsiteX57" fmla="*/ 2556 w 9674"/>
                <a:gd name="connsiteY57" fmla="*/ 9444 h 9762"/>
                <a:gd name="connsiteX58" fmla="*/ 2763 w 9674"/>
                <a:gd name="connsiteY58" fmla="*/ 9388 h 9762"/>
                <a:gd name="connsiteX59" fmla="*/ 2968 w 9674"/>
                <a:gd name="connsiteY59" fmla="*/ 9327 h 9762"/>
                <a:gd name="connsiteX60" fmla="*/ 3170 w 9674"/>
                <a:gd name="connsiteY60" fmla="*/ 9257 h 9762"/>
                <a:gd name="connsiteX61" fmla="*/ 3367 w 9674"/>
                <a:gd name="connsiteY61" fmla="*/ 9182 h 9762"/>
                <a:gd name="connsiteX62" fmla="*/ 3564 w 9674"/>
                <a:gd name="connsiteY62" fmla="*/ 9109 h 9762"/>
                <a:gd name="connsiteX63" fmla="*/ 3763 w 9674"/>
                <a:gd name="connsiteY63" fmla="*/ 9025 h 9762"/>
                <a:gd name="connsiteX64" fmla="*/ 3960 w 9674"/>
                <a:gd name="connsiteY64" fmla="*/ 8942 h 9762"/>
                <a:gd name="connsiteX65" fmla="*/ 4148 w 9674"/>
                <a:gd name="connsiteY65" fmla="*/ 8848 h 9762"/>
                <a:gd name="connsiteX66" fmla="*/ 4337 w 9674"/>
                <a:gd name="connsiteY66" fmla="*/ 8755 h 9762"/>
                <a:gd name="connsiteX67" fmla="*/ 4528 w 9674"/>
                <a:gd name="connsiteY67" fmla="*/ 8654 h 9762"/>
                <a:gd name="connsiteX68" fmla="*/ 4711 w 9674"/>
                <a:gd name="connsiteY68" fmla="*/ 8552 h 9762"/>
                <a:gd name="connsiteX69" fmla="*/ 4894 w 9674"/>
                <a:gd name="connsiteY69" fmla="*/ 8446 h 9762"/>
                <a:gd name="connsiteX70" fmla="*/ 5078 w 9674"/>
                <a:gd name="connsiteY70" fmla="*/ 8333 h 9762"/>
                <a:gd name="connsiteX71" fmla="*/ 5255 w 9674"/>
                <a:gd name="connsiteY71" fmla="*/ 8219 h 9762"/>
                <a:gd name="connsiteX72" fmla="*/ 5429 w 9674"/>
                <a:gd name="connsiteY72" fmla="*/ 8098 h 9762"/>
                <a:gd name="connsiteX73" fmla="*/ 5604 w 9674"/>
                <a:gd name="connsiteY73" fmla="*/ 7975 h 9762"/>
                <a:gd name="connsiteX74" fmla="*/ 5770 w 9674"/>
                <a:gd name="connsiteY74" fmla="*/ 7849 h 9762"/>
                <a:gd name="connsiteX75" fmla="*/ 5936 w 9674"/>
                <a:gd name="connsiteY75" fmla="*/ 7716 h 9762"/>
                <a:gd name="connsiteX76" fmla="*/ 6102 w 9674"/>
                <a:gd name="connsiteY76" fmla="*/ 7583 h 9762"/>
                <a:gd name="connsiteX77" fmla="*/ 6263 w 9674"/>
                <a:gd name="connsiteY77" fmla="*/ 7444 h 9762"/>
                <a:gd name="connsiteX78" fmla="*/ 6423 w 9674"/>
                <a:gd name="connsiteY78" fmla="*/ 7302 h 9762"/>
                <a:gd name="connsiteX79" fmla="*/ 6577 w 9674"/>
                <a:gd name="connsiteY79" fmla="*/ 7155 h 9762"/>
                <a:gd name="connsiteX80" fmla="*/ 6731 w 9674"/>
                <a:gd name="connsiteY80" fmla="*/ 7008 h 9762"/>
                <a:gd name="connsiteX81" fmla="*/ 6879 w 9674"/>
                <a:gd name="connsiteY81" fmla="*/ 6858 h 9762"/>
                <a:gd name="connsiteX82" fmla="*/ 7029 w 9674"/>
                <a:gd name="connsiteY82" fmla="*/ 6699 h 9762"/>
                <a:gd name="connsiteX83" fmla="*/ 7172 w 9674"/>
                <a:gd name="connsiteY83" fmla="*/ 6538 h 9762"/>
                <a:gd name="connsiteX84" fmla="*/ 7313 w 9674"/>
                <a:gd name="connsiteY84" fmla="*/ 6379 h 9762"/>
                <a:gd name="connsiteX85" fmla="*/ 7450 w 9674"/>
                <a:gd name="connsiteY85" fmla="*/ 6213 h 9762"/>
                <a:gd name="connsiteX86" fmla="*/ 7583 w 9674"/>
                <a:gd name="connsiteY86" fmla="*/ 6042 h 9762"/>
                <a:gd name="connsiteX87" fmla="*/ 7715 w 9674"/>
                <a:gd name="connsiteY87" fmla="*/ 5873 h 9762"/>
                <a:gd name="connsiteX88" fmla="*/ 7843 w 9674"/>
                <a:gd name="connsiteY88" fmla="*/ 5697 h 9762"/>
                <a:gd name="connsiteX89" fmla="*/ 7969 w 9674"/>
                <a:gd name="connsiteY89" fmla="*/ 5518 h 9762"/>
                <a:gd name="connsiteX90" fmla="*/ 8086 w 9674"/>
                <a:gd name="connsiteY90" fmla="*/ 5338 h 9762"/>
                <a:gd name="connsiteX91" fmla="*/ 8202 w 9674"/>
                <a:gd name="connsiteY91" fmla="*/ 5152 h 9762"/>
                <a:gd name="connsiteX92" fmla="*/ 8318 w 9674"/>
                <a:gd name="connsiteY92" fmla="*/ 4969 h 9762"/>
                <a:gd name="connsiteX93" fmla="*/ 8427 w 9674"/>
                <a:gd name="connsiteY93" fmla="*/ 4777 h 9762"/>
                <a:gd name="connsiteX94" fmla="*/ 8532 w 9674"/>
                <a:gd name="connsiteY94" fmla="*/ 4588 h 9762"/>
                <a:gd name="connsiteX95" fmla="*/ 8636 w 9674"/>
                <a:gd name="connsiteY95" fmla="*/ 4393 h 9762"/>
                <a:gd name="connsiteX96" fmla="*/ 8731 w 9674"/>
                <a:gd name="connsiteY96" fmla="*/ 4192 h 9762"/>
                <a:gd name="connsiteX97" fmla="*/ 8825 w 9674"/>
                <a:gd name="connsiteY97" fmla="*/ 3993 h 9762"/>
                <a:gd name="connsiteX98" fmla="*/ 8918 w 9674"/>
                <a:gd name="connsiteY98" fmla="*/ 3793 h 9762"/>
                <a:gd name="connsiteX99" fmla="*/ 9006 w 9674"/>
                <a:gd name="connsiteY99" fmla="*/ 3587 h 9762"/>
                <a:gd name="connsiteX100" fmla="*/ 9085 w 9674"/>
                <a:gd name="connsiteY100" fmla="*/ 3382 h 9762"/>
                <a:gd name="connsiteX101" fmla="*/ 9166 w 9674"/>
                <a:gd name="connsiteY101" fmla="*/ 3171 h 9762"/>
                <a:gd name="connsiteX102" fmla="*/ 9239 w 9674"/>
                <a:gd name="connsiteY102" fmla="*/ 2958 h 9762"/>
                <a:gd name="connsiteX103" fmla="*/ 9309 w 9674"/>
                <a:gd name="connsiteY103" fmla="*/ 2749 h 9762"/>
                <a:gd name="connsiteX104" fmla="*/ 9375 w 9674"/>
                <a:gd name="connsiteY104" fmla="*/ 2531 h 9762"/>
                <a:gd name="connsiteX105" fmla="*/ 9435 w 9674"/>
                <a:gd name="connsiteY105" fmla="*/ 2313 h 9762"/>
                <a:gd name="connsiteX106" fmla="*/ 9492 w 9674"/>
                <a:gd name="connsiteY106" fmla="*/ 2092 h 9762"/>
                <a:gd name="connsiteX107" fmla="*/ 9546 w 9674"/>
                <a:gd name="connsiteY107" fmla="*/ 1872 h 9762"/>
                <a:gd name="connsiteX108" fmla="*/ 9593 w 9674"/>
                <a:gd name="connsiteY108" fmla="*/ 1650 h 9762"/>
                <a:gd name="connsiteX109" fmla="*/ 9636 w 9674"/>
                <a:gd name="connsiteY109" fmla="*/ 1423 h 9762"/>
                <a:gd name="connsiteX110" fmla="*/ 9674 w 9674"/>
                <a:gd name="connsiteY110" fmla="*/ 1193 h 9762"/>
                <a:gd name="connsiteX111" fmla="*/ 6653 w 9674"/>
                <a:gd name="connsiteY111" fmla="*/ 1831 h 9762"/>
                <a:gd name="connsiteX112" fmla="*/ 4130 w 9674"/>
                <a:gd name="connsiteY112" fmla="*/ 0 h 9762"/>
                <a:gd name="connsiteX0" fmla="*/ 4078 w 9809"/>
                <a:gd name="connsiteY0" fmla="*/ 0 h 10000"/>
                <a:gd name="connsiteX1" fmla="*/ 4078 w 9809"/>
                <a:gd name="connsiteY1" fmla="*/ 0 h 10000"/>
                <a:gd name="connsiteX2" fmla="*/ 4067 w 9809"/>
                <a:gd name="connsiteY2" fmla="*/ 99 h 10000"/>
                <a:gd name="connsiteX3" fmla="*/ 4047 w 9809"/>
                <a:gd name="connsiteY3" fmla="*/ 201 h 10000"/>
                <a:gd name="connsiteX4" fmla="*/ 4031 w 9809"/>
                <a:gd name="connsiteY4" fmla="*/ 300 h 10000"/>
                <a:gd name="connsiteX5" fmla="*/ 4010 w 9809"/>
                <a:gd name="connsiteY5" fmla="*/ 394 h 10000"/>
                <a:gd name="connsiteX6" fmla="*/ 3986 w 9809"/>
                <a:gd name="connsiteY6" fmla="*/ 492 h 10000"/>
                <a:gd name="connsiteX7" fmla="*/ 3961 w 9809"/>
                <a:gd name="connsiteY7" fmla="*/ 587 h 10000"/>
                <a:gd name="connsiteX8" fmla="*/ 3938 w 9809"/>
                <a:gd name="connsiteY8" fmla="*/ 683 h 10000"/>
                <a:gd name="connsiteX9" fmla="*/ 3911 w 9809"/>
                <a:gd name="connsiteY9" fmla="*/ 778 h 10000"/>
                <a:gd name="connsiteX10" fmla="*/ 3880 w 9809"/>
                <a:gd name="connsiteY10" fmla="*/ 870 h 10000"/>
                <a:gd name="connsiteX11" fmla="*/ 3847 w 9809"/>
                <a:gd name="connsiteY11" fmla="*/ 961 h 10000"/>
                <a:gd name="connsiteX12" fmla="*/ 3817 w 9809"/>
                <a:gd name="connsiteY12" fmla="*/ 1053 h 10000"/>
                <a:gd name="connsiteX13" fmla="*/ 3780 w 9809"/>
                <a:gd name="connsiteY13" fmla="*/ 1145 h 10000"/>
                <a:gd name="connsiteX14" fmla="*/ 3740 w 9809"/>
                <a:gd name="connsiteY14" fmla="*/ 1232 h 10000"/>
                <a:gd name="connsiteX15" fmla="*/ 3702 w 9809"/>
                <a:gd name="connsiteY15" fmla="*/ 1318 h 10000"/>
                <a:gd name="connsiteX16" fmla="*/ 3663 w 9809"/>
                <a:gd name="connsiteY16" fmla="*/ 1405 h 10000"/>
                <a:gd name="connsiteX17" fmla="*/ 3617 w 9809"/>
                <a:gd name="connsiteY17" fmla="*/ 1495 h 10000"/>
                <a:gd name="connsiteX18" fmla="*/ 3576 w 9809"/>
                <a:gd name="connsiteY18" fmla="*/ 1579 h 10000"/>
                <a:gd name="connsiteX19" fmla="*/ 3530 w 9809"/>
                <a:gd name="connsiteY19" fmla="*/ 1664 h 10000"/>
                <a:gd name="connsiteX20" fmla="*/ 3482 w 9809"/>
                <a:gd name="connsiteY20" fmla="*/ 1741 h 10000"/>
                <a:gd name="connsiteX21" fmla="*/ 3430 w 9809"/>
                <a:gd name="connsiteY21" fmla="*/ 1823 h 10000"/>
                <a:gd name="connsiteX22" fmla="*/ 3384 w 9809"/>
                <a:gd name="connsiteY22" fmla="*/ 1902 h 10000"/>
                <a:gd name="connsiteX23" fmla="*/ 3330 w 9809"/>
                <a:gd name="connsiteY23" fmla="*/ 1986 h 10000"/>
                <a:gd name="connsiteX24" fmla="*/ 3275 w 9809"/>
                <a:gd name="connsiteY24" fmla="*/ 2059 h 10000"/>
                <a:gd name="connsiteX25" fmla="*/ 3217 w 9809"/>
                <a:gd name="connsiteY25" fmla="*/ 2133 h 10000"/>
                <a:gd name="connsiteX26" fmla="*/ 3159 w 9809"/>
                <a:gd name="connsiteY26" fmla="*/ 2210 h 10000"/>
                <a:gd name="connsiteX27" fmla="*/ 3103 w 9809"/>
                <a:gd name="connsiteY27" fmla="*/ 2282 h 10000"/>
                <a:gd name="connsiteX28" fmla="*/ 3041 w 9809"/>
                <a:gd name="connsiteY28" fmla="*/ 2354 h 10000"/>
                <a:gd name="connsiteX29" fmla="*/ 2980 w 9809"/>
                <a:gd name="connsiteY29" fmla="*/ 2427 h 10000"/>
                <a:gd name="connsiteX30" fmla="*/ 2919 w 9809"/>
                <a:gd name="connsiteY30" fmla="*/ 2495 h 10000"/>
                <a:gd name="connsiteX31" fmla="*/ 2851 w 9809"/>
                <a:gd name="connsiteY31" fmla="*/ 2562 h 10000"/>
                <a:gd name="connsiteX32" fmla="*/ 2788 w 9809"/>
                <a:gd name="connsiteY32" fmla="*/ 2627 h 10000"/>
                <a:gd name="connsiteX33" fmla="*/ 2719 w 9809"/>
                <a:gd name="connsiteY33" fmla="*/ 2691 h 10000"/>
                <a:gd name="connsiteX34" fmla="*/ 2654 w 9809"/>
                <a:gd name="connsiteY34" fmla="*/ 2754 h 10000"/>
                <a:gd name="connsiteX35" fmla="*/ 2580 w 9809"/>
                <a:gd name="connsiteY35" fmla="*/ 2818 h 10000"/>
                <a:gd name="connsiteX36" fmla="*/ 2511 w 9809"/>
                <a:gd name="connsiteY36" fmla="*/ 2873 h 10000"/>
                <a:gd name="connsiteX37" fmla="*/ 2439 w 9809"/>
                <a:gd name="connsiteY37" fmla="*/ 2934 h 10000"/>
                <a:gd name="connsiteX38" fmla="*/ 2364 w 9809"/>
                <a:gd name="connsiteY38" fmla="*/ 2989 h 10000"/>
                <a:gd name="connsiteX39" fmla="*/ 2288 w 9809"/>
                <a:gd name="connsiteY39" fmla="*/ 3042 h 10000"/>
                <a:gd name="connsiteX40" fmla="*/ 2213 w 9809"/>
                <a:gd name="connsiteY40" fmla="*/ 3097 h 10000"/>
                <a:gd name="connsiteX41" fmla="*/ 2138 w 9809"/>
                <a:gd name="connsiteY41" fmla="*/ 3149 h 10000"/>
                <a:gd name="connsiteX42" fmla="*/ 2059 w 9809"/>
                <a:gd name="connsiteY42" fmla="*/ 3196 h 10000"/>
                <a:gd name="connsiteX43" fmla="*/ 1978 w 9809"/>
                <a:gd name="connsiteY43" fmla="*/ 3243 h 10000"/>
                <a:gd name="connsiteX44" fmla="*/ 2126 w 9809"/>
                <a:gd name="connsiteY44" fmla="*/ 6578 h 10000"/>
                <a:gd name="connsiteX45" fmla="*/ 0 w 9809"/>
                <a:gd name="connsiteY45" fmla="*/ 10000 h 10000"/>
                <a:gd name="connsiteX46" fmla="*/ 236 w 9809"/>
                <a:gd name="connsiteY46" fmla="*/ 9995 h 10000"/>
                <a:gd name="connsiteX47" fmla="*/ 462 w 9809"/>
                <a:gd name="connsiteY47" fmla="*/ 9989 h 10000"/>
                <a:gd name="connsiteX48" fmla="*/ 690 w 9809"/>
                <a:gd name="connsiteY48" fmla="*/ 9976 h 10000"/>
                <a:gd name="connsiteX49" fmla="*/ 913 w 9809"/>
                <a:gd name="connsiteY49" fmla="*/ 9954 h 10000"/>
                <a:gd name="connsiteX50" fmla="*/ 1138 w 9809"/>
                <a:gd name="connsiteY50" fmla="*/ 9932 h 10000"/>
                <a:gd name="connsiteX51" fmla="*/ 1362 w 9809"/>
                <a:gd name="connsiteY51" fmla="*/ 9899 h 10000"/>
                <a:gd name="connsiteX52" fmla="*/ 1583 w 9809"/>
                <a:gd name="connsiteY52" fmla="*/ 9866 h 10000"/>
                <a:gd name="connsiteX53" fmla="*/ 1805 w 9809"/>
                <a:gd name="connsiteY53" fmla="*/ 9825 h 10000"/>
                <a:gd name="connsiteX54" fmla="*/ 2019 w 9809"/>
                <a:gd name="connsiteY54" fmla="*/ 9779 h 10000"/>
                <a:gd name="connsiteX55" fmla="*/ 2242 w 9809"/>
                <a:gd name="connsiteY55" fmla="*/ 9732 h 10000"/>
                <a:gd name="connsiteX56" fmla="*/ 2451 w 9809"/>
                <a:gd name="connsiteY56" fmla="*/ 9674 h 10000"/>
                <a:gd name="connsiteX57" fmla="*/ 2665 w 9809"/>
                <a:gd name="connsiteY57" fmla="*/ 9617 h 10000"/>
                <a:gd name="connsiteX58" fmla="*/ 2877 w 9809"/>
                <a:gd name="connsiteY58" fmla="*/ 9554 h 10000"/>
                <a:gd name="connsiteX59" fmla="*/ 3086 w 9809"/>
                <a:gd name="connsiteY59" fmla="*/ 9483 h 10000"/>
                <a:gd name="connsiteX60" fmla="*/ 3289 w 9809"/>
                <a:gd name="connsiteY60" fmla="*/ 9406 h 10000"/>
                <a:gd name="connsiteX61" fmla="*/ 3493 w 9809"/>
                <a:gd name="connsiteY61" fmla="*/ 9331 h 10000"/>
                <a:gd name="connsiteX62" fmla="*/ 3699 w 9809"/>
                <a:gd name="connsiteY62" fmla="*/ 9245 h 10000"/>
                <a:gd name="connsiteX63" fmla="*/ 3902 w 9809"/>
                <a:gd name="connsiteY63" fmla="*/ 9160 h 10000"/>
                <a:gd name="connsiteX64" fmla="*/ 4097 w 9809"/>
                <a:gd name="connsiteY64" fmla="*/ 9064 h 10000"/>
                <a:gd name="connsiteX65" fmla="*/ 4292 w 9809"/>
                <a:gd name="connsiteY65" fmla="*/ 8968 h 10000"/>
                <a:gd name="connsiteX66" fmla="*/ 4490 w 9809"/>
                <a:gd name="connsiteY66" fmla="*/ 8865 h 10000"/>
                <a:gd name="connsiteX67" fmla="*/ 4679 w 9809"/>
                <a:gd name="connsiteY67" fmla="*/ 8760 h 10000"/>
                <a:gd name="connsiteX68" fmla="*/ 4868 w 9809"/>
                <a:gd name="connsiteY68" fmla="*/ 8652 h 10000"/>
                <a:gd name="connsiteX69" fmla="*/ 5058 w 9809"/>
                <a:gd name="connsiteY69" fmla="*/ 8536 h 10000"/>
                <a:gd name="connsiteX70" fmla="*/ 5241 w 9809"/>
                <a:gd name="connsiteY70" fmla="*/ 8419 h 10000"/>
                <a:gd name="connsiteX71" fmla="*/ 5421 w 9809"/>
                <a:gd name="connsiteY71" fmla="*/ 8295 h 10000"/>
                <a:gd name="connsiteX72" fmla="*/ 5602 w 9809"/>
                <a:gd name="connsiteY72" fmla="*/ 8169 h 10000"/>
                <a:gd name="connsiteX73" fmla="*/ 5773 w 9809"/>
                <a:gd name="connsiteY73" fmla="*/ 8040 h 10000"/>
                <a:gd name="connsiteX74" fmla="*/ 5945 w 9809"/>
                <a:gd name="connsiteY74" fmla="*/ 7904 h 10000"/>
                <a:gd name="connsiteX75" fmla="*/ 6117 w 9809"/>
                <a:gd name="connsiteY75" fmla="*/ 7768 h 10000"/>
                <a:gd name="connsiteX76" fmla="*/ 6283 w 9809"/>
                <a:gd name="connsiteY76" fmla="*/ 7625 h 10000"/>
                <a:gd name="connsiteX77" fmla="*/ 6448 w 9809"/>
                <a:gd name="connsiteY77" fmla="*/ 7480 h 10000"/>
                <a:gd name="connsiteX78" fmla="*/ 6608 w 9809"/>
                <a:gd name="connsiteY78" fmla="*/ 7329 h 10000"/>
                <a:gd name="connsiteX79" fmla="*/ 6767 w 9809"/>
                <a:gd name="connsiteY79" fmla="*/ 7179 h 10000"/>
                <a:gd name="connsiteX80" fmla="*/ 6920 w 9809"/>
                <a:gd name="connsiteY80" fmla="*/ 7025 h 10000"/>
                <a:gd name="connsiteX81" fmla="*/ 7075 w 9809"/>
                <a:gd name="connsiteY81" fmla="*/ 6862 h 10000"/>
                <a:gd name="connsiteX82" fmla="*/ 7223 w 9809"/>
                <a:gd name="connsiteY82" fmla="*/ 6697 h 10000"/>
                <a:gd name="connsiteX83" fmla="*/ 7368 w 9809"/>
                <a:gd name="connsiteY83" fmla="*/ 6535 h 10000"/>
                <a:gd name="connsiteX84" fmla="*/ 7510 w 9809"/>
                <a:gd name="connsiteY84" fmla="*/ 6364 h 10000"/>
                <a:gd name="connsiteX85" fmla="*/ 7648 w 9809"/>
                <a:gd name="connsiteY85" fmla="*/ 6189 h 10000"/>
                <a:gd name="connsiteX86" fmla="*/ 7784 w 9809"/>
                <a:gd name="connsiteY86" fmla="*/ 6016 h 10000"/>
                <a:gd name="connsiteX87" fmla="*/ 7916 w 9809"/>
                <a:gd name="connsiteY87" fmla="*/ 5836 h 10000"/>
                <a:gd name="connsiteX88" fmla="*/ 8047 w 9809"/>
                <a:gd name="connsiteY88" fmla="*/ 5653 h 10000"/>
                <a:gd name="connsiteX89" fmla="*/ 8167 w 9809"/>
                <a:gd name="connsiteY89" fmla="*/ 5468 h 10000"/>
                <a:gd name="connsiteX90" fmla="*/ 8287 w 9809"/>
                <a:gd name="connsiteY90" fmla="*/ 5278 h 10000"/>
                <a:gd name="connsiteX91" fmla="*/ 8407 w 9809"/>
                <a:gd name="connsiteY91" fmla="*/ 5090 h 10000"/>
                <a:gd name="connsiteX92" fmla="*/ 8520 w 9809"/>
                <a:gd name="connsiteY92" fmla="*/ 4893 h 10000"/>
                <a:gd name="connsiteX93" fmla="*/ 8629 w 9809"/>
                <a:gd name="connsiteY93" fmla="*/ 4700 h 10000"/>
                <a:gd name="connsiteX94" fmla="*/ 8736 w 9809"/>
                <a:gd name="connsiteY94" fmla="*/ 4500 h 10000"/>
                <a:gd name="connsiteX95" fmla="*/ 8834 w 9809"/>
                <a:gd name="connsiteY95" fmla="*/ 4294 h 10000"/>
                <a:gd name="connsiteX96" fmla="*/ 8931 w 9809"/>
                <a:gd name="connsiteY96" fmla="*/ 4090 h 10000"/>
                <a:gd name="connsiteX97" fmla="*/ 9028 w 9809"/>
                <a:gd name="connsiteY97" fmla="*/ 3885 h 10000"/>
                <a:gd name="connsiteX98" fmla="*/ 9118 w 9809"/>
                <a:gd name="connsiteY98" fmla="*/ 3674 h 10000"/>
                <a:gd name="connsiteX99" fmla="*/ 9200 w 9809"/>
                <a:gd name="connsiteY99" fmla="*/ 3464 h 10000"/>
                <a:gd name="connsiteX100" fmla="*/ 9284 w 9809"/>
                <a:gd name="connsiteY100" fmla="*/ 3248 h 10000"/>
                <a:gd name="connsiteX101" fmla="*/ 9359 w 9809"/>
                <a:gd name="connsiteY101" fmla="*/ 3030 h 10000"/>
                <a:gd name="connsiteX102" fmla="*/ 9432 w 9809"/>
                <a:gd name="connsiteY102" fmla="*/ 2816 h 10000"/>
                <a:gd name="connsiteX103" fmla="*/ 9500 w 9809"/>
                <a:gd name="connsiteY103" fmla="*/ 2593 h 10000"/>
                <a:gd name="connsiteX104" fmla="*/ 9562 w 9809"/>
                <a:gd name="connsiteY104" fmla="*/ 2369 h 10000"/>
                <a:gd name="connsiteX105" fmla="*/ 9621 w 9809"/>
                <a:gd name="connsiteY105" fmla="*/ 2143 h 10000"/>
                <a:gd name="connsiteX106" fmla="*/ 9677 w 9809"/>
                <a:gd name="connsiteY106" fmla="*/ 1918 h 10000"/>
                <a:gd name="connsiteX107" fmla="*/ 9725 w 9809"/>
                <a:gd name="connsiteY107" fmla="*/ 1690 h 10000"/>
                <a:gd name="connsiteX108" fmla="*/ 9770 w 9809"/>
                <a:gd name="connsiteY108" fmla="*/ 1458 h 10000"/>
                <a:gd name="connsiteX109" fmla="*/ 9809 w 9809"/>
                <a:gd name="connsiteY109" fmla="*/ 1222 h 10000"/>
                <a:gd name="connsiteX110" fmla="*/ 6686 w 9809"/>
                <a:gd name="connsiteY110" fmla="*/ 1876 h 10000"/>
                <a:gd name="connsiteX111" fmla="*/ 4078 w 9809"/>
                <a:gd name="connsiteY111" fmla="*/ 0 h 10000"/>
                <a:gd name="connsiteX0" fmla="*/ 3916 w 9759"/>
                <a:gd name="connsiteY0" fmla="*/ 0 h 9995"/>
                <a:gd name="connsiteX1" fmla="*/ 3916 w 9759"/>
                <a:gd name="connsiteY1" fmla="*/ 0 h 9995"/>
                <a:gd name="connsiteX2" fmla="*/ 3905 w 9759"/>
                <a:gd name="connsiteY2" fmla="*/ 99 h 9995"/>
                <a:gd name="connsiteX3" fmla="*/ 3885 w 9759"/>
                <a:gd name="connsiteY3" fmla="*/ 201 h 9995"/>
                <a:gd name="connsiteX4" fmla="*/ 3868 w 9759"/>
                <a:gd name="connsiteY4" fmla="*/ 300 h 9995"/>
                <a:gd name="connsiteX5" fmla="*/ 3847 w 9759"/>
                <a:gd name="connsiteY5" fmla="*/ 394 h 9995"/>
                <a:gd name="connsiteX6" fmla="*/ 3823 w 9759"/>
                <a:gd name="connsiteY6" fmla="*/ 492 h 9995"/>
                <a:gd name="connsiteX7" fmla="*/ 3797 w 9759"/>
                <a:gd name="connsiteY7" fmla="*/ 587 h 9995"/>
                <a:gd name="connsiteX8" fmla="*/ 3774 w 9759"/>
                <a:gd name="connsiteY8" fmla="*/ 683 h 9995"/>
                <a:gd name="connsiteX9" fmla="*/ 3746 w 9759"/>
                <a:gd name="connsiteY9" fmla="*/ 778 h 9995"/>
                <a:gd name="connsiteX10" fmla="*/ 3715 w 9759"/>
                <a:gd name="connsiteY10" fmla="*/ 870 h 9995"/>
                <a:gd name="connsiteX11" fmla="*/ 3681 w 9759"/>
                <a:gd name="connsiteY11" fmla="*/ 961 h 9995"/>
                <a:gd name="connsiteX12" fmla="*/ 3650 w 9759"/>
                <a:gd name="connsiteY12" fmla="*/ 1053 h 9995"/>
                <a:gd name="connsiteX13" fmla="*/ 3613 w 9759"/>
                <a:gd name="connsiteY13" fmla="*/ 1145 h 9995"/>
                <a:gd name="connsiteX14" fmla="*/ 3572 w 9759"/>
                <a:gd name="connsiteY14" fmla="*/ 1232 h 9995"/>
                <a:gd name="connsiteX15" fmla="*/ 3533 w 9759"/>
                <a:gd name="connsiteY15" fmla="*/ 1318 h 9995"/>
                <a:gd name="connsiteX16" fmla="*/ 3493 w 9759"/>
                <a:gd name="connsiteY16" fmla="*/ 1405 h 9995"/>
                <a:gd name="connsiteX17" fmla="*/ 3446 w 9759"/>
                <a:gd name="connsiteY17" fmla="*/ 1495 h 9995"/>
                <a:gd name="connsiteX18" fmla="*/ 3405 w 9759"/>
                <a:gd name="connsiteY18" fmla="*/ 1579 h 9995"/>
                <a:gd name="connsiteX19" fmla="*/ 3358 w 9759"/>
                <a:gd name="connsiteY19" fmla="*/ 1664 h 9995"/>
                <a:gd name="connsiteX20" fmla="*/ 3309 w 9759"/>
                <a:gd name="connsiteY20" fmla="*/ 1741 h 9995"/>
                <a:gd name="connsiteX21" fmla="*/ 3256 w 9759"/>
                <a:gd name="connsiteY21" fmla="*/ 1823 h 9995"/>
                <a:gd name="connsiteX22" fmla="*/ 3209 w 9759"/>
                <a:gd name="connsiteY22" fmla="*/ 1902 h 9995"/>
                <a:gd name="connsiteX23" fmla="*/ 3154 w 9759"/>
                <a:gd name="connsiteY23" fmla="*/ 1986 h 9995"/>
                <a:gd name="connsiteX24" fmla="*/ 3098 w 9759"/>
                <a:gd name="connsiteY24" fmla="*/ 2059 h 9995"/>
                <a:gd name="connsiteX25" fmla="*/ 3039 w 9759"/>
                <a:gd name="connsiteY25" fmla="*/ 2133 h 9995"/>
                <a:gd name="connsiteX26" fmla="*/ 2980 w 9759"/>
                <a:gd name="connsiteY26" fmla="*/ 2210 h 9995"/>
                <a:gd name="connsiteX27" fmla="*/ 2922 w 9759"/>
                <a:gd name="connsiteY27" fmla="*/ 2282 h 9995"/>
                <a:gd name="connsiteX28" fmla="*/ 2859 w 9759"/>
                <a:gd name="connsiteY28" fmla="*/ 2354 h 9995"/>
                <a:gd name="connsiteX29" fmla="*/ 2797 w 9759"/>
                <a:gd name="connsiteY29" fmla="*/ 2427 h 9995"/>
                <a:gd name="connsiteX30" fmla="*/ 2735 w 9759"/>
                <a:gd name="connsiteY30" fmla="*/ 2495 h 9995"/>
                <a:gd name="connsiteX31" fmla="*/ 2666 w 9759"/>
                <a:gd name="connsiteY31" fmla="*/ 2562 h 9995"/>
                <a:gd name="connsiteX32" fmla="*/ 2601 w 9759"/>
                <a:gd name="connsiteY32" fmla="*/ 2627 h 9995"/>
                <a:gd name="connsiteX33" fmla="*/ 2531 w 9759"/>
                <a:gd name="connsiteY33" fmla="*/ 2691 h 9995"/>
                <a:gd name="connsiteX34" fmla="*/ 2465 w 9759"/>
                <a:gd name="connsiteY34" fmla="*/ 2754 h 9995"/>
                <a:gd name="connsiteX35" fmla="*/ 2389 w 9759"/>
                <a:gd name="connsiteY35" fmla="*/ 2818 h 9995"/>
                <a:gd name="connsiteX36" fmla="*/ 2319 w 9759"/>
                <a:gd name="connsiteY36" fmla="*/ 2873 h 9995"/>
                <a:gd name="connsiteX37" fmla="*/ 2245 w 9759"/>
                <a:gd name="connsiteY37" fmla="*/ 2934 h 9995"/>
                <a:gd name="connsiteX38" fmla="*/ 2169 w 9759"/>
                <a:gd name="connsiteY38" fmla="*/ 2989 h 9995"/>
                <a:gd name="connsiteX39" fmla="*/ 2092 w 9759"/>
                <a:gd name="connsiteY39" fmla="*/ 3042 h 9995"/>
                <a:gd name="connsiteX40" fmla="*/ 2015 w 9759"/>
                <a:gd name="connsiteY40" fmla="*/ 3097 h 9995"/>
                <a:gd name="connsiteX41" fmla="*/ 1939 w 9759"/>
                <a:gd name="connsiteY41" fmla="*/ 3149 h 9995"/>
                <a:gd name="connsiteX42" fmla="*/ 1858 w 9759"/>
                <a:gd name="connsiteY42" fmla="*/ 3196 h 9995"/>
                <a:gd name="connsiteX43" fmla="*/ 1776 w 9759"/>
                <a:gd name="connsiteY43" fmla="*/ 3243 h 9995"/>
                <a:gd name="connsiteX44" fmla="*/ 1926 w 9759"/>
                <a:gd name="connsiteY44" fmla="*/ 6578 h 9995"/>
                <a:gd name="connsiteX45" fmla="*/ 0 w 9759"/>
                <a:gd name="connsiteY45" fmla="*/ 9995 h 9995"/>
                <a:gd name="connsiteX46" fmla="*/ 230 w 9759"/>
                <a:gd name="connsiteY46" fmla="*/ 9989 h 9995"/>
                <a:gd name="connsiteX47" fmla="*/ 462 w 9759"/>
                <a:gd name="connsiteY47" fmla="*/ 9976 h 9995"/>
                <a:gd name="connsiteX48" fmla="*/ 690 w 9759"/>
                <a:gd name="connsiteY48" fmla="*/ 9954 h 9995"/>
                <a:gd name="connsiteX49" fmla="*/ 919 w 9759"/>
                <a:gd name="connsiteY49" fmla="*/ 9932 h 9995"/>
                <a:gd name="connsiteX50" fmla="*/ 1148 w 9759"/>
                <a:gd name="connsiteY50" fmla="*/ 9899 h 9995"/>
                <a:gd name="connsiteX51" fmla="*/ 1373 w 9759"/>
                <a:gd name="connsiteY51" fmla="*/ 9866 h 9995"/>
                <a:gd name="connsiteX52" fmla="*/ 1599 w 9759"/>
                <a:gd name="connsiteY52" fmla="*/ 9825 h 9995"/>
                <a:gd name="connsiteX53" fmla="*/ 1817 w 9759"/>
                <a:gd name="connsiteY53" fmla="*/ 9779 h 9995"/>
                <a:gd name="connsiteX54" fmla="*/ 2045 w 9759"/>
                <a:gd name="connsiteY54" fmla="*/ 9732 h 9995"/>
                <a:gd name="connsiteX55" fmla="*/ 2258 w 9759"/>
                <a:gd name="connsiteY55" fmla="*/ 9674 h 9995"/>
                <a:gd name="connsiteX56" fmla="*/ 2476 w 9759"/>
                <a:gd name="connsiteY56" fmla="*/ 9617 h 9995"/>
                <a:gd name="connsiteX57" fmla="*/ 2692 w 9759"/>
                <a:gd name="connsiteY57" fmla="*/ 9554 h 9995"/>
                <a:gd name="connsiteX58" fmla="*/ 2905 w 9759"/>
                <a:gd name="connsiteY58" fmla="*/ 9483 h 9995"/>
                <a:gd name="connsiteX59" fmla="*/ 3112 w 9759"/>
                <a:gd name="connsiteY59" fmla="*/ 9406 h 9995"/>
                <a:gd name="connsiteX60" fmla="*/ 3320 w 9759"/>
                <a:gd name="connsiteY60" fmla="*/ 9331 h 9995"/>
                <a:gd name="connsiteX61" fmla="*/ 3530 w 9759"/>
                <a:gd name="connsiteY61" fmla="*/ 9245 h 9995"/>
                <a:gd name="connsiteX62" fmla="*/ 3737 w 9759"/>
                <a:gd name="connsiteY62" fmla="*/ 9160 h 9995"/>
                <a:gd name="connsiteX63" fmla="*/ 3936 w 9759"/>
                <a:gd name="connsiteY63" fmla="*/ 9064 h 9995"/>
                <a:gd name="connsiteX64" fmla="*/ 4135 w 9759"/>
                <a:gd name="connsiteY64" fmla="*/ 8968 h 9995"/>
                <a:gd name="connsiteX65" fmla="*/ 4336 w 9759"/>
                <a:gd name="connsiteY65" fmla="*/ 8865 h 9995"/>
                <a:gd name="connsiteX66" fmla="*/ 4529 w 9759"/>
                <a:gd name="connsiteY66" fmla="*/ 8760 h 9995"/>
                <a:gd name="connsiteX67" fmla="*/ 4722 w 9759"/>
                <a:gd name="connsiteY67" fmla="*/ 8652 h 9995"/>
                <a:gd name="connsiteX68" fmla="*/ 4915 w 9759"/>
                <a:gd name="connsiteY68" fmla="*/ 8536 h 9995"/>
                <a:gd name="connsiteX69" fmla="*/ 5102 w 9759"/>
                <a:gd name="connsiteY69" fmla="*/ 8419 h 9995"/>
                <a:gd name="connsiteX70" fmla="*/ 5286 w 9759"/>
                <a:gd name="connsiteY70" fmla="*/ 8295 h 9995"/>
                <a:gd name="connsiteX71" fmla="*/ 5470 w 9759"/>
                <a:gd name="connsiteY71" fmla="*/ 8169 h 9995"/>
                <a:gd name="connsiteX72" fmla="*/ 5644 w 9759"/>
                <a:gd name="connsiteY72" fmla="*/ 8040 h 9995"/>
                <a:gd name="connsiteX73" fmla="*/ 5820 w 9759"/>
                <a:gd name="connsiteY73" fmla="*/ 7904 h 9995"/>
                <a:gd name="connsiteX74" fmla="*/ 5995 w 9759"/>
                <a:gd name="connsiteY74" fmla="*/ 7768 h 9995"/>
                <a:gd name="connsiteX75" fmla="*/ 6164 w 9759"/>
                <a:gd name="connsiteY75" fmla="*/ 7625 h 9995"/>
                <a:gd name="connsiteX76" fmla="*/ 6333 w 9759"/>
                <a:gd name="connsiteY76" fmla="*/ 7480 h 9995"/>
                <a:gd name="connsiteX77" fmla="*/ 6496 w 9759"/>
                <a:gd name="connsiteY77" fmla="*/ 7329 h 9995"/>
                <a:gd name="connsiteX78" fmla="*/ 6658 w 9759"/>
                <a:gd name="connsiteY78" fmla="*/ 7179 h 9995"/>
                <a:gd name="connsiteX79" fmla="*/ 6814 w 9759"/>
                <a:gd name="connsiteY79" fmla="*/ 7025 h 9995"/>
                <a:gd name="connsiteX80" fmla="*/ 6972 w 9759"/>
                <a:gd name="connsiteY80" fmla="*/ 6862 h 9995"/>
                <a:gd name="connsiteX81" fmla="*/ 7123 w 9759"/>
                <a:gd name="connsiteY81" fmla="*/ 6697 h 9995"/>
                <a:gd name="connsiteX82" fmla="*/ 7270 w 9759"/>
                <a:gd name="connsiteY82" fmla="*/ 6535 h 9995"/>
                <a:gd name="connsiteX83" fmla="*/ 7415 w 9759"/>
                <a:gd name="connsiteY83" fmla="*/ 6364 h 9995"/>
                <a:gd name="connsiteX84" fmla="*/ 7556 w 9759"/>
                <a:gd name="connsiteY84" fmla="*/ 6189 h 9995"/>
                <a:gd name="connsiteX85" fmla="*/ 7695 w 9759"/>
                <a:gd name="connsiteY85" fmla="*/ 6016 h 9995"/>
                <a:gd name="connsiteX86" fmla="*/ 7829 w 9759"/>
                <a:gd name="connsiteY86" fmla="*/ 5836 h 9995"/>
                <a:gd name="connsiteX87" fmla="*/ 7963 w 9759"/>
                <a:gd name="connsiteY87" fmla="*/ 5653 h 9995"/>
                <a:gd name="connsiteX88" fmla="*/ 8085 w 9759"/>
                <a:gd name="connsiteY88" fmla="*/ 5468 h 9995"/>
                <a:gd name="connsiteX89" fmla="*/ 8207 w 9759"/>
                <a:gd name="connsiteY89" fmla="*/ 5278 h 9995"/>
                <a:gd name="connsiteX90" fmla="*/ 8330 w 9759"/>
                <a:gd name="connsiteY90" fmla="*/ 5090 h 9995"/>
                <a:gd name="connsiteX91" fmla="*/ 8445 w 9759"/>
                <a:gd name="connsiteY91" fmla="*/ 4893 h 9995"/>
                <a:gd name="connsiteX92" fmla="*/ 8556 w 9759"/>
                <a:gd name="connsiteY92" fmla="*/ 4700 h 9995"/>
                <a:gd name="connsiteX93" fmla="*/ 8665 w 9759"/>
                <a:gd name="connsiteY93" fmla="*/ 4500 h 9995"/>
                <a:gd name="connsiteX94" fmla="*/ 8765 w 9759"/>
                <a:gd name="connsiteY94" fmla="*/ 4294 h 9995"/>
                <a:gd name="connsiteX95" fmla="*/ 8864 w 9759"/>
                <a:gd name="connsiteY95" fmla="*/ 4090 h 9995"/>
                <a:gd name="connsiteX96" fmla="*/ 8963 w 9759"/>
                <a:gd name="connsiteY96" fmla="*/ 3885 h 9995"/>
                <a:gd name="connsiteX97" fmla="*/ 9055 w 9759"/>
                <a:gd name="connsiteY97" fmla="*/ 3674 h 9995"/>
                <a:gd name="connsiteX98" fmla="*/ 9138 w 9759"/>
                <a:gd name="connsiteY98" fmla="*/ 3464 h 9995"/>
                <a:gd name="connsiteX99" fmla="*/ 9224 w 9759"/>
                <a:gd name="connsiteY99" fmla="*/ 3248 h 9995"/>
                <a:gd name="connsiteX100" fmla="*/ 9300 w 9759"/>
                <a:gd name="connsiteY100" fmla="*/ 3030 h 9995"/>
                <a:gd name="connsiteX101" fmla="*/ 9375 w 9759"/>
                <a:gd name="connsiteY101" fmla="*/ 2816 h 9995"/>
                <a:gd name="connsiteX102" fmla="*/ 9444 w 9759"/>
                <a:gd name="connsiteY102" fmla="*/ 2593 h 9995"/>
                <a:gd name="connsiteX103" fmla="*/ 9507 w 9759"/>
                <a:gd name="connsiteY103" fmla="*/ 2369 h 9995"/>
                <a:gd name="connsiteX104" fmla="*/ 9567 w 9759"/>
                <a:gd name="connsiteY104" fmla="*/ 2143 h 9995"/>
                <a:gd name="connsiteX105" fmla="*/ 9624 w 9759"/>
                <a:gd name="connsiteY105" fmla="*/ 1918 h 9995"/>
                <a:gd name="connsiteX106" fmla="*/ 9673 w 9759"/>
                <a:gd name="connsiteY106" fmla="*/ 1690 h 9995"/>
                <a:gd name="connsiteX107" fmla="*/ 9719 w 9759"/>
                <a:gd name="connsiteY107" fmla="*/ 1458 h 9995"/>
                <a:gd name="connsiteX108" fmla="*/ 9759 w 9759"/>
                <a:gd name="connsiteY108" fmla="*/ 1222 h 9995"/>
                <a:gd name="connsiteX109" fmla="*/ 6575 w 9759"/>
                <a:gd name="connsiteY109" fmla="*/ 1876 h 9995"/>
                <a:gd name="connsiteX110" fmla="*/ 3916 w 9759"/>
                <a:gd name="connsiteY110" fmla="*/ 0 h 9995"/>
                <a:gd name="connsiteX0" fmla="*/ 3777 w 9764"/>
                <a:gd name="connsiteY0" fmla="*/ 0 h 9994"/>
                <a:gd name="connsiteX1" fmla="*/ 3777 w 9764"/>
                <a:gd name="connsiteY1" fmla="*/ 0 h 9994"/>
                <a:gd name="connsiteX2" fmla="*/ 3765 w 9764"/>
                <a:gd name="connsiteY2" fmla="*/ 99 h 9994"/>
                <a:gd name="connsiteX3" fmla="*/ 3745 w 9764"/>
                <a:gd name="connsiteY3" fmla="*/ 201 h 9994"/>
                <a:gd name="connsiteX4" fmla="*/ 3728 w 9764"/>
                <a:gd name="connsiteY4" fmla="*/ 300 h 9994"/>
                <a:gd name="connsiteX5" fmla="*/ 3706 w 9764"/>
                <a:gd name="connsiteY5" fmla="*/ 394 h 9994"/>
                <a:gd name="connsiteX6" fmla="*/ 3681 w 9764"/>
                <a:gd name="connsiteY6" fmla="*/ 492 h 9994"/>
                <a:gd name="connsiteX7" fmla="*/ 3655 w 9764"/>
                <a:gd name="connsiteY7" fmla="*/ 587 h 9994"/>
                <a:gd name="connsiteX8" fmla="*/ 3631 w 9764"/>
                <a:gd name="connsiteY8" fmla="*/ 683 h 9994"/>
                <a:gd name="connsiteX9" fmla="*/ 3603 w 9764"/>
                <a:gd name="connsiteY9" fmla="*/ 778 h 9994"/>
                <a:gd name="connsiteX10" fmla="*/ 3571 w 9764"/>
                <a:gd name="connsiteY10" fmla="*/ 870 h 9994"/>
                <a:gd name="connsiteX11" fmla="*/ 3536 w 9764"/>
                <a:gd name="connsiteY11" fmla="*/ 961 h 9994"/>
                <a:gd name="connsiteX12" fmla="*/ 3504 w 9764"/>
                <a:gd name="connsiteY12" fmla="*/ 1054 h 9994"/>
                <a:gd name="connsiteX13" fmla="*/ 3466 w 9764"/>
                <a:gd name="connsiteY13" fmla="*/ 1146 h 9994"/>
                <a:gd name="connsiteX14" fmla="*/ 3424 w 9764"/>
                <a:gd name="connsiteY14" fmla="*/ 1233 h 9994"/>
                <a:gd name="connsiteX15" fmla="*/ 3384 w 9764"/>
                <a:gd name="connsiteY15" fmla="*/ 1319 h 9994"/>
                <a:gd name="connsiteX16" fmla="*/ 3343 w 9764"/>
                <a:gd name="connsiteY16" fmla="*/ 1406 h 9994"/>
                <a:gd name="connsiteX17" fmla="*/ 3295 w 9764"/>
                <a:gd name="connsiteY17" fmla="*/ 1496 h 9994"/>
                <a:gd name="connsiteX18" fmla="*/ 3253 w 9764"/>
                <a:gd name="connsiteY18" fmla="*/ 1580 h 9994"/>
                <a:gd name="connsiteX19" fmla="*/ 3205 w 9764"/>
                <a:gd name="connsiteY19" fmla="*/ 1665 h 9994"/>
                <a:gd name="connsiteX20" fmla="*/ 3155 w 9764"/>
                <a:gd name="connsiteY20" fmla="*/ 1742 h 9994"/>
                <a:gd name="connsiteX21" fmla="*/ 3100 w 9764"/>
                <a:gd name="connsiteY21" fmla="*/ 1824 h 9994"/>
                <a:gd name="connsiteX22" fmla="*/ 3052 w 9764"/>
                <a:gd name="connsiteY22" fmla="*/ 1903 h 9994"/>
                <a:gd name="connsiteX23" fmla="*/ 2996 w 9764"/>
                <a:gd name="connsiteY23" fmla="*/ 1987 h 9994"/>
                <a:gd name="connsiteX24" fmla="*/ 2939 w 9764"/>
                <a:gd name="connsiteY24" fmla="*/ 2060 h 9994"/>
                <a:gd name="connsiteX25" fmla="*/ 2878 w 9764"/>
                <a:gd name="connsiteY25" fmla="*/ 2134 h 9994"/>
                <a:gd name="connsiteX26" fmla="*/ 2818 w 9764"/>
                <a:gd name="connsiteY26" fmla="*/ 2211 h 9994"/>
                <a:gd name="connsiteX27" fmla="*/ 2758 w 9764"/>
                <a:gd name="connsiteY27" fmla="*/ 2283 h 9994"/>
                <a:gd name="connsiteX28" fmla="*/ 2694 w 9764"/>
                <a:gd name="connsiteY28" fmla="*/ 2355 h 9994"/>
                <a:gd name="connsiteX29" fmla="*/ 2630 w 9764"/>
                <a:gd name="connsiteY29" fmla="*/ 2428 h 9994"/>
                <a:gd name="connsiteX30" fmla="*/ 2567 w 9764"/>
                <a:gd name="connsiteY30" fmla="*/ 2496 h 9994"/>
                <a:gd name="connsiteX31" fmla="*/ 2496 w 9764"/>
                <a:gd name="connsiteY31" fmla="*/ 2563 h 9994"/>
                <a:gd name="connsiteX32" fmla="*/ 2429 w 9764"/>
                <a:gd name="connsiteY32" fmla="*/ 2628 h 9994"/>
                <a:gd name="connsiteX33" fmla="*/ 2358 w 9764"/>
                <a:gd name="connsiteY33" fmla="*/ 2692 h 9994"/>
                <a:gd name="connsiteX34" fmla="*/ 2290 w 9764"/>
                <a:gd name="connsiteY34" fmla="*/ 2755 h 9994"/>
                <a:gd name="connsiteX35" fmla="*/ 2212 w 9764"/>
                <a:gd name="connsiteY35" fmla="*/ 2819 h 9994"/>
                <a:gd name="connsiteX36" fmla="*/ 2140 w 9764"/>
                <a:gd name="connsiteY36" fmla="*/ 2874 h 9994"/>
                <a:gd name="connsiteX37" fmla="*/ 2064 w 9764"/>
                <a:gd name="connsiteY37" fmla="*/ 2935 h 9994"/>
                <a:gd name="connsiteX38" fmla="*/ 1987 w 9764"/>
                <a:gd name="connsiteY38" fmla="*/ 2990 h 9994"/>
                <a:gd name="connsiteX39" fmla="*/ 1908 w 9764"/>
                <a:gd name="connsiteY39" fmla="*/ 3044 h 9994"/>
                <a:gd name="connsiteX40" fmla="*/ 1829 w 9764"/>
                <a:gd name="connsiteY40" fmla="*/ 3099 h 9994"/>
                <a:gd name="connsiteX41" fmla="*/ 1751 w 9764"/>
                <a:gd name="connsiteY41" fmla="*/ 3151 h 9994"/>
                <a:gd name="connsiteX42" fmla="*/ 1668 w 9764"/>
                <a:gd name="connsiteY42" fmla="*/ 3198 h 9994"/>
                <a:gd name="connsiteX43" fmla="*/ 1584 w 9764"/>
                <a:gd name="connsiteY43" fmla="*/ 3245 h 9994"/>
                <a:gd name="connsiteX44" fmla="*/ 1738 w 9764"/>
                <a:gd name="connsiteY44" fmla="*/ 6581 h 9994"/>
                <a:gd name="connsiteX45" fmla="*/ 0 w 9764"/>
                <a:gd name="connsiteY45" fmla="*/ 9994 h 9994"/>
                <a:gd name="connsiteX46" fmla="*/ 237 w 9764"/>
                <a:gd name="connsiteY46" fmla="*/ 9981 h 9994"/>
                <a:gd name="connsiteX47" fmla="*/ 471 w 9764"/>
                <a:gd name="connsiteY47" fmla="*/ 9959 h 9994"/>
                <a:gd name="connsiteX48" fmla="*/ 706 w 9764"/>
                <a:gd name="connsiteY48" fmla="*/ 9937 h 9994"/>
                <a:gd name="connsiteX49" fmla="*/ 940 w 9764"/>
                <a:gd name="connsiteY49" fmla="*/ 9904 h 9994"/>
                <a:gd name="connsiteX50" fmla="*/ 1171 w 9764"/>
                <a:gd name="connsiteY50" fmla="*/ 9871 h 9994"/>
                <a:gd name="connsiteX51" fmla="*/ 1402 w 9764"/>
                <a:gd name="connsiteY51" fmla="*/ 9830 h 9994"/>
                <a:gd name="connsiteX52" fmla="*/ 1626 w 9764"/>
                <a:gd name="connsiteY52" fmla="*/ 9784 h 9994"/>
                <a:gd name="connsiteX53" fmla="*/ 1860 w 9764"/>
                <a:gd name="connsiteY53" fmla="*/ 9737 h 9994"/>
                <a:gd name="connsiteX54" fmla="*/ 2078 w 9764"/>
                <a:gd name="connsiteY54" fmla="*/ 9679 h 9994"/>
                <a:gd name="connsiteX55" fmla="*/ 2301 w 9764"/>
                <a:gd name="connsiteY55" fmla="*/ 9622 h 9994"/>
                <a:gd name="connsiteX56" fmla="*/ 2522 w 9764"/>
                <a:gd name="connsiteY56" fmla="*/ 9559 h 9994"/>
                <a:gd name="connsiteX57" fmla="*/ 2741 w 9764"/>
                <a:gd name="connsiteY57" fmla="*/ 9488 h 9994"/>
                <a:gd name="connsiteX58" fmla="*/ 2953 w 9764"/>
                <a:gd name="connsiteY58" fmla="*/ 9411 h 9994"/>
                <a:gd name="connsiteX59" fmla="*/ 3166 w 9764"/>
                <a:gd name="connsiteY59" fmla="*/ 9336 h 9994"/>
                <a:gd name="connsiteX60" fmla="*/ 3381 w 9764"/>
                <a:gd name="connsiteY60" fmla="*/ 9250 h 9994"/>
                <a:gd name="connsiteX61" fmla="*/ 3593 w 9764"/>
                <a:gd name="connsiteY61" fmla="*/ 9165 h 9994"/>
                <a:gd name="connsiteX62" fmla="*/ 3797 w 9764"/>
                <a:gd name="connsiteY62" fmla="*/ 9069 h 9994"/>
                <a:gd name="connsiteX63" fmla="*/ 4001 w 9764"/>
                <a:gd name="connsiteY63" fmla="*/ 8972 h 9994"/>
                <a:gd name="connsiteX64" fmla="*/ 4207 w 9764"/>
                <a:gd name="connsiteY64" fmla="*/ 8869 h 9994"/>
                <a:gd name="connsiteX65" fmla="*/ 4405 w 9764"/>
                <a:gd name="connsiteY65" fmla="*/ 8764 h 9994"/>
                <a:gd name="connsiteX66" fmla="*/ 4603 w 9764"/>
                <a:gd name="connsiteY66" fmla="*/ 8656 h 9994"/>
                <a:gd name="connsiteX67" fmla="*/ 4800 w 9764"/>
                <a:gd name="connsiteY67" fmla="*/ 8540 h 9994"/>
                <a:gd name="connsiteX68" fmla="*/ 4992 w 9764"/>
                <a:gd name="connsiteY68" fmla="*/ 8423 h 9994"/>
                <a:gd name="connsiteX69" fmla="*/ 5181 w 9764"/>
                <a:gd name="connsiteY69" fmla="*/ 8299 h 9994"/>
                <a:gd name="connsiteX70" fmla="*/ 5369 w 9764"/>
                <a:gd name="connsiteY70" fmla="*/ 8173 h 9994"/>
                <a:gd name="connsiteX71" fmla="*/ 5547 w 9764"/>
                <a:gd name="connsiteY71" fmla="*/ 8044 h 9994"/>
                <a:gd name="connsiteX72" fmla="*/ 5728 w 9764"/>
                <a:gd name="connsiteY72" fmla="*/ 7908 h 9994"/>
                <a:gd name="connsiteX73" fmla="*/ 5907 w 9764"/>
                <a:gd name="connsiteY73" fmla="*/ 7772 h 9994"/>
                <a:gd name="connsiteX74" fmla="*/ 6080 w 9764"/>
                <a:gd name="connsiteY74" fmla="*/ 7629 h 9994"/>
                <a:gd name="connsiteX75" fmla="*/ 6253 w 9764"/>
                <a:gd name="connsiteY75" fmla="*/ 7484 h 9994"/>
                <a:gd name="connsiteX76" fmla="*/ 6420 w 9764"/>
                <a:gd name="connsiteY76" fmla="*/ 7333 h 9994"/>
                <a:gd name="connsiteX77" fmla="*/ 6586 w 9764"/>
                <a:gd name="connsiteY77" fmla="*/ 7183 h 9994"/>
                <a:gd name="connsiteX78" fmla="*/ 6746 w 9764"/>
                <a:gd name="connsiteY78" fmla="*/ 7029 h 9994"/>
                <a:gd name="connsiteX79" fmla="*/ 6908 w 9764"/>
                <a:gd name="connsiteY79" fmla="*/ 6865 h 9994"/>
                <a:gd name="connsiteX80" fmla="*/ 7063 w 9764"/>
                <a:gd name="connsiteY80" fmla="*/ 6700 h 9994"/>
                <a:gd name="connsiteX81" fmla="*/ 7214 w 9764"/>
                <a:gd name="connsiteY81" fmla="*/ 6538 h 9994"/>
                <a:gd name="connsiteX82" fmla="*/ 7362 w 9764"/>
                <a:gd name="connsiteY82" fmla="*/ 6367 h 9994"/>
                <a:gd name="connsiteX83" fmla="*/ 7507 w 9764"/>
                <a:gd name="connsiteY83" fmla="*/ 6192 h 9994"/>
                <a:gd name="connsiteX84" fmla="*/ 7649 w 9764"/>
                <a:gd name="connsiteY84" fmla="*/ 6019 h 9994"/>
                <a:gd name="connsiteX85" fmla="*/ 7786 w 9764"/>
                <a:gd name="connsiteY85" fmla="*/ 5839 h 9994"/>
                <a:gd name="connsiteX86" fmla="*/ 7924 w 9764"/>
                <a:gd name="connsiteY86" fmla="*/ 5656 h 9994"/>
                <a:gd name="connsiteX87" fmla="*/ 8049 w 9764"/>
                <a:gd name="connsiteY87" fmla="*/ 5471 h 9994"/>
                <a:gd name="connsiteX88" fmla="*/ 8174 w 9764"/>
                <a:gd name="connsiteY88" fmla="*/ 5281 h 9994"/>
                <a:gd name="connsiteX89" fmla="*/ 8300 w 9764"/>
                <a:gd name="connsiteY89" fmla="*/ 5093 h 9994"/>
                <a:gd name="connsiteX90" fmla="*/ 8418 w 9764"/>
                <a:gd name="connsiteY90" fmla="*/ 4895 h 9994"/>
                <a:gd name="connsiteX91" fmla="*/ 8531 w 9764"/>
                <a:gd name="connsiteY91" fmla="*/ 4702 h 9994"/>
                <a:gd name="connsiteX92" fmla="*/ 8643 w 9764"/>
                <a:gd name="connsiteY92" fmla="*/ 4502 h 9994"/>
                <a:gd name="connsiteX93" fmla="*/ 8745 w 9764"/>
                <a:gd name="connsiteY93" fmla="*/ 4296 h 9994"/>
                <a:gd name="connsiteX94" fmla="*/ 8847 w 9764"/>
                <a:gd name="connsiteY94" fmla="*/ 4092 h 9994"/>
                <a:gd name="connsiteX95" fmla="*/ 8948 w 9764"/>
                <a:gd name="connsiteY95" fmla="*/ 3887 h 9994"/>
                <a:gd name="connsiteX96" fmla="*/ 9043 w 9764"/>
                <a:gd name="connsiteY96" fmla="*/ 3676 h 9994"/>
                <a:gd name="connsiteX97" fmla="*/ 9128 w 9764"/>
                <a:gd name="connsiteY97" fmla="*/ 3466 h 9994"/>
                <a:gd name="connsiteX98" fmla="*/ 9216 w 9764"/>
                <a:gd name="connsiteY98" fmla="*/ 3250 h 9994"/>
                <a:gd name="connsiteX99" fmla="*/ 9294 w 9764"/>
                <a:gd name="connsiteY99" fmla="*/ 3032 h 9994"/>
                <a:gd name="connsiteX100" fmla="*/ 9371 w 9764"/>
                <a:gd name="connsiteY100" fmla="*/ 2817 h 9994"/>
                <a:gd name="connsiteX101" fmla="*/ 9441 w 9764"/>
                <a:gd name="connsiteY101" fmla="*/ 2594 h 9994"/>
                <a:gd name="connsiteX102" fmla="*/ 9506 w 9764"/>
                <a:gd name="connsiteY102" fmla="*/ 2370 h 9994"/>
                <a:gd name="connsiteX103" fmla="*/ 9567 w 9764"/>
                <a:gd name="connsiteY103" fmla="*/ 2144 h 9994"/>
                <a:gd name="connsiteX104" fmla="*/ 9626 w 9764"/>
                <a:gd name="connsiteY104" fmla="*/ 1919 h 9994"/>
                <a:gd name="connsiteX105" fmla="*/ 9676 w 9764"/>
                <a:gd name="connsiteY105" fmla="*/ 1691 h 9994"/>
                <a:gd name="connsiteX106" fmla="*/ 9723 w 9764"/>
                <a:gd name="connsiteY106" fmla="*/ 1459 h 9994"/>
                <a:gd name="connsiteX107" fmla="*/ 9764 w 9764"/>
                <a:gd name="connsiteY107" fmla="*/ 1223 h 9994"/>
                <a:gd name="connsiteX108" fmla="*/ 6501 w 9764"/>
                <a:gd name="connsiteY108" fmla="*/ 1877 h 9994"/>
                <a:gd name="connsiteX109" fmla="*/ 3777 w 9764"/>
                <a:gd name="connsiteY109" fmla="*/ 0 h 9994"/>
                <a:gd name="connsiteX0" fmla="*/ 3692 w 9824"/>
                <a:gd name="connsiteY0" fmla="*/ 0 h 10233"/>
                <a:gd name="connsiteX1" fmla="*/ 3692 w 9824"/>
                <a:gd name="connsiteY1" fmla="*/ 0 h 10233"/>
                <a:gd name="connsiteX2" fmla="*/ 3680 w 9824"/>
                <a:gd name="connsiteY2" fmla="*/ 99 h 10233"/>
                <a:gd name="connsiteX3" fmla="*/ 3660 w 9824"/>
                <a:gd name="connsiteY3" fmla="*/ 201 h 10233"/>
                <a:gd name="connsiteX4" fmla="*/ 3642 w 9824"/>
                <a:gd name="connsiteY4" fmla="*/ 300 h 10233"/>
                <a:gd name="connsiteX5" fmla="*/ 3620 w 9824"/>
                <a:gd name="connsiteY5" fmla="*/ 394 h 10233"/>
                <a:gd name="connsiteX6" fmla="*/ 3594 w 9824"/>
                <a:gd name="connsiteY6" fmla="*/ 492 h 10233"/>
                <a:gd name="connsiteX7" fmla="*/ 3567 w 9824"/>
                <a:gd name="connsiteY7" fmla="*/ 587 h 10233"/>
                <a:gd name="connsiteX8" fmla="*/ 3543 w 9824"/>
                <a:gd name="connsiteY8" fmla="*/ 683 h 10233"/>
                <a:gd name="connsiteX9" fmla="*/ 3514 w 9824"/>
                <a:gd name="connsiteY9" fmla="*/ 778 h 10233"/>
                <a:gd name="connsiteX10" fmla="*/ 3481 w 9824"/>
                <a:gd name="connsiteY10" fmla="*/ 871 h 10233"/>
                <a:gd name="connsiteX11" fmla="*/ 3445 w 9824"/>
                <a:gd name="connsiteY11" fmla="*/ 962 h 10233"/>
                <a:gd name="connsiteX12" fmla="*/ 3413 w 9824"/>
                <a:gd name="connsiteY12" fmla="*/ 1055 h 10233"/>
                <a:gd name="connsiteX13" fmla="*/ 3374 w 9824"/>
                <a:gd name="connsiteY13" fmla="*/ 1147 h 10233"/>
                <a:gd name="connsiteX14" fmla="*/ 3331 w 9824"/>
                <a:gd name="connsiteY14" fmla="*/ 1234 h 10233"/>
                <a:gd name="connsiteX15" fmla="*/ 3290 w 9824"/>
                <a:gd name="connsiteY15" fmla="*/ 1320 h 10233"/>
                <a:gd name="connsiteX16" fmla="*/ 3248 w 9824"/>
                <a:gd name="connsiteY16" fmla="*/ 1407 h 10233"/>
                <a:gd name="connsiteX17" fmla="*/ 3199 w 9824"/>
                <a:gd name="connsiteY17" fmla="*/ 1497 h 10233"/>
                <a:gd name="connsiteX18" fmla="*/ 3156 w 9824"/>
                <a:gd name="connsiteY18" fmla="*/ 1581 h 10233"/>
                <a:gd name="connsiteX19" fmla="*/ 3106 w 9824"/>
                <a:gd name="connsiteY19" fmla="*/ 1666 h 10233"/>
                <a:gd name="connsiteX20" fmla="*/ 3055 w 9824"/>
                <a:gd name="connsiteY20" fmla="*/ 1743 h 10233"/>
                <a:gd name="connsiteX21" fmla="*/ 2999 w 9824"/>
                <a:gd name="connsiteY21" fmla="*/ 1825 h 10233"/>
                <a:gd name="connsiteX22" fmla="*/ 2950 w 9824"/>
                <a:gd name="connsiteY22" fmla="*/ 1904 h 10233"/>
                <a:gd name="connsiteX23" fmla="*/ 2892 w 9824"/>
                <a:gd name="connsiteY23" fmla="*/ 1988 h 10233"/>
                <a:gd name="connsiteX24" fmla="*/ 2834 w 9824"/>
                <a:gd name="connsiteY24" fmla="*/ 2061 h 10233"/>
                <a:gd name="connsiteX25" fmla="*/ 2772 w 9824"/>
                <a:gd name="connsiteY25" fmla="*/ 2135 h 10233"/>
                <a:gd name="connsiteX26" fmla="*/ 2710 w 9824"/>
                <a:gd name="connsiteY26" fmla="*/ 2212 h 10233"/>
                <a:gd name="connsiteX27" fmla="*/ 2649 w 9824"/>
                <a:gd name="connsiteY27" fmla="*/ 2284 h 10233"/>
                <a:gd name="connsiteX28" fmla="*/ 2583 w 9824"/>
                <a:gd name="connsiteY28" fmla="*/ 2356 h 10233"/>
                <a:gd name="connsiteX29" fmla="*/ 2518 w 9824"/>
                <a:gd name="connsiteY29" fmla="*/ 2429 h 10233"/>
                <a:gd name="connsiteX30" fmla="*/ 2453 w 9824"/>
                <a:gd name="connsiteY30" fmla="*/ 2497 h 10233"/>
                <a:gd name="connsiteX31" fmla="*/ 2380 w 9824"/>
                <a:gd name="connsiteY31" fmla="*/ 2565 h 10233"/>
                <a:gd name="connsiteX32" fmla="*/ 2312 w 9824"/>
                <a:gd name="connsiteY32" fmla="*/ 2630 h 10233"/>
                <a:gd name="connsiteX33" fmla="*/ 2239 w 9824"/>
                <a:gd name="connsiteY33" fmla="*/ 2694 h 10233"/>
                <a:gd name="connsiteX34" fmla="*/ 2169 w 9824"/>
                <a:gd name="connsiteY34" fmla="*/ 2757 h 10233"/>
                <a:gd name="connsiteX35" fmla="*/ 2089 w 9824"/>
                <a:gd name="connsiteY35" fmla="*/ 2821 h 10233"/>
                <a:gd name="connsiteX36" fmla="*/ 2016 w 9824"/>
                <a:gd name="connsiteY36" fmla="*/ 2876 h 10233"/>
                <a:gd name="connsiteX37" fmla="*/ 1938 w 9824"/>
                <a:gd name="connsiteY37" fmla="*/ 2937 h 10233"/>
                <a:gd name="connsiteX38" fmla="*/ 1859 w 9824"/>
                <a:gd name="connsiteY38" fmla="*/ 2992 h 10233"/>
                <a:gd name="connsiteX39" fmla="*/ 1778 w 9824"/>
                <a:gd name="connsiteY39" fmla="*/ 3046 h 10233"/>
                <a:gd name="connsiteX40" fmla="*/ 1697 w 9824"/>
                <a:gd name="connsiteY40" fmla="*/ 3101 h 10233"/>
                <a:gd name="connsiteX41" fmla="*/ 1617 w 9824"/>
                <a:gd name="connsiteY41" fmla="*/ 3153 h 10233"/>
                <a:gd name="connsiteX42" fmla="*/ 1532 w 9824"/>
                <a:gd name="connsiteY42" fmla="*/ 3200 h 10233"/>
                <a:gd name="connsiteX43" fmla="*/ 1446 w 9824"/>
                <a:gd name="connsiteY43" fmla="*/ 3247 h 10233"/>
                <a:gd name="connsiteX44" fmla="*/ 1604 w 9824"/>
                <a:gd name="connsiteY44" fmla="*/ 6585 h 10233"/>
                <a:gd name="connsiteX45" fmla="*/ 67 w 9824"/>
                <a:gd name="connsiteY45" fmla="*/ 9987 h 10233"/>
                <a:gd name="connsiteX46" fmla="*/ 306 w 9824"/>
                <a:gd name="connsiteY46" fmla="*/ 9965 h 10233"/>
                <a:gd name="connsiteX47" fmla="*/ 547 w 9824"/>
                <a:gd name="connsiteY47" fmla="*/ 9943 h 10233"/>
                <a:gd name="connsiteX48" fmla="*/ 787 w 9824"/>
                <a:gd name="connsiteY48" fmla="*/ 9910 h 10233"/>
                <a:gd name="connsiteX49" fmla="*/ 1023 w 9824"/>
                <a:gd name="connsiteY49" fmla="*/ 9877 h 10233"/>
                <a:gd name="connsiteX50" fmla="*/ 1260 w 9824"/>
                <a:gd name="connsiteY50" fmla="*/ 9836 h 10233"/>
                <a:gd name="connsiteX51" fmla="*/ 1489 w 9824"/>
                <a:gd name="connsiteY51" fmla="*/ 9790 h 10233"/>
                <a:gd name="connsiteX52" fmla="*/ 1729 w 9824"/>
                <a:gd name="connsiteY52" fmla="*/ 9743 h 10233"/>
                <a:gd name="connsiteX53" fmla="*/ 1952 w 9824"/>
                <a:gd name="connsiteY53" fmla="*/ 9685 h 10233"/>
                <a:gd name="connsiteX54" fmla="*/ 2181 w 9824"/>
                <a:gd name="connsiteY54" fmla="*/ 9628 h 10233"/>
                <a:gd name="connsiteX55" fmla="*/ 2407 w 9824"/>
                <a:gd name="connsiteY55" fmla="*/ 9565 h 10233"/>
                <a:gd name="connsiteX56" fmla="*/ 2631 w 9824"/>
                <a:gd name="connsiteY56" fmla="*/ 9494 h 10233"/>
                <a:gd name="connsiteX57" fmla="*/ 2848 w 9824"/>
                <a:gd name="connsiteY57" fmla="*/ 9417 h 10233"/>
                <a:gd name="connsiteX58" fmla="*/ 3067 w 9824"/>
                <a:gd name="connsiteY58" fmla="*/ 9342 h 10233"/>
                <a:gd name="connsiteX59" fmla="*/ 3287 w 9824"/>
                <a:gd name="connsiteY59" fmla="*/ 9256 h 10233"/>
                <a:gd name="connsiteX60" fmla="*/ 3504 w 9824"/>
                <a:gd name="connsiteY60" fmla="*/ 9171 h 10233"/>
                <a:gd name="connsiteX61" fmla="*/ 3713 w 9824"/>
                <a:gd name="connsiteY61" fmla="*/ 9074 h 10233"/>
                <a:gd name="connsiteX62" fmla="*/ 3922 w 9824"/>
                <a:gd name="connsiteY62" fmla="*/ 8977 h 10233"/>
                <a:gd name="connsiteX63" fmla="*/ 4133 w 9824"/>
                <a:gd name="connsiteY63" fmla="*/ 8874 h 10233"/>
                <a:gd name="connsiteX64" fmla="*/ 4335 w 9824"/>
                <a:gd name="connsiteY64" fmla="*/ 8769 h 10233"/>
                <a:gd name="connsiteX65" fmla="*/ 4538 w 9824"/>
                <a:gd name="connsiteY65" fmla="*/ 8661 h 10233"/>
                <a:gd name="connsiteX66" fmla="*/ 4740 w 9824"/>
                <a:gd name="connsiteY66" fmla="*/ 8545 h 10233"/>
                <a:gd name="connsiteX67" fmla="*/ 4937 w 9824"/>
                <a:gd name="connsiteY67" fmla="*/ 8428 h 10233"/>
                <a:gd name="connsiteX68" fmla="*/ 5130 w 9824"/>
                <a:gd name="connsiteY68" fmla="*/ 8304 h 10233"/>
                <a:gd name="connsiteX69" fmla="*/ 5323 w 9824"/>
                <a:gd name="connsiteY69" fmla="*/ 8178 h 10233"/>
                <a:gd name="connsiteX70" fmla="*/ 5505 w 9824"/>
                <a:gd name="connsiteY70" fmla="*/ 8049 h 10233"/>
                <a:gd name="connsiteX71" fmla="*/ 5690 w 9824"/>
                <a:gd name="connsiteY71" fmla="*/ 7913 h 10233"/>
                <a:gd name="connsiteX72" fmla="*/ 5874 w 9824"/>
                <a:gd name="connsiteY72" fmla="*/ 7777 h 10233"/>
                <a:gd name="connsiteX73" fmla="*/ 6051 w 9824"/>
                <a:gd name="connsiteY73" fmla="*/ 7634 h 10233"/>
                <a:gd name="connsiteX74" fmla="*/ 6228 w 9824"/>
                <a:gd name="connsiteY74" fmla="*/ 7488 h 10233"/>
                <a:gd name="connsiteX75" fmla="*/ 6399 w 9824"/>
                <a:gd name="connsiteY75" fmla="*/ 7337 h 10233"/>
                <a:gd name="connsiteX76" fmla="*/ 6569 w 9824"/>
                <a:gd name="connsiteY76" fmla="*/ 7187 h 10233"/>
                <a:gd name="connsiteX77" fmla="*/ 6733 w 9824"/>
                <a:gd name="connsiteY77" fmla="*/ 7033 h 10233"/>
                <a:gd name="connsiteX78" fmla="*/ 6899 w 9824"/>
                <a:gd name="connsiteY78" fmla="*/ 6869 h 10233"/>
                <a:gd name="connsiteX79" fmla="*/ 7058 w 9824"/>
                <a:gd name="connsiteY79" fmla="*/ 6704 h 10233"/>
                <a:gd name="connsiteX80" fmla="*/ 7212 w 9824"/>
                <a:gd name="connsiteY80" fmla="*/ 6542 h 10233"/>
                <a:gd name="connsiteX81" fmla="*/ 7364 w 9824"/>
                <a:gd name="connsiteY81" fmla="*/ 6371 h 10233"/>
                <a:gd name="connsiteX82" fmla="*/ 7512 w 9824"/>
                <a:gd name="connsiteY82" fmla="*/ 6196 h 10233"/>
                <a:gd name="connsiteX83" fmla="*/ 7658 w 9824"/>
                <a:gd name="connsiteY83" fmla="*/ 6023 h 10233"/>
                <a:gd name="connsiteX84" fmla="*/ 7798 w 9824"/>
                <a:gd name="connsiteY84" fmla="*/ 5843 h 10233"/>
                <a:gd name="connsiteX85" fmla="*/ 7940 w 9824"/>
                <a:gd name="connsiteY85" fmla="*/ 5659 h 10233"/>
                <a:gd name="connsiteX86" fmla="*/ 8068 w 9824"/>
                <a:gd name="connsiteY86" fmla="*/ 5474 h 10233"/>
                <a:gd name="connsiteX87" fmla="*/ 8196 w 9824"/>
                <a:gd name="connsiteY87" fmla="*/ 5284 h 10233"/>
                <a:gd name="connsiteX88" fmla="*/ 8325 w 9824"/>
                <a:gd name="connsiteY88" fmla="*/ 5096 h 10233"/>
                <a:gd name="connsiteX89" fmla="*/ 8445 w 9824"/>
                <a:gd name="connsiteY89" fmla="*/ 4898 h 10233"/>
                <a:gd name="connsiteX90" fmla="*/ 8561 w 9824"/>
                <a:gd name="connsiteY90" fmla="*/ 4705 h 10233"/>
                <a:gd name="connsiteX91" fmla="*/ 8676 w 9824"/>
                <a:gd name="connsiteY91" fmla="*/ 4505 h 10233"/>
                <a:gd name="connsiteX92" fmla="*/ 8780 w 9824"/>
                <a:gd name="connsiteY92" fmla="*/ 4299 h 10233"/>
                <a:gd name="connsiteX93" fmla="*/ 8885 w 9824"/>
                <a:gd name="connsiteY93" fmla="*/ 4094 h 10233"/>
                <a:gd name="connsiteX94" fmla="*/ 8988 w 9824"/>
                <a:gd name="connsiteY94" fmla="*/ 3889 h 10233"/>
                <a:gd name="connsiteX95" fmla="*/ 9086 w 9824"/>
                <a:gd name="connsiteY95" fmla="*/ 3678 h 10233"/>
                <a:gd name="connsiteX96" fmla="*/ 9173 w 9824"/>
                <a:gd name="connsiteY96" fmla="*/ 3468 h 10233"/>
                <a:gd name="connsiteX97" fmla="*/ 9263 w 9824"/>
                <a:gd name="connsiteY97" fmla="*/ 3252 h 10233"/>
                <a:gd name="connsiteX98" fmla="*/ 9343 w 9824"/>
                <a:gd name="connsiteY98" fmla="*/ 3034 h 10233"/>
                <a:gd name="connsiteX99" fmla="*/ 9422 w 9824"/>
                <a:gd name="connsiteY99" fmla="*/ 2819 h 10233"/>
                <a:gd name="connsiteX100" fmla="*/ 9493 w 9824"/>
                <a:gd name="connsiteY100" fmla="*/ 2596 h 10233"/>
                <a:gd name="connsiteX101" fmla="*/ 9560 w 9824"/>
                <a:gd name="connsiteY101" fmla="*/ 2371 h 10233"/>
                <a:gd name="connsiteX102" fmla="*/ 9622 w 9824"/>
                <a:gd name="connsiteY102" fmla="*/ 2145 h 10233"/>
                <a:gd name="connsiteX103" fmla="*/ 9683 w 9824"/>
                <a:gd name="connsiteY103" fmla="*/ 1920 h 10233"/>
                <a:gd name="connsiteX104" fmla="*/ 9734 w 9824"/>
                <a:gd name="connsiteY104" fmla="*/ 1692 h 10233"/>
                <a:gd name="connsiteX105" fmla="*/ 9782 w 9824"/>
                <a:gd name="connsiteY105" fmla="*/ 1460 h 10233"/>
                <a:gd name="connsiteX106" fmla="*/ 9824 w 9824"/>
                <a:gd name="connsiteY106" fmla="*/ 1224 h 10233"/>
                <a:gd name="connsiteX107" fmla="*/ 6482 w 9824"/>
                <a:gd name="connsiteY107" fmla="*/ 1878 h 10233"/>
                <a:gd name="connsiteX108" fmla="*/ 3692 w 9824"/>
                <a:gd name="connsiteY108" fmla="*/ 0 h 10233"/>
                <a:gd name="connsiteX0" fmla="*/ 3447 w 9689"/>
                <a:gd name="connsiteY0" fmla="*/ 0 h 9738"/>
                <a:gd name="connsiteX1" fmla="*/ 3447 w 9689"/>
                <a:gd name="connsiteY1" fmla="*/ 0 h 9738"/>
                <a:gd name="connsiteX2" fmla="*/ 3435 w 9689"/>
                <a:gd name="connsiteY2" fmla="*/ 97 h 9738"/>
                <a:gd name="connsiteX3" fmla="*/ 3415 w 9689"/>
                <a:gd name="connsiteY3" fmla="*/ 196 h 9738"/>
                <a:gd name="connsiteX4" fmla="*/ 3396 w 9689"/>
                <a:gd name="connsiteY4" fmla="*/ 293 h 9738"/>
                <a:gd name="connsiteX5" fmla="*/ 3374 w 9689"/>
                <a:gd name="connsiteY5" fmla="*/ 385 h 9738"/>
                <a:gd name="connsiteX6" fmla="*/ 3347 w 9689"/>
                <a:gd name="connsiteY6" fmla="*/ 481 h 9738"/>
                <a:gd name="connsiteX7" fmla="*/ 3320 w 9689"/>
                <a:gd name="connsiteY7" fmla="*/ 574 h 9738"/>
                <a:gd name="connsiteX8" fmla="*/ 3295 w 9689"/>
                <a:gd name="connsiteY8" fmla="*/ 667 h 9738"/>
                <a:gd name="connsiteX9" fmla="*/ 3266 w 9689"/>
                <a:gd name="connsiteY9" fmla="*/ 760 h 9738"/>
                <a:gd name="connsiteX10" fmla="*/ 3232 w 9689"/>
                <a:gd name="connsiteY10" fmla="*/ 851 h 9738"/>
                <a:gd name="connsiteX11" fmla="*/ 3196 w 9689"/>
                <a:gd name="connsiteY11" fmla="*/ 940 h 9738"/>
                <a:gd name="connsiteX12" fmla="*/ 3163 w 9689"/>
                <a:gd name="connsiteY12" fmla="*/ 1031 h 9738"/>
                <a:gd name="connsiteX13" fmla="*/ 3123 w 9689"/>
                <a:gd name="connsiteY13" fmla="*/ 1121 h 9738"/>
                <a:gd name="connsiteX14" fmla="*/ 3080 w 9689"/>
                <a:gd name="connsiteY14" fmla="*/ 1206 h 9738"/>
                <a:gd name="connsiteX15" fmla="*/ 3038 w 9689"/>
                <a:gd name="connsiteY15" fmla="*/ 1290 h 9738"/>
                <a:gd name="connsiteX16" fmla="*/ 2995 w 9689"/>
                <a:gd name="connsiteY16" fmla="*/ 1375 h 9738"/>
                <a:gd name="connsiteX17" fmla="*/ 2945 w 9689"/>
                <a:gd name="connsiteY17" fmla="*/ 1463 h 9738"/>
                <a:gd name="connsiteX18" fmla="*/ 2902 w 9689"/>
                <a:gd name="connsiteY18" fmla="*/ 1545 h 9738"/>
                <a:gd name="connsiteX19" fmla="*/ 2851 w 9689"/>
                <a:gd name="connsiteY19" fmla="*/ 1628 h 9738"/>
                <a:gd name="connsiteX20" fmla="*/ 2799 w 9689"/>
                <a:gd name="connsiteY20" fmla="*/ 1703 h 9738"/>
                <a:gd name="connsiteX21" fmla="*/ 2742 w 9689"/>
                <a:gd name="connsiteY21" fmla="*/ 1783 h 9738"/>
                <a:gd name="connsiteX22" fmla="*/ 2692 w 9689"/>
                <a:gd name="connsiteY22" fmla="*/ 1861 h 9738"/>
                <a:gd name="connsiteX23" fmla="*/ 2633 w 9689"/>
                <a:gd name="connsiteY23" fmla="*/ 1943 h 9738"/>
                <a:gd name="connsiteX24" fmla="*/ 2574 w 9689"/>
                <a:gd name="connsiteY24" fmla="*/ 2014 h 9738"/>
                <a:gd name="connsiteX25" fmla="*/ 2511 w 9689"/>
                <a:gd name="connsiteY25" fmla="*/ 2086 h 9738"/>
                <a:gd name="connsiteX26" fmla="*/ 2448 w 9689"/>
                <a:gd name="connsiteY26" fmla="*/ 2162 h 9738"/>
                <a:gd name="connsiteX27" fmla="*/ 2385 w 9689"/>
                <a:gd name="connsiteY27" fmla="*/ 2232 h 9738"/>
                <a:gd name="connsiteX28" fmla="*/ 2318 w 9689"/>
                <a:gd name="connsiteY28" fmla="*/ 2302 h 9738"/>
                <a:gd name="connsiteX29" fmla="*/ 2252 w 9689"/>
                <a:gd name="connsiteY29" fmla="*/ 2374 h 9738"/>
                <a:gd name="connsiteX30" fmla="*/ 2186 w 9689"/>
                <a:gd name="connsiteY30" fmla="*/ 2440 h 9738"/>
                <a:gd name="connsiteX31" fmla="*/ 2112 w 9689"/>
                <a:gd name="connsiteY31" fmla="*/ 2507 h 9738"/>
                <a:gd name="connsiteX32" fmla="*/ 2042 w 9689"/>
                <a:gd name="connsiteY32" fmla="*/ 2570 h 9738"/>
                <a:gd name="connsiteX33" fmla="*/ 1968 w 9689"/>
                <a:gd name="connsiteY33" fmla="*/ 2633 h 9738"/>
                <a:gd name="connsiteX34" fmla="*/ 1897 w 9689"/>
                <a:gd name="connsiteY34" fmla="*/ 2694 h 9738"/>
                <a:gd name="connsiteX35" fmla="*/ 1815 w 9689"/>
                <a:gd name="connsiteY35" fmla="*/ 2757 h 9738"/>
                <a:gd name="connsiteX36" fmla="*/ 1741 w 9689"/>
                <a:gd name="connsiteY36" fmla="*/ 2811 h 9738"/>
                <a:gd name="connsiteX37" fmla="*/ 1662 w 9689"/>
                <a:gd name="connsiteY37" fmla="*/ 2870 h 9738"/>
                <a:gd name="connsiteX38" fmla="*/ 1581 w 9689"/>
                <a:gd name="connsiteY38" fmla="*/ 2924 h 9738"/>
                <a:gd name="connsiteX39" fmla="*/ 1499 w 9689"/>
                <a:gd name="connsiteY39" fmla="*/ 2977 h 9738"/>
                <a:gd name="connsiteX40" fmla="*/ 1416 w 9689"/>
                <a:gd name="connsiteY40" fmla="*/ 3030 h 9738"/>
                <a:gd name="connsiteX41" fmla="*/ 1335 w 9689"/>
                <a:gd name="connsiteY41" fmla="*/ 3081 h 9738"/>
                <a:gd name="connsiteX42" fmla="*/ 1248 w 9689"/>
                <a:gd name="connsiteY42" fmla="*/ 3127 h 9738"/>
                <a:gd name="connsiteX43" fmla="*/ 1161 w 9689"/>
                <a:gd name="connsiteY43" fmla="*/ 3173 h 9738"/>
                <a:gd name="connsiteX44" fmla="*/ 1322 w 9689"/>
                <a:gd name="connsiteY44" fmla="*/ 6435 h 9738"/>
                <a:gd name="connsiteX45" fmla="*/ 0 w 9689"/>
                <a:gd name="connsiteY45" fmla="*/ 9738 h 9738"/>
                <a:gd name="connsiteX46" fmla="*/ 246 w 9689"/>
                <a:gd name="connsiteY46" fmla="*/ 9717 h 9738"/>
                <a:gd name="connsiteX47" fmla="*/ 490 w 9689"/>
                <a:gd name="connsiteY47" fmla="*/ 9684 h 9738"/>
                <a:gd name="connsiteX48" fmla="*/ 730 w 9689"/>
                <a:gd name="connsiteY48" fmla="*/ 9652 h 9738"/>
                <a:gd name="connsiteX49" fmla="*/ 972 w 9689"/>
                <a:gd name="connsiteY49" fmla="*/ 9612 h 9738"/>
                <a:gd name="connsiteX50" fmla="*/ 1205 w 9689"/>
                <a:gd name="connsiteY50" fmla="*/ 9567 h 9738"/>
                <a:gd name="connsiteX51" fmla="*/ 1449 w 9689"/>
                <a:gd name="connsiteY51" fmla="*/ 9521 h 9738"/>
                <a:gd name="connsiteX52" fmla="*/ 1676 w 9689"/>
                <a:gd name="connsiteY52" fmla="*/ 9464 h 9738"/>
                <a:gd name="connsiteX53" fmla="*/ 1909 w 9689"/>
                <a:gd name="connsiteY53" fmla="*/ 9409 h 9738"/>
                <a:gd name="connsiteX54" fmla="*/ 2139 w 9689"/>
                <a:gd name="connsiteY54" fmla="*/ 9347 h 9738"/>
                <a:gd name="connsiteX55" fmla="*/ 2367 w 9689"/>
                <a:gd name="connsiteY55" fmla="*/ 9278 h 9738"/>
                <a:gd name="connsiteX56" fmla="*/ 2588 w 9689"/>
                <a:gd name="connsiteY56" fmla="*/ 9203 h 9738"/>
                <a:gd name="connsiteX57" fmla="*/ 2811 w 9689"/>
                <a:gd name="connsiteY57" fmla="*/ 9129 h 9738"/>
                <a:gd name="connsiteX58" fmla="*/ 3035 w 9689"/>
                <a:gd name="connsiteY58" fmla="*/ 9045 h 9738"/>
                <a:gd name="connsiteX59" fmla="*/ 3256 w 9689"/>
                <a:gd name="connsiteY59" fmla="*/ 8962 h 9738"/>
                <a:gd name="connsiteX60" fmla="*/ 3469 w 9689"/>
                <a:gd name="connsiteY60" fmla="*/ 8867 h 9738"/>
                <a:gd name="connsiteX61" fmla="*/ 3681 w 9689"/>
                <a:gd name="connsiteY61" fmla="*/ 8773 h 9738"/>
                <a:gd name="connsiteX62" fmla="*/ 3896 w 9689"/>
                <a:gd name="connsiteY62" fmla="*/ 8672 h 9738"/>
                <a:gd name="connsiteX63" fmla="*/ 4102 w 9689"/>
                <a:gd name="connsiteY63" fmla="*/ 8569 h 9738"/>
                <a:gd name="connsiteX64" fmla="*/ 4308 w 9689"/>
                <a:gd name="connsiteY64" fmla="*/ 8464 h 9738"/>
                <a:gd name="connsiteX65" fmla="*/ 4514 w 9689"/>
                <a:gd name="connsiteY65" fmla="*/ 8350 h 9738"/>
                <a:gd name="connsiteX66" fmla="*/ 4714 w 9689"/>
                <a:gd name="connsiteY66" fmla="*/ 8236 h 9738"/>
                <a:gd name="connsiteX67" fmla="*/ 4911 w 9689"/>
                <a:gd name="connsiteY67" fmla="*/ 8115 h 9738"/>
                <a:gd name="connsiteX68" fmla="*/ 5107 w 9689"/>
                <a:gd name="connsiteY68" fmla="*/ 7992 h 9738"/>
                <a:gd name="connsiteX69" fmla="*/ 5293 w 9689"/>
                <a:gd name="connsiteY69" fmla="*/ 7866 h 9738"/>
                <a:gd name="connsiteX70" fmla="*/ 5481 w 9689"/>
                <a:gd name="connsiteY70" fmla="*/ 7733 h 9738"/>
                <a:gd name="connsiteX71" fmla="*/ 5668 w 9689"/>
                <a:gd name="connsiteY71" fmla="*/ 7600 h 9738"/>
                <a:gd name="connsiteX72" fmla="*/ 5848 w 9689"/>
                <a:gd name="connsiteY72" fmla="*/ 7460 h 9738"/>
                <a:gd name="connsiteX73" fmla="*/ 6029 w 9689"/>
                <a:gd name="connsiteY73" fmla="*/ 7318 h 9738"/>
                <a:gd name="connsiteX74" fmla="*/ 6203 w 9689"/>
                <a:gd name="connsiteY74" fmla="*/ 7170 h 9738"/>
                <a:gd name="connsiteX75" fmla="*/ 6376 w 9689"/>
                <a:gd name="connsiteY75" fmla="*/ 7023 h 9738"/>
                <a:gd name="connsiteX76" fmla="*/ 6543 w 9689"/>
                <a:gd name="connsiteY76" fmla="*/ 6873 h 9738"/>
                <a:gd name="connsiteX77" fmla="*/ 6712 w 9689"/>
                <a:gd name="connsiteY77" fmla="*/ 6713 h 9738"/>
                <a:gd name="connsiteX78" fmla="*/ 6873 w 9689"/>
                <a:gd name="connsiteY78" fmla="*/ 6551 h 9738"/>
                <a:gd name="connsiteX79" fmla="*/ 7030 w 9689"/>
                <a:gd name="connsiteY79" fmla="*/ 6393 h 9738"/>
                <a:gd name="connsiteX80" fmla="*/ 7185 w 9689"/>
                <a:gd name="connsiteY80" fmla="*/ 6226 h 9738"/>
                <a:gd name="connsiteX81" fmla="*/ 7336 w 9689"/>
                <a:gd name="connsiteY81" fmla="*/ 6055 h 9738"/>
                <a:gd name="connsiteX82" fmla="*/ 7484 w 9689"/>
                <a:gd name="connsiteY82" fmla="*/ 5886 h 9738"/>
                <a:gd name="connsiteX83" fmla="*/ 7627 w 9689"/>
                <a:gd name="connsiteY83" fmla="*/ 5710 h 9738"/>
                <a:gd name="connsiteX84" fmla="*/ 7771 w 9689"/>
                <a:gd name="connsiteY84" fmla="*/ 5530 h 9738"/>
                <a:gd name="connsiteX85" fmla="*/ 7902 w 9689"/>
                <a:gd name="connsiteY85" fmla="*/ 5349 h 9738"/>
                <a:gd name="connsiteX86" fmla="*/ 8032 w 9689"/>
                <a:gd name="connsiteY86" fmla="*/ 5164 h 9738"/>
                <a:gd name="connsiteX87" fmla="*/ 8163 w 9689"/>
                <a:gd name="connsiteY87" fmla="*/ 4980 h 9738"/>
                <a:gd name="connsiteX88" fmla="*/ 8285 w 9689"/>
                <a:gd name="connsiteY88" fmla="*/ 4786 h 9738"/>
                <a:gd name="connsiteX89" fmla="*/ 8403 w 9689"/>
                <a:gd name="connsiteY89" fmla="*/ 4598 h 9738"/>
                <a:gd name="connsiteX90" fmla="*/ 8520 w 9689"/>
                <a:gd name="connsiteY90" fmla="*/ 4402 h 9738"/>
                <a:gd name="connsiteX91" fmla="*/ 8626 w 9689"/>
                <a:gd name="connsiteY91" fmla="*/ 4201 h 9738"/>
                <a:gd name="connsiteX92" fmla="*/ 8733 w 9689"/>
                <a:gd name="connsiteY92" fmla="*/ 4001 h 9738"/>
                <a:gd name="connsiteX93" fmla="*/ 8838 w 9689"/>
                <a:gd name="connsiteY93" fmla="*/ 3800 h 9738"/>
                <a:gd name="connsiteX94" fmla="*/ 8938 w 9689"/>
                <a:gd name="connsiteY94" fmla="*/ 3594 h 9738"/>
                <a:gd name="connsiteX95" fmla="*/ 9026 w 9689"/>
                <a:gd name="connsiteY95" fmla="*/ 3389 h 9738"/>
                <a:gd name="connsiteX96" fmla="*/ 9118 w 9689"/>
                <a:gd name="connsiteY96" fmla="*/ 3178 h 9738"/>
                <a:gd name="connsiteX97" fmla="*/ 9199 w 9689"/>
                <a:gd name="connsiteY97" fmla="*/ 2965 h 9738"/>
                <a:gd name="connsiteX98" fmla="*/ 9280 w 9689"/>
                <a:gd name="connsiteY98" fmla="*/ 2755 h 9738"/>
                <a:gd name="connsiteX99" fmla="*/ 9352 w 9689"/>
                <a:gd name="connsiteY99" fmla="*/ 2537 h 9738"/>
                <a:gd name="connsiteX100" fmla="*/ 9420 w 9689"/>
                <a:gd name="connsiteY100" fmla="*/ 2317 h 9738"/>
                <a:gd name="connsiteX101" fmla="*/ 9483 w 9689"/>
                <a:gd name="connsiteY101" fmla="*/ 2096 h 9738"/>
                <a:gd name="connsiteX102" fmla="*/ 9545 w 9689"/>
                <a:gd name="connsiteY102" fmla="*/ 1876 h 9738"/>
                <a:gd name="connsiteX103" fmla="*/ 9597 w 9689"/>
                <a:gd name="connsiteY103" fmla="*/ 1653 h 9738"/>
                <a:gd name="connsiteX104" fmla="*/ 9646 w 9689"/>
                <a:gd name="connsiteY104" fmla="*/ 1427 h 9738"/>
                <a:gd name="connsiteX105" fmla="*/ 9689 w 9689"/>
                <a:gd name="connsiteY105" fmla="*/ 1196 h 9738"/>
                <a:gd name="connsiteX106" fmla="*/ 6287 w 9689"/>
                <a:gd name="connsiteY106" fmla="*/ 1835 h 9738"/>
                <a:gd name="connsiteX107" fmla="*/ 3447 w 9689"/>
                <a:gd name="connsiteY107" fmla="*/ 0 h 9738"/>
                <a:gd name="connsiteX0" fmla="*/ 3342 w 9784"/>
                <a:gd name="connsiteY0" fmla="*/ 0 h 10219"/>
                <a:gd name="connsiteX1" fmla="*/ 3342 w 9784"/>
                <a:gd name="connsiteY1" fmla="*/ 0 h 10219"/>
                <a:gd name="connsiteX2" fmla="*/ 3329 w 9784"/>
                <a:gd name="connsiteY2" fmla="*/ 100 h 10219"/>
                <a:gd name="connsiteX3" fmla="*/ 3309 w 9784"/>
                <a:gd name="connsiteY3" fmla="*/ 201 h 10219"/>
                <a:gd name="connsiteX4" fmla="*/ 3289 w 9784"/>
                <a:gd name="connsiteY4" fmla="*/ 301 h 10219"/>
                <a:gd name="connsiteX5" fmla="*/ 3266 w 9784"/>
                <a:gd name="connsiteY5" fmla="*/ 395 h 10219"/>
                <a:gd name="connsiteX6" fmla="*/ 3238 w 9784"/>
                <a:gd name="connsiteY6" fmla="*/ 494 h 10219"/>
                <a:gd name="connsiteX7" fmla="*/ 3211 w 9784"/>
                <a:gd name="connsiteY7" fmla="*/ 589 h 10219"/>
                <a:gd name="connsiteX8" fmla="*/ 3185 w 9784"/>
                <a:gd name="connsiteY8" fmla="*/ 685 h 10219"/>
                <a:gd name="connsiteX9" fmla="*/ 3155 w 9784"/>
                <a:gd name="connsiteY9" fmla="*/ 780 h 10219"/>
                <a:gd name="connsiteX10" fmla="*/ 3120 w 9784"/>
                <a:gd name="connsiteY10" fmla="*/ 874 h 10219"/>
                <a:gd name="connsiteX11" fmla="*/ 3083 w 9784"/>
                <a:gd name="connsiteY11" fmla="*/ 965 h 10219"/>
                <a:gd name="connsiteX12" fmla="*/ 3049 w 9784"/>
                <a:gd name="connsiteY12" fmla="*/ 1059 h 10219"/>
                <a:gd name="connsiteX13" fmla="*/ 3007 w 9784"/>
                <a:gd name="connsiteY13" fmla="*/ 1151 h 10219"/>
                <a:gd name="connsiteX14" fmla="*/ 2963 w 9784"/>
                <a:gd name="connsiteY14" fmla="*/ 1238 h 10219"/>
                <a:gd name="connsiteX15" fmla="*/ 2920 w 9784"/>
                <a:gd name="connsiteY15" fmla="*/ 1325 h 10219"/>
                <a:gd name="connsiteX16" fmla="*/ 2875 w 9784"/>
                <a:gd name="connsiteY16" fmla="*/ 1412 h 10219"/>
                <a:gd name="connsiteX17" fmla="*/ 2824 w 9784"/>
                <a:gd name="connsiteY17" fmla="*/ 1502 h 10219"/>
                <a:gd name="connsiteX18" fmla="*/ 2779 w 9784"/>
                <a:gd name="connsiteY18" fmla="*/ 1587 h 10219"/>
                <a:gd name="connsiteX19" fmla="*/ 2727 w 9784"/>
                <a:gd name="connsiteY19" fmla="*/ 1672 h 10219"/>
                <a:gd name="connsiteX20" fmla="*/ 2673 w 9784"/>
                <a:gd name="connsiteY20" fmla="*/ 1749 h 10219"/>
                <a:gd name="connsiteX21" fmla="*/ 2614 w 9784"/>
                <a:gd name="connsiteY21" fmla="*/ 1831 h 10219"/>
                <a:gd name="connsiteX22" fmla="*/ 2562 w 9784"/>
                <a:gd name="connsiteY22" fmla="*/ 1911 h 10219"/>
                <a:gd name="connsiteX23" fmla="*/ 2502 w 9784"/>
                <a:gd name="connsiteY23" fmla="*/ 1995 h 10219"/>
                <a:gd name="connsiteX24" fmla="*/ 2441 w 9784"/>
                <a:gd name="connsiteY24" fmla="*/ 2068 h 10219"/>
                <a:gd name="connsiteX25" fmla="*/ 2376 w 9784"/>
                <a:gd name="connsiteY25" fmla="*/ 2142 h 10219"/>
                <a:gd name="connsiteX26" fmla="*/ 2311 w 9784"/>
                <a:gd name="connsiteY26" fmla="*/ 2220 h 10219"/>
                <a:gd name="connsiteX27" fmla="*/ 2246 w 9784"/>
                <a:gd name="connsiteY27" fmla="*/ 2292 h 10219"/>
                <a:gd name="connsiteX28" fmla="*/ 2176 w 9784"/>
                <a:gd name="connsiteY28" fmla="*/ 2364 h 10219"/>
                <a:gd name="connsiteX29" fmla="*/ 2108 w 9784"/>
                <a:gd name="connsiteY29" fmla="*/ 2438 h 10219"/>
                <a:gd name="connsiteX30" fmla="*/ 2040 w 9784"/>
                <a:gd name="connsiteY30" fmla="*/ 2506 h 10219"/>
                <a:gd name="connsiteX31" fmla="*/ 1964 w 9784"/>
                <a:gd name="connsiteY31" fmla="*/ 2574 h 10219"/>
                <a:gd name="connsiteX32" fmla="*/ 1892 w 9784"/>
                <a:gd name="connsiteY32" fmla="*/ 2639 h 10219"/>
                <a:gd name="connsiteX33" fmla="*/ 1815 w 9784"/>
                <a:gd name="connsiteY33" fmla="*/ 2704 h 10219"/>
                <a:gd name="connsiteX34" fmla="*/ 1742 w 9784"/>
                <a:gd name="connsiteY34" fmla="*/ 2766 h 10219"/>
                <a:gd name="connsiteX35" fmla="*/ 1657 w 9784"/>
                <a:gd name="connsiteY35" fmla="*/ 2831 h 10219"/>
                <a:gd name="connsiteX36" fmla="*/ 1581 w 9784"/>
                <a:gd name="connsiteY36" fmla="*/ 2887 h 10219"/>
                <a:gd name="connsiteX37" fmla="*/ 1499 w 9784"/>
                <a:gd name="connsiteY37" fmla="*/ 2947 h 10219"/>
                <a:gd name="connsiteX38" fmla="*/ 1416 w 9784"/>
                <a:gd name="connsiteY38" fmla="*/ 3003 h 10219"/>
                <a:gd name="connsiteX39" fmla="*/ 1331 w 9784"/>
                <a:gd name="connsiteY39" fmla="*/ 3057 h 10219"/>
                <a:gd name="connsiteX40" fmla="*/ 1245 w 9784"/>
                <a:gd name="connsiteY40" fmla="*/ 3112 h 10219"/>
                <a:gd name="connsiteX41" fmla="*/ 1162 w 9784"/>
                <a:gd name="connsiteY41" fmla="*/ 3164 h 10219"/>
                <a:gd name="connsiteX42" fmla="*/ 1072 w 9784"/>
                <a:gd name="connsiteY42" fmla="*/ 3211 h 10219"/>
                <a:gd name="connsiteX43" fmla="*/ 982 w 9784"/>
                <a:gd name="connsiteY43" fmla="*/ 3258 h 10219"/>
                <a:gd name="connsiteX44" fmla="*/ 1148 w 9784"/>
                <a:gd name="connsiteY44" fmla="*/ 6608 h 10219"/>
                <a:gd name="connsiteX45" fmla="*/ 38 w 9784"/>
                <a:gd name="connsiteY45" fmla="*/ 9978 h 10219"/>
                <a:gd name="connsiteX46" fmla="*/ 290 w 9784"/>
                <a:gd name="connsiteY46" fmla="*/ 9945 h 10219"/>
                <a:gd name="connsiteX47" fmla="*/ 537 w 9784"/>
                <a:gd name="connsiteY47" fmla="*/ 9912 h 10219"/>
                <a:gd name="connsiteX48" fmla="*/ 787 w 9784"/>
                <a:gd name="connsiteY48" fmla="*/ 9871 h 10219"/>
                <a:gd name="connsiteX49" fmla="*/ 1028 w 9784"/>
                <a:gd name="connsiteY49" fmla="*/ 9824 h 10219"/>
                <a:gd name="connsiteX50" fmla="*/ 1280 w 9784"/>
                <a:gd name="connsiteY50" fmla="*/ 9777 h 10219"/>
                <a:gd name="connsiteX51" fmla="*/ 1514 w 9784"/>
                <a:gd name="connsiteY51" fmla="*/ 9719 h 10219"/>
                <a:gd name="connsiteX52" fmla="*/ 1754 w 9784"/>
                <a:gd name="connsiteY52" fmla="*/ 9662 h 10219"/>
                <a:gd name="connsiteX53" fmla="*/ 1992 w 9784"/>
                <a:gd name="connsiteY53" fmla="*/ 9598 h 10219"/>
                <a:gd name="connsiteX54" fmla="*/ 2227 w 9784"/>
                <a:gd name="connsiteY54" fmla="*/ 9528 h 10219"/>
                <a:gd name="connsiteX55" fmla="*/ 2455 w 9784"/>
                <a:gd name="connsiteY55" fmla="*/ 9451 h 10219"/>
                <a:gd name="connsiteX56" fmla="*/ 2685 w 9784"/>
                <a:gd name="connsiteY56" fmla="*/ 9375 h 10219"/>
                <a:gd name="connsiteX57" fmla="*/ 2916 w 9784"/>
                <a:gd name="connsiteY57" fmla="*/ 9288 h 10219"/>
                <a:gd name="connsiteX58" fmla="*/ 3145 w 9784"/>
                <a:gd name="connsiteY58" fmla="*/ 9203 h 10219"/>
                <a:gd name="connsiteX59" fmla="*/ 3364 w 9784"/>
                <a:gd name="connsiteY59" fmla="*/ 9106 h 10219"/>
                <a:gd name="connsiteX60" fmla="*/ 3583 w 9784"/>
                <a:gd name="connsiteY60" fmla="*/ 9009 h 10219"/>
                <a:gd name="connsiteX61" fmla="*/ 3805 w 9784"/>
                <a:gd name="connsiteY61" fmla="*/ 8905 h 10219"/>
                <a:gd name="connsiteX62" fmla="*/ 4018 w 9784"/>
                <a:gd name="connsiteY62" fmla="*/ 8800 h 10219"/>
                <a:gd name="connsiteX63" fmla="*/ 4230 w 9784"/>
                <a:gd name="connsiteY63" fmla="*/ 8692 h 10219"/>
                <a:gd name="connsiteX64" fmla="*/ 4443 w 9784"/>
                <a:gd name="connsiteY64" fmla="*/ 8575 h 10219"/>
                <a:gd name="connsiteX65" fmla="*/ 4649 w 9784"/>
                <a:gd name="connsiteY65" fmla="*/ 8458 h 10219"/>
                <a:gd name="connsiteX66" fmla="*/ 4853 w 9784"/>
                <a:gd name="connsiteY66" fmla="*/ 8333 h 10219"/>
                <a:gd name="connsiteX67" fmla="*/ 5055 w 9784"/>
                <a:gd name="connsiteY67" fmla="*/ 8207 h 10219"/>
                <a:gd name="connsiteX68" fmla="*/ 5247 w 9784"/>
                <a:gd name="connsiteY68" fmla="*/ 8078 h 10219"/>
                <a:gd name="connsiteX69" fmla="*/ 5441 w 9784"/>
                <a:gd name="connsiteY69" fmla="*/ 7941 h 10219"/>
                <a:gd name="connsiteX70" fmla="*/ 5634 w 9784"/>
                <a:gd name="connsiteY70" fmla="*/ 7804 h 10219"/>
                <a:gd name="connsiteX71" fmla="*/ 5820 w 9784"/>
                <a:gd name="connsiteY71" fmla="*/ 7661 h 10219"/>
                <a:gd name="connsiteX72" fmla="*/ 6007 w 9784"/>
                <a:gd name="connsiteY72" fmla="*/ 7515 h 10219"/>
                <a:gd name="connsiteX73" fmla="*/ 6186 w 9784"/>
                <a:gd name="connsiteY73" fmla="*/ 7363 h 10219"/>
                <a:gd name="connsiteX74" fmla="*/ 6365 w 9784"/>
                <a:gd name="connsiteY74" fmla="*/ 7212 h 10219"/>
                <a:gd name="connsiteX75" fmla="*/ 6537 w 9784"/>
                <a:gd name="connsiteY75" fmla="*/ 7058 h 10219"/>
                <a:gd name="connsiteX76" fmla="*/ 6711 w 9784"/>
                <a:gd name="connsiteY76" fmla="*/ 6894 h 10219"/>
                <a:gd name="connsiteX77" fmla="*/ 6878 w 9784"/>
                <a:gd name="connsiteY77" fmla="*/ 6727 h 10219"/>
                <a:gd name="connsiteX78" fmla="*/ 7040 w 9784"/>
                <a:gd name="connsiteY78" fmla="*/ 6565 h 10219"/>
                <a:gd name="connsiteX79" fmla="*/ 7200 w 9784"/>
                <a:gd name="connsiteY79" fmla="*/ 6394 h 10219"/>
                <a:gd name="connsiteX80" fmla="*/ 7355 w 9784"/>
                <a:gd name="connsiteY80" fmla="*/ 6218 h 10219"/>
                <a:gd name="connsiteX81" fmla="*/ 7508 w 9784"/>
                <a:gd name="connsiteY81" fmla="*/ 6044 h 10219"/>
                <a:gd name="connsiteX82" fmla="*/ 7656 w 9784"/>
                <a:gd name="connsiteY82" fmla="*/ 5864 h 10219"/>
                <a:gd name="connsiteX83" fmla="*/ 7804 w 9784"/>
                <a:gd name="connsiteY83" fmla="*/ 5679 h 10219"/>
                <a:gd name="connsiteX84" fmla="*/ 7940 w 9784"/>
                <a:gd name="connsiteY84" fmla="*/ 5493 h 10219"/>
                <a:gd name="connsiteX85" fmla="*/ 8074 w 9784"/>
                <a:gd name="connsiteY85" fmla="*/ 5303 h 10219"/>
                <a:gd name="connsiteX86" fmla="*/ 8209 w 9784"/>
                <a:gd name="connsiteY86" fmla="*/ 5114 h 10219"/>
                <a:gd name="connsiteX87" fmla="*/ 8335 w 9784"/>
                <a:gd name="connsiteY87" fmla="*/ 4915 h 10219"/>
                <a:gd name="connsiteX88" fmla="*/ 8457 w 9784"/>
                <a:gd name="connsiteY88" fmla="*/ 4722 h 10219"/>
                <a:gd name="connsiteX89" fmla="*/ 8577 w 9784"/>
                <a:gd name="connsiteY89" fmla="*/ 4520 h 10219"/>
                <a:gd name="connsiteX90" fmla="*/ 8687 w 9784"/>
                <a:gd name="connsiteY90" fmla="*/ 4314 h 10219"/>
                <a:gd name="connsiteX91" fmla="*/ 8797 w 9784"/>
                <a:gd name="connsiteY91" fmla="*/ 4109 h 10219"/>
                <a:gd name="connsiteX92" fmla="*/ 8906 w 9784"/>
                <a:gd name="connsiteY92" fmla="*/ 3902 h 10219"/>
                <a:gd name="connsiteX93" fmla="*/ 9009 w 9784"/>
                <a:gd name="connsiteY93" fmla="*/ 3691 h 10219"/>
                <a:gd name="connsiteX94" fmla="*/ 9100 w 9784"/>
                <a:gd name="connsiteY94" fmla="*/ 3480 h 10219"/>
                <a:gd name="connsiteX95" fmla="*/ 9195 w 9784"/>
                <a:gd name="connsiteY95" fmla="*/ 3264 h 10219"/>
                <a:gd name="connsiteX96" fmla="*/ 9278 w 9784"/>
                <a:gd name="connsiteY96" fmla="*/ 3045 h 10219"/>
                <a:gd name="connsiteX97" fmla="*/ 9362 w 9784"/>
                <a:gd name="connsiteY97" fmla="*/ 2829 h 10219"/>
                <a:gd name="connsiteX98" fmla="*/ 9436 w 9784"/>
                <a:gd name="connsiteY98" fmla="*/ 2605 h 10219"/>
                <a:gd name="connsiteX99" fmla="*/ 9506 w 9784"/>
                <a:gd name="connsiteY99" fmla="*/ 2379 h 10219"/>
                <a:gd name="connsiteX100" fmla="*/ 9571 w 9784"/>
                <a:gd name="connsiteY100" fmla="*/ 2152 h 10219"/>
                <a:gd name="connsiteX101" fmla="*/ 9635 w 9784"/>
                <a:gd name="connsiteY101" fmla="*/ 1926 h 10219"/>
                <a:gd name="connsiteX102" fmla="*/ 9689 w 9784"/>
                <a:gd name="connsiteY102" fmla="*/ 1697 h 10219"/>
                <a:gd name="connsiteX103" fmla="*/ 9740 w 9784"/>
                <a:gd name="connsiteY103" fmla="*/ 1465 h 10219"/>
                <a:gd name="connsiteX104" fmla="*/ 9784 w 9784"/>
                <a:gd name="connsiteY104" fmla="*/ 1228 h 10219"/>
                <a:gd name="connsiteX105" fmla="*/ 6273 w 9784"/>
                <a:gd name="connsiteY105" fmla="*/ 1884 h 10219"/>
                <a:gd name="connsiteX106" fmla="*/ 3342 w 9784"/>
                <a:gd name="connsiteY106" fmla="*/ 0 h 10219"/>
                <a:gd name="connsiteX0" fmla="*/ 3120 w 9704"/>
                <a:gd name="connsiteY0" fmla="*/ 0 h 9732"/>
                <a:gd name="connsiteX1" fmla="*/ 3120 w 9704"/>
                <a:gd name="connsiteY1" fmla="*/ 0 h 9732"/>
                <a:gd name="connsiteX2" fmla="*/ 3106 w 9704"/>
                <a:gd name="connsiteY2" fmla="*/ 98 h 9732"/>
                <a:gd name="connsiteX3" fmla="*/ 3086 w 9704"/>
                <a:gd name="connsiteY3" fmla="*/ 197 h 9732"/>
                <a:gd name="connsiteX4" fmla="*/ 3066 w 9704"/>
                <a:gd name="connsiteY4" fmla="*/ 295 h 9732"/>
                <a:gd name="connsiteX5" fmla="*/ 3042 w 9704"/>
                <a:gd name="connsiteY5" fmla="*/ 387 h 9732"/>
                <a:gd name="connsiteX6" fmla="*/ 3013 w 9704"/>
                <a:gd name="connsiteY6" fmla="*/ 483 h 9732"/>
                <a:gd name="connsiteX7" fmla="*/ 2986 w 9704"/>
                <a:gd name="connsiteY7" fmla="*/ 576 h 9732"/>
                <a:gd name="connsiteX8" fmla="*/ 2959 w 9704"/>
                <a:gd name="connsiteY8" fmla="*/ 670 h 9732"/>
                <a:gd name="connsiteX9" fmla="*/ 2929 w 9704"/>
                <a:gd name="connsiteY9" fmla="*/ 763 h 9732"/>
                <a:gd name="connsiteX10" fmla="*/ 2893 w 9704"/>
                <a:gd name="connsiteY10" fmla="*/ 855 h 9732"/>
                <a:gd name="connsiteX11" fmla="*/ 2855 w 9704"/>
                <a:gd name="connsiteY11" fmla="*/ 944 h 9732"/>
                <a:gd name="connsiteX12" fmla="*/ 2820 w 9704"/>
                <a:gd name="connsiteY12" fmla="*/ 1036 h 9732"/>
                <a:gd name="connsiteX13" fmla="*/ 2777 w 9704"/>
                <a:gd name="connsiteY13" fmla="*/ 1126 h 9732"/>
                <a:gd name="connsiteX14" fmla="*/ 2732 w 9704"/>
                <a:gd name="connsiteY14" fmla="*/ 1211 h 9732"/>
                <a:gd name="connsiteX15" fmla="*/ 2688 w 9704"/>
                <a:gd name="connsiteY15" fmla="*/ 1297 h 9732"/>
                <a:gd name="connsiteX16" fmla="*/ 2642 w 9704"/>
                <a:gd name="connsiteY16" fmla="*/ 1382 h 9732"/>
                <a:gd name="connsiteX17" fmla="*/ 2590 w 9704"/>
                <a:gd name="connsiteY17" fmla="*/ 1470 h 9732"/>
                <a:gd name="connsiteX18" fmla="*/ 2544 w 9704"/>
                <a:gd name="connsiteY18" fmla="*/ 1553 h 9732"/>
                <a:gd name="connsiteX19" fmla="*/ 2491 w 9704"/>
                <a:gd name="connsiteY19" fmla="*/ 1636 h 9732"/>
                <a:gd name="connsiteX20" fmla="*/ 2436 w 9704"/>
                <a:gd name="connsiteY20" fmla="*/ 1712 h 9732"/>
                <a:gd name="connsiteX21" fmla="*/ 2376 w 9704"/>
                <a:gd name="connsiteY21" fmla="*/ 1792 h 9732"/>
                <a:gd name="connsiteX22" fmla="*/ 2323 w 9704"/>
                <a:gd name="connsiteY22" fmla="*/ 1870 h 9732"/>
                <a:gd name="connsiteX23" fmla="*/ 2261 w 9704"/>
                <a:gd name="connsiteY23" fmla="*/ 1952 h 9732"/>
                <a:gd name="connsiteX24" fmla="*/ 2199 w 9704"/>
                <a:gd name="connsiteY24" fmla="*/ 2024 h 9732"/>
                <a:gd name="connsiteX25" fmla="*/ 2132 w 9704"/>
                <a:gd name="connsiteY25" fmla="*/ 2096 h 9732"/>
                <a:gd name="connsiteX26" fmla="*/ 2066 w 9704"/>
                <a:gd name="connsiteY26" fmla="*/ 2172 h 9732"/>
                <a:gd name="connsiteX27" fmla="*/ 2000 w 9704"/>
                <a:gd name="connsiteY27" fmla="*/ 2243 h 9732"/>
                <a:gd name="connsiteX28" fmla="*/ 1928 w 9704"/>
                <a:gd name="connsiteY28" fmla="*/ 2313 h 9732"/>
                <a:gd name="connsiteX29" fmla="*/ 1859 w 9704"/>
                <a:gd name="connsiteY29" fmla="*/ 2386 h 9732"/>
                <a:gd name="connsiteX30" fmla="*/ 1789 w 9704"/>
                <a:gd name="connsiteY30" fmla="*/ 2452 h 9732"/>
                <a:gd name="connsiteX31" fmla="*/ 1711 w 9704"/>
                <a:gd name="connsiteY31" fmla="*/ 2519 h 9732"/>
                <a:gd name="connsiteX32" fmla="*/ 1638 w 9704"/>
                <a:gd name="connsiteY32" fmla="*/ 2582 h 9732"/>
                <a:gd name="connsiteX33" fmla="*/ 1559 w 9704"/>
                <a:gd name="connsiteY33" fmla="*/ 2646 h 9732"/>
                <a:gd name="connsiteX34" fmla="*/ 1484 w 9704"/>
                <a:gd name="connsiteY34" fmla="*/ 2707 h 9732"/>
                <a:gd name="connsiteX35" fmla="*/ 1398 w 9704"/>
                <a:gd name="connsiteY35" fmla="*/ 2770 h 9732"/>
                <a:gd name="connsiteX36" fmla="*/ 1320 w 9704"/>
                <a:gd name="connsiteY36" fmla="*/ 2825 h 9732"/>
                <a:gd name="connsiteX37" fmla="*/ 1236 w 9704"/>
                <a:gd name="connsiteY37" fmla="*/ 2884 h 9732"/>
                <a:gd name="connsiteX38" fmla="*/ 1151 w 9704"/>
                <a:gd name="connsiteY38" fmla="*/ 2939 h 9732"/>
                <a:gd name="connsiteX39" fmla="*/ 1064 w 9704"/>
                <a:gd name="connsiteY39" fmla="*/ 2991 h 9732"/>
                <a:gd name="connsiteX40" fmla="*/ 976 w 9704"/>
                <a:gd name="connsiteY40" fmla="*/ 3045 h 9732"/>
                <a:gd name="connsiteX41" fmla="*/ 892 w 9704"/>
                <a:gd name="connsiteY41" fmla="*/ 3096 h 9732"/>
                <a:gd name="connsiteX42" fmla="*/ 800 w 9704"/>
                <a:gd name="connsiteY42" fmla="*/ 3142 h 9732"/>
                <a:gd name="connsiteX43" fmla="*/ 708 w 9704"/>
                <a:gd name="connsiteY43" fmla="*/ 3188 h 9732"/>
                <a:gd name="connsiteX44" fmla="*/ 877 w 9704"/>
                <a:gd name="connsiteY44" fmla="*/ 6466 h 9732"/>
                <a:gd name="connsiteX45" fmla="*/ 0 w 9704"/>
                <a:gd name="connsiteY45" fmla="*/ 9732 h 9732"/>
                <a:gd name="connsiteX46" fmla="*/ 253 w 9704"/>
                <a:gd name="connsiteY46" fmla="*/ 9700 h 9732"/>
                <a:gd name="connsiteX47" fmla="*/ 508 w 9704"/>
                <a:gd name="connsiteY47" fmla="*/ 9659 h 9732"/>
                <a:gd name="connsiteX48" fmla="*/ 755 w 9704"/>
                <a:gd name="connsiteY48" fmla="*/ 9613 h 9732"/>
                <a:gd name="connsiteX49" fmla="*/ 1012 w 9704"/>
                <a:gd name="connsiteY49" fmla="*/ 9567 h 9732"/>
                <a:gd name="connsiteX50" fmla="*/ 1251 w 9704"/>
                <a:gd name="connsiteY50" fmla="*/ 9511 h 9732"/>
                <a:gd name="connsiteX51" fmla="*/ 1497 w 9704"/>
                <a:gd name="connsiteY51" fmla="*/ 9455 h 9732"/>
                <a:gd name="connsiteX52" fmla="*/ 1740 w 9704"/>
                <a:gd name="connsiteY52" fmla="*/ 9392 h 9732"/>
                <a:gd name="connsiteX53" fmla="*/ 1980 w 9704"/>
                <a:gd name="connsiteY53" fmla="*/ 9324 h 9732"/>
                <a:gd name="connsiteX54" fmla="*/ 2213 w 9704"/>
                <a:gd name="connsiteY54" fmla="*/ 9248 h 9732"/>
                <a:gd name="connsiteX55" fmla="*/ 2448 w 9704"/>
                <a:gd name="connsiteY55" fmla="*/ 9174 h 9732"/>
                <a:gd name="connsiteX56" fmla="*/ 2684 w 9704"/>
                <a:gd name="connsiteY56" fmla="*/ 9089 h 9732"/>
                <a:gd name="connsiteX57" fmla="*/ 2918 w 9704"/>
                <a:gd name="connsiteY57" fmla="*/ 9006 h 9732"/>
                <a:gd name="connsiteX58" fmla="*/ 3142 w 9704"/>
                <a:gd name="connsiteY58" fmla="*/ 8911 h 9732"/>
                <a:gd name="connsiteX59" fmla="*/ 3366 w 9704"/>
                <a:gd name="connsiteY59" fmla="*/ 8816 h 9732"/>
                <a:gd name="connsiteX60" fmla="*/ 3593 w 9704"/>
                <a:gd name="connsiteY60" fmla="*/ 8714 h 9732"/>
                <a:gd name="connsiteX61" fmla="*/ 3811 w 9704"/>
                <a:gd name="connsiteY61" fmla="*/ 8611 h 9732"/>
                <a:gd name="connsiteX62" fmla="*/ 4027 w 9704"/>
                <a:gd name="connsiteY62" fmla="*/ 8506 h 9732"/>
                <a:gd name="connsiteX63" fmla="*/ 4245 w 9704"/>
                <a:gd name="connsiteY63" fmla="*/ 8391 h 9732"/>
                <a:gd name="connsiteX64" fmla="*/ 4456 w 9704"/>
                <a:gd name="connsiteY64" fmla="*/ 8277 h 9732"/>
                <a:gd name="connsiteX65" fmla="*/ 4664 w 9704"/>
                <a:gd name="connsiteY65" fmla="*/ 8154 h 9732"/>
                <a:gd name="connsiteX66" fmla="*/ 4871 w 9704"/>
                <a:gd name="connsiteY66" fmla="*/ 8031 h 9732"/>
                <a:gd name="connsiteX67" fmla="*/ 5067 w 9704"/>
                <a:gd name="connsiteY67" fmla="*/ 7905 h 9732"/>
                <a:gd name="connsiteX68" fmla="*/ 5265 w 9704"/>
                <a:gd name="connsiteY68" fmla="*/ 7771 h 9732"/>
                <a:gd name="connsiteX69" fmla="*/ 5462 w 9704"/>
                <a:gd name="connsiteY69" fmla="*/ 7637 h 9732"/>
                <a:gd name="connsiteX70" fmla="*/ 5652 w 9704"/>
                <a:gd name="connsiteY70" fmla="*/ 7497 h 9732"/>
                <a:gd name="connsiteX71" fmla="*/ 5844 w 9704"/>
                <a:gd name="connsiteY71" fmla="*/ 7354 h 9732"/>
                <a:gd name="connsiteX72" fmla="*/ 6027 w 9704"/>
                <a:gd name="connsiteY72" fmla="*/ 7205 h 9732"/>
                <a:gd name="connsiteX73" fmla="*/ 6210 w 9704"/>
                <a:gd name="connsiteY73" fmla="*/ 7057 h 9732"/>
                <a:gd name="connsiteX74" fmla="*/ 6385 w 9704"/>
                <a:gd name="connsiteY74" fmla="*/ 6907 h 9732"/>
                <a:gd name="connsiteX75" fmla="*/ 6563 w 9704"/>
                <a:gd name="connsiteY75" fmla="*/ 6746 h 9732"/>
                <a:gd name="connsiteX76" fmla="*/ 6734 w 9704"/>
                <a:gd name="connsiteY76" fmla="*/ 6583 h 9732"/>
                <a:gd name="connsiteX77" fmla="*/ 6899 w 9704"/>
                <a:gd name="connsiteY77" fmla="*/ 6424 h 9732"/>
                <a:gd name="connsiteX78" fmla="*/ 7063 w 9704"/>
                <a:gd name="connsiteY78" fmla="*/ 6257 h 9732"/>
                <a:gd name="connsiteX79" fmla="*/ 7221 w 9704"/>
                <a:gd name="connsiteY79" fmla="*/ 6085 h 9732"/>
                <a:gd name="connsiteX80" fmla="*/ 7378 w 9704"/>
                <a:gd name="connsiteY80" fmla="*/ 5914 h 9732"/>
                <a:gd name="connsiteX81" fmla="*/ 7529 w 9704"/>
                <a:gd name="connsiteY81" fmla="*/ 5738 h 9732"/>
                <a:gd name="connsiteX82" fmla="*/ 7680 w 9704"/>
                <a:gd name="connsiteY82" fmla="*/ 5557 h 9732"/>
                <a:gd name="connsiteX83" fmla="*/ 7819 w 9704"/>
                <a:gd name="connsiteY83" fmla="*/ 5375 h 9732"/>
                <a:gd name="connsiteX84" fmla="*/ 7956 w 9704"/>
                <a:gd name="connsiteY84" fmla="*/ 5189 h 9732"/>
                <a:gd name="connsiteX85" fmla="*/ 8094 w 9704"/>
                <a:gd name="connsiteY85" fmla="*/ 5004 h 9732"/>
                <a:gd name="connsiteX86" fmla="*/ 8223 w 9704"/>
                <a:gd name="connsiteY86" fmla="*/ 4810 h 9732"/>
                <a:gd name="connsiteX87" fmla="*/ 8348 w 9704"/>
                <a:gd name="connsiteY87" fmla="*/ 4621 h 9732"/>
                <a:gd name="connsiteX88" fmla="*/ 8470 w 9704"/>
                <a:gd name="connsiteY88" fmla="*/ 4423 h 9732"/>
                <a:gd name="connsiteX89" fmla="*/ 8583 w 9704"/>
                <a:gd name="connsiteY89" fmla="*/ 4222 h 9732"/>
                <a:gd name="connsiteX90" fmla="*/ 8695 w 9704"/>
                <a:gd name="connsiteY90" fmla="*/ 4021 h 9732"/>
                <a:gd name="connsiteX91" fmla="*/ 8807 w 9704"/>
                <a:gd name="connsiteY91" fmla="*/ 3818 h 9732"/>
                <a:gd name="connsiteX92" fmla="*/ 8912 w 9704"/>
                <a:gd name="connsiteY92" fmla="*/ 3612 h 9732"/>
                <a:gd name="connsiteX93" fmla="*/ 9005 w 9704"/>
                <a:gd name="connsiteY93" fmla="*/ 3405 h 9732"/>
                <a:gd name="connsiteX94" fmla="*/ 9102 w 9704"/>
                <a:gd name="connsiteY94" fmla="*/ 3194 h 9732"/>
                <a:gd name="connsiteX95" fmla="*/ 9187 w 9704"/>
                <a:gd name="connsiteY95" fmla="*/ 2980 h 9732"/>
                <a:gd name="connsiteX96" fmla="*/ 9273 w 9704"/>
                <a:gd name="connsiteY96" fmla="*/ 2768 h 9732"/>
                <a:gd name="connsiteX97" fmla="*/ 9348 w 9704"/>
                <a:gd name="connsiteY97" fmla="*/ 2549 h 9732"/>
                <a:gd name="connsiteX98" fmla="*/ 9420 w 9704"/>
                <a:gd name="connsiteY98" fmla="*/ 2328 h 9732"/>
                <a:gd name="connsiteX99" fmla="*/ 9486 w 9704"/>
                <a:gd name="connsiteY99" fmla="*/ 2106 h 9732"/>
                <a:gd name="connsiteX100" fmla="*/ 9552 w 9704"/>
                <a:gd name="connsiteY100" fmla="*/ 1885 h 9732"/>
                <a:gd name="connsiteX101" fmla="*/ 9607 w 9704"/>
                <a:gd name="connsiteY101" fmla="*/ 1661 h 9732"/>
                <a:gd name="connsiteX102" fmla="*/ 9659 w 9704"/>
                <a:gd name="connsiteY102" fmla="*/ 1434 h 9732"/>
                <a:gd name="connsiteX103" fmla="*/ 9704 w 9704"/>
                <a:gd name="connsiteY103" fmla="*/ 1202 h 9732"/>
                <a:gd name="connsiteX104" fmla="*/ 6115 w 9704"/>
                <a:gd name="connsiteY104" fmla="*/ 1844 h 9732"/>
                <a:gd name="connsiteX105" fmla="*/ 3120 w 9704"/>
                <a:gd name="connsiteY105" fmla="*/ 0 h 9732"/>
                <a:gd name="connsiteX0" fmla="*/ 2954 w 9739"/>
                <a:gd name="connsiteY0" fmla="*/ 0 h 9967"/>
                <a:gd name="connsiteX1" fmla="*/ 2954 w 9739"/>
                <a:gd name="connsiteY1" fmla="*/ 0 h 9967"/>
                <a:gd name="connsiteX2" fmla="*/ 2940 w 9739"/>
                <a:gd name="connsiteY2" fmla="*/ 101 h 9967"/>
                <a:gd name="connsiteX3" fmla="*/ 2919 w 9739"/>
                <a:gd name="connsiteY3" fmla="*/ 202 h 9967"/>
                <a:gd name="connsiteX4" fmla="*/ 2899 w 9739"/>
                <a:gd name="connsiteY4" fmla="*/ 303 h 9967"/>
                <a:gd name="connsiteX5" fmla="*/ 2874 w 9739"/>
                <a:gd name="connsiteY5" fmla="*/ 398 h 9967"/>
                <a:gd name="connsiteX6" fmla="*/ 2844 w 9739"/>
                <a:gd name="connsiteY6" fmla="*/ 496 h 9967"/>
                <a:gd name="connsiteX7" fmla="*/ 2816 w 9739"/>
                <a:gd name="connsiteY7" fmla="*/ 592 h 9967"/>
                <a:gd name="connsiteX8" fmla="*/ 2788 w 9739"/>
                <a:gd name="connsiteY8" fmla="*/ 688 h 9967"/>
                <a:gd name="connsiteX9" fmla="*/ 2757 w 9739"/>
                <a:gd name="connsiteY9" fmla="*/ 784 h 9967"/>
                <a:gd name="connsiteX10" fmla="*/ 2720 w 9739"/>
                <a:gd name="connsiteY10" fmla="*/ 879 h 9967"/>
                <a:gd name="connsiteX11" fmla="*/ 2681 w 9739"/>
                <a:gd name="connsiteY11" fmla="*/ 970 h 9967"/>
                <a:gd name="connsiteX12" fmla="*/ 2645 w 9739"/>
                <a:gd name="connsiteY12" fmla="*/ 1065 h 9967"/>
                <a:gd name="connsiteX13" fmla="*/ 2601 w 9739"/>
                <a:gd name="connsiteY13" fmla="*/ 1157 h 9967"/>
                <a:gd name="connsiteX14" fmla="*/ 2554 w 9739"/>
                <a:gd name="connsiteY14" fmla="*/ 1244 h 9967"/>
                <a:gd name="connsiteX15" fmla="*/ 2509 w 9739"/>
                <a:gd name="connsiteY15" fmla="*/ 1333 h 9967"/>
                <a:gd name="connsiteX16" fmla="*/ 2462 w 9739"/>
                <a:gd name="connsiteY16" fmla="*/ 1420 h 9967"/>
                <a:gd name="connsiteX17" fmla="*/ 2408 w 9739"/>
                <a:gd name="connsiteY17" fmla="*/ 1510 h 9967"/>
                <a:gd name="connsiteX18" fmla="*/ 2361 w 9739"/>
                <a:gd name="connsiteY18" fmla="*/ 1596 h 9967"/>
                <a:gd name="connsiteX19" fmla="*/ 2306 w 9739"/>
                <a:gd name="connsiteY19" fmla="*/ 1681 h 9967"/>
                <a:gd name="connsiteX20" fmla="*/ 2249 w 9739"/>
                <a:gd name="connsiteY20" fmla="*/ 1759 h 9967"/>
                <a:gd name="connsiteX21" fmla="*/ 2187 w 9739"/>
                <a:gd name="connsiteY21" fmla="*/ 1841 h 9967"/>
                <a:gd name="connsiteX22" fmla="*/ 2133 w 9739"/>
                <a:gd name="connsiteY22" fmla="*/ 1921 h 9967"/>
                <a:gd name="connsiteX23" fmla="*/ 2069 w 9739"/>
                <a:gd name="connsiteY23" fmla="*/ 2006 h 9967"/>
                <a:gd name="connsiteX24" fmla="*/ 2005 w 9739"/>
                <a:gd name="connsiteY24" fmla="*/ 2080 h 9967"/>
                <a:gd name="connsiteX25" fmla="*/ 1936 w 9739"/>
                <a:gd name="connsiteY25" fmla="*/ 2154 h 9967"/>
                <a:gd name="connsiteX26" fmla="*/ 1868 w 9739"/>
                <a:gd name="connsiteY26" fmla="*/ 2232 h 9967"/>
                <a:gd name="connsiteX27" fmla="*/ 1800 w 9739"/>
                <a:gd name="connsiteY27" fmla="*/ 2305 h 9967"/>
                <a:gd name="connsiteX28" fmla="*/ 1726 w 9739"/>
                <a:gd name="connsiteY28" fmla="*/ 2377 h 9967"/>
                <a:gd name="connsiteX29" fmla="*/ 1655 w 9739"/>
                <a:gd name="connsiteY29" fmla="*/ 2452 h 9967"/>
                <a:gd name="connsiteX30" fmla="*/ 1583 w 9739"/>
                <a:gd name="connsiteY30" fmla="*/ 2520 h 9967"/>
                <a:gd name="connsiteX31" fmla="*/ 1502 w 9739"/>
                <a:gd name="connsiteY31" fmla="*/ 2588 h 9967"/>
                <a:gd name="connsiteX32" fmla="*/ 1427 w 9739"/>
                <a:gd name="connsiteY32" fmla="*/ 2653 h 9967"/>
                <a:gd name="connsiteX33" fmla="*/ 1346 w 9739"/>
                <a:gd name="connsiteY33" fmla="*/ 2719 h 9967"/>
                <a:gd name="connsiteX34" fmla="*/ 1268 w 9739"/>
                <a:gd name="connsiteY34" fmla="*/ 2782 h 9967"/>
                <a:gd name="connsiteX35" fmla="*/ 1180 w 9739"/>
                <a:gd name="connsiteY35" fmla="*/ 2846 h 9967"/>
                <a:gd name="connsiteX36" fmla="*/ 1099 w 9739"/>
                <a:gd name="connsiteY36" fmla="*/ 2903 h 9967"/>
                <a:gd name="connsiteX37" fmla="*/ 1013 w 9739"/>
                <a:gd name="connsiteY37" fmla="*/ 2963 h 9967"/>
                <a:gd name="connsiteX38" fmla="*/ 925 w 9739"/>
                <a:gd name="connsiteY38" fmla="*/ 3020 h 9967"/>
                <a:gd name="connsiteX39" fmla="*/ 835 w 9739"/>
                <a:gd name="connsiteY39" fmla="*/ 3073 h 9967"/>
                <a:gd name="connsiteX40" fmla="*/ 745 w 9739"/>
                <a:gd name="connsiteY40" fmla="*/ 3129 h 9967"/>
                <a:gd name="connsiteX41" fmla="*/ 658 w 9739"/>
                <a:gd name="connsiteY41" fmla="*/ 3181 h 9967"/>
                <a:gd name="connsiteX42" fmla="*/ 563 w 9739"/>
                <a:gd name="connsiteY42" fmla="*/ 3229 h 9967"/>
                <a:gd name="connsiteX43" fmla="*/ 469 w 9739"/>
                <a:gd name="connsiteY43" fmla="*/ 3276 h 9967"/>
                <a:gd name="connsiteX44" fmla="*/ 643 w 9739"/>
                <a:gd name="connsiteY44" fmla="*/ 6644 h 9967"/>
                <a:gd name="connsiteX45" fmla="*/ 0 w 9739"/>
                <a:gd name="connsiteY45" fmla="*/ 9967 h 9967"/>
                <a:gd name="connsiteX46" fmla="*/ 262 w 9739"/>
                <a:gd name="connsiteY46" fmla="*/ 9925 h 9967"/>
                <a:gd name="connsiteX47" fmla="*/ 517 w 9739"/>
                <a:gd name="connsiteY47" fmla="*/ 9878 h 9967"/>
                <a:gd name="connsiteX48" fmla="*/ 782 w 9739"/>
                <a:gd name="connsiteY48" fmla="*/ 9830 h 9967"/>
                <a:gd name="connsiteX49" fmla="*/ 1028 w 9739"/>
                <a:gd name="connsiteY49" fmla="*/ 9773 h 9967"/>
                <a:gd name="connsiteX50" fmla="*/ 1282 w 9739"/>
                <a:gd name="connsiteY50" fmla="*/ 9715 h 9967"/>
                <a:gd name="connsiteX51" fmla="*/ 1532 w 9739"/>
                <a:gd name="connsiteY51" fmla="*/ 9651 h 9967"/>
                <a:gd name="connsiteX52" fmla="*/ 1779 w 9739"/>
                <a:gd name="connsiteY52" fmla="*/ 9581 h 9967"/>
                <a:gd name="connsiteX53" fmla="*/ 2020 w 9739"/>
                <a:gd name="connsiteY53" fmla="*/ 9503 h 9967"/>
                <a:gd name="connsiteX54" fmla="*/ 2262 w 9739"/>
                <a:gd name="connsiteY54" fmla="*/ 9427 h 9967"/>
                <a:gd name="connsiteX55" fmla="*/ 2505 w 9739"/>
                <a:gd name="connsiteY55" fmla="*/ 9339 h 9967"/>
                <a:gd name="connsiteX56" fmla="*/ 2746 w 9739"/>
                <a:gd name="connsiteY56" fmla="*/ 9254 h 9967"/>
                <a:gd name="connsiteX57" fmla="*/ 2977 w 9739"/>
                <a:gd name="connsiteY57" fmla="*/ 9156 h 9967"/>
                <a:gd name="connsiteX58" fmla="*/ 3208 w 9739"/>
                <a:gd name="connsiteY58" fmla="*/ 9059 h 9967"/>
                <a:gd name="connsiteX59" fmla="*/ 3442 w 9739"/>
                <a:gd name="connsiteY59" fmla="*/ 8954 h 9967"/>
                <a:gd name="connsiteX60" fmla="*/ 3666 w 9739"/>
                <a:gd name="connsiteY60" fmla="*/ 8848 h 9967"/>
                <a:gd name="connsiteX61" fmla="*/ 3889 w 9739"/>
                <a:gd name="connsiteY61" fmla="*/ 8740 h 9967"/>
                <a:gd name="connsiteX62" fmla="*/ 4113 w 9739"/>
                <a:gd name="connsiteY62" fmla="*/ 8622 h 9967"/>
                <a:gd name="connsiteX63" fmla="*/ 4331 w 9739"/>
                <a:gd name="connsiteY63" fmla="*/ 8505 h 9967"/>
                <a:gd name="connsiteX64" fmla="*/ 4545 w 9739"/>
                <a:gd name="connsiteY64" fmla="*/ 8379 h 9967"/>
                <a:gd name="connsiteX65" fmla="*/ 4759 w 9739"/>
                <a:gd name="connsiteY65" fmla="*/ 8252 h 9967"/>
                <a:gd name="connsiteX66" fmla="*/ 4961 w 9739"/>
                <a:gd name="connsiteY66" fmla="*/ 8123 h 9967"/>
                <a:gd name="connsiteX67" fmla="*/ 5165 w 9739"/>
                <a:gd name="connsiteY67" fmla="*/ 7985 h 9967"/>
                <a:gd name="connsiteX68" fmla="*/ 5368 w 9739"/>
                <a:gd name="connsiteY68" fmla="*/ 7847 h 9967"/>
                <a:gd name="connsiteX69" fmla="*/ 5563 w 9739"/>
                <a:gd name="connsiteY69" fmla="*/ 7703 h 9967"/>
                <a:gd name="connsiteX70" fmla="*/ 5761 w 9739"/>
                <a:gd name="connsiteY70" fmla="*/ 7557 h 9967"/>
                <a:gd name="connsiteX71" fmla="*/ 5950 w 9739"/>
                <a:gd name="connsiteY71" fmla="*/ 7403 h 9967"/>
                <a:gd name="connsiteX72" fmla="*/ 6138 w 9739"/>
                <a:gd name="connsiteY72" fmla="*/ 7251 h 9967"/>
                <a:gd name="connsiteX73" fmla="*/ 6319 w 9739"/>
                <a:gd name="connsiteY73" fmla="*/ 7097 h 9967"/>
                <a:gd name="connsiteX74" fmla="*/ 6502 w 9739"/>
                <a:gd name="connsiteY74" fmla="*/ 6932 h 9967"/>
                <a:gd name="connsiteX75" fmla="*/ 6678 w 9739"/>
                <a:gd name="connsiteY75" fmla="*/ 6764 h 9967"/>
                <a:gd name="connsiteX76" fmla="*/ 6848 w 9739"/>
                <a:gd name="connsiteY76" fmla="*/ 6601 h 9967"/>
                <a:gd name="connsiteX77" fmla="*/ 7017 w 9739"/>
                <a:gd name="connsiteY77" fmla="*/ 6429 h 9967"/>
                <a:gd name="connsiteX78" fmla="*/ 7180 w 9739"/>
                <a:gd name="connsiteY78" fmla="*/ 6253 h 9967"/>
                <a:gd name="connsiteX79" fmla="*/ 7342 w 9739"/>
                <a:gd name="connsiteY79" fmla="*/ 6077 h 9967"/>
                <a:gd name="connsiteX80" fmla="*/ 7498 w 9739"/>
                <a:gd name="connsiteY80" fmla="*/ 5896 h 9967"/>
                <a:gd name="connsiteX81" fmla="*/ 7653 w 9739"/>
                <a:gd name="connsiteY81" fmla="*/ 5710 h 9967"/>
                <a:gd name="connsiteX82" fmla="*/ 7797 w 9739"/>
                <a:gd name="connsiteY82" fmla="*/ 5523 h 9967"/>
                <a:gd name="connsiteX83" fmla="*/ 7938 w 9739"/>
                <a:gd name="connsiteY83" fmla="*/ 5332 h 9967"/>
                <a:gd name="connsiteX84" fmla="*/ 8080 w 9739"/>
                <a:gd name="connsiteY84" fmla="*/ 5142 h 9967"/>
                <a:gd name="connsiteX85" fmla="*/ 8213 w 9739"/>
                <a:gd name="connsiteY85" fmla="*/ 4942 h 9967"/>
                <a:gd name="connsiteX86" fmla="*/ 8342 w 9739"/>
                <a:gd name="connsiteY86" fmla="*/ 4748 h 9967"/>
                <a:gd name="connsiteX87" fmla="*/ 8467 w 9739"/>
                <a:gd name="connsiteY87" fmla="*/ 4545 h 9967"/>
                <a:gd name="connsiteX88" fmla="*/ 8584 w 9739"/>
                <a:gd name="connsiteY88" fmla="*/ 4338 h 9967"/>
                <a:gd name="connsiteX89" fmla="*/ 8699 w 9739"/>
                <a:gd name="connsiteY89" fmla="*/ 4132 h 9967"/>
                <a:gd name="connsiteX90" fmla="*/ 8815 w 9739"/>
                <a:gd name="connsiteY90" fmla="*/ 3923 h 9967"/>
                <a:gd name="connsiteX91" fmla="*/ 8923 w 9739"/>
                <a:gd name="connsiteY91" fmla="*/ 3711 h 9967"/>
                <a:gd name="connsiteX92" fmla="*/ 9019 w 9739"/>
                <a:gd name="connsiteY92" fmla="*/ 3499 h 9967"/>
                <a:gd name="connsiteX93" fmla="*/ 9119 w 9739"/>
                <a:gd name="connsiteY93" fmla="*/ 3282 h 9967"/>
                <a:gd name="connsiteX94" fmla="*/ 9206 w 9739"/>
                <a:gd name="connsiteY94" fmla="*/ 3062 h 9967"/>
                <a:gd name="connsiteX95" fmla="*/ 9295 w 9739"/>
                <a:gd name="connsiteY95" fmla="*/ 2844 h 9967"/>
                <a:gd name="connsiteX96" fmla="*/ 9372 w 9739"/>
                <a:gd name="connsiteY96" fmla="*/ 2619 h 9967"/>
                <a:gd name="connsiteX97" fmla="*/ 9446 w 9739"/>
                <a:gd name="connsiteY97" fmla="*/ 2392 h 9967"/>
                <a:gd name="connsiteX98" fmla="*/ 9514 w 9739"/>
                <a:gd name="connsiteY98" fmla="*/ 2164 h 9967"/>
                <a:gd name="connsiteX99" fmla="*/ 9582 w 9739"/>
                <a:gd name="connsiteY99" fmla="*/ 1937 h 9967"/>
                <a:gd name="connsiteX100" fmla="*/ 9639 w 9739"/>
                <a:gd name="connsiteY100" fmla="*/ 1707 h 9967"/>
                <a:gd name="connsiteX101" fmla="*/ 9693 w 9739"/>
                <a:gd name="connsiteY101" fmla="*/ 1473 h 9967"/>
                <a:gd name="connsiteX102" fmla="*/ 9739 w 9739"/>
                <a:gd name="connsiteY102" fmla="*/ 1235 h 9967"/>
                <a:gd name="connsiteX103" fmla="*/ 6041 w 9739"/>
                <a:gd name="connsiteY103" fmla="*/ 1895 h 9967"/>
                <a:gd name="connsiteX104" fmla="*/ 2954 w 9739"/>
                <a:gd name="connsiteY104" fmla="*/ 0 h 9967"/>
                <a:gd name="connsiteX0" fmla="*/ 2764 w 9731"/>
                <a:gd name="connsiteY0" fmla="*/ 0 h 9958"/>
                <a:gd name="connsiteX1" fmla="*/ 2764 w 9731"/>
                <a:gd name="connsiteY1" fmla="*/ 0 h 9958"/>
                <a:gd name="connsiteX2" fmla="*/ 2750 w 9731"/>
                <a:gd name="connsiteY2" fmla="*/ 101 h 9958"/>
                <a:gd name="connsiteX3" fmla="*/ 2728 w 9731"/>
                <a:gd name="connsiteY3" fmla="*/ 203 h 9958"/>
                <a:gd name="connsiteX4" fmla="*/ 2708 w 9731"/>
                <a:gd name="connsiteY4" fmla="*/ 304 h 9958"/>
                <a:gd name="connsiteX5" fmla="*/ 2682 w 9731"/>
                <a:gd name="connsiteY5" fmla="*/ 399 h 9958"/>
                <a:gd name="connsiteX6" fmla="*/ 2651 w 9731"/>
                <a:gd name="connsiteY6" fmla="*/ 498 h 9958"/>
                <a:gd name="connsiteX7" fmla="*/ 2622 w 9731"/>
                <a:gd name="connsiteY7" fmla="*/ 594 h 9958"/>
                <a:gd name="connsiteX8" fmla="*/ 2594 w 9731"/>
                <a:gd name="connsiteY8" fmla="*/ 690 h 9958"/>
                <a:gd name="connsiteX9" fmla="*/ 2562 w 9731"/>
                <a:gd name="connsiteY9" fmla="*/ 787 h 9958"/>
                <a:gd name="connsiteX10" fmla="*/ 2524 w 9731"/>
                <a:gd name="connsiteY10" fmla="*/ 882 h 9958"/>
                <a:gd name="connsiteX11" fmla="*/ 2484 w 9731"/>
                <a:gd name="connsiteY11" fmla="*/ 973 h 9958"/>
                <a:gd name="connsiteX12" fmla="*/ 2447 w 9731"/>
                <a:gd name="connsiteY12" fmla="*/ 1069 h 9958"/>
                <a:gd name="connsiteX13" fmla="*/ 2402 w 9731"/>
                <a:gd name="connsiteY13" fmla="*/ 1161 h 9958"/>
                <a:gd name="connsiteX14" fmla="*/ 2353 w 9731"/>
                <a:gd name="connsiteY14" fmla="*/ 1248 h 9958"/>
                <a:gd name="connsiteX15" fmla="*/ 2307 w 9731"/>
                <a:gd name="connsiteY15" fmla="*/ 1337 h 9958"/>
                <a:gd name="connsiteX16" fmla="*/ 2259 w 9731"/>
                <a:gd name="connsiteY16" fmla="*/ 1425 h 9958"/>
                <a:gd name="connsiteX17" fmla="*/ 2204 w 9731"/>
                <a:gd name="connsiteY17" fmla="*/ 1515 h 9958"/>
                <a:gd name="connsiteX18" fmla="*/ 2155 w 9731"/>
                <a:gd name="connsiteY18" fmla="*/ 1601 h 9958"/>
                <a:gd name="connsiteX19" fmla="*/ 2099 w 9731"/>
                <a:gd name="connsiteY19" fmla="*/ 1687 h 9958"/>
                <a:gd name="connsiteX20" fmla="*/ 2040 w 9731"/>
                <a:gd name="connsiteY20" fmla="*/ 1765 h 9958"/>
                <a:gd name="connsiteX21" fmla="*/ 1977 w 9731"/>
                <a:gd name="connsiteY21" fmla="*/ 1847 h 9958"/>
                <a:gd name="connsiteX22" fmla="*/ 1921 w 9731"/>
                <a:gd name="connsiteY22" fmla="*/ 1927 h 9958"/>
                <a:gd name="connsiteX23" fmla="*/ 1855 w 9731"/>
                <a:gd name="connsiteY23" fmla="*/ 2013 h 9958"/>
                <a:gd name="connsiteX24" fmla="*/ 1790 w 9731"/>
                <a:gd name="connsiteY24" fmla="*/ 2087 h 9958"/>
                <a:gd name="connsiteX25" fmla="*/ 1719 w 9731"/>
                <a:gd name="connsiteY25" fmla="*/ 2161 h 9958"/>
                <a:gd name="connsiteX26" fmla="*/ 1649 w 9731"/>
                <a:gd name="connsiteY26" fmla="*/ 2239 h 9958"/>
                <a:gd name="connsiteX27" fmla="*/ 1579 w 9731"/>
                <a:gd name="connsiteY27" fmla="*/ 2313 h 9958"/>
                <a:gd name="connsiteX28" fmla="*/ 1503 w 9731"/>
                <a:gd name="connsiteY28" fmla="*/ 2385 h 9958"/>
                <a:gd name="connsiteX29" fmla="*/ 1430 w 9731"/>
                <a:gd name="connsiteY29" fmla="*/ 2460 h 9958"/>
                <a:gd name="connsiteX30" fmla="*/ 1356 w 9731"/>
                <a:gd name="connsiteY30" fmla="*/ 2528 h 9958"/>
                <a:gd name="connsiteX31" fmla="*/ 1273 w 9731"/>
                <a:gd name="connsiteY31" fmla="*/ 2597 h 9958"/>
                <a:gd name="connsiteX32" fmla="*/ 1196 w 9731"/>
                <a:gd name="connsiteY32" fmla="*/ 2662 h 9958"/>
                <a:gd name="connsiteX33" fmla="*/ 1113 w 9731"/>
                <a:gd name="connsiteY33" fmla="*/ 2728 h 9958"/>
                <a:gd name="connsiteX34" fmla="*/ 1033 w 9731"/>
                <a:gd name="connsiteY34" fmla="*/ 2791 h 9958"/>
                <a:gd name="connsiteX35" fmla="*/ 943 w 9731"/>
                <a:gd name="connsiteY35" fmla="*/ 2855 h 9958"/>
                <a:gd name="connsiteX36" fmla="*/ 859 w 9731"/>
                <a:gd name="connsiteY36" fmla="*/ 2913 h 9958"/>
                <a:gd name="connsiteX37" fmla="*/ 771 w 9731"/>
                <a:gd name="connsiteY37" fmla="*/ 2973 h 9958"/>
                <a:gd name="connsiteX38" fmla="*/ 681 w 9731"/>
                <a:gd name="connsiteY38" fmla="*/ 3030 h 9958"/>
                <a:gd name="connsiteX39" fmla="*/ 588 w 9731"/>
                <a:gd name="connsiteY39" fmla="*/ 3083 h 9958"/>
                <a:gd name="connsiteX40" fmla="*/ 496 w 9731"/>
                <a:gd name="connsiteY40" fmla="*/ 3139 h 9958"/>
                <a:gd name="connsiteX41" fmla="*/ 407 w 9731"/>
                <a:gd name="connsiteY41" fmla="*/ 3192 h 9958"/>
                <a:gd name="connsiteX42" fmla="*/ 309 w 9731"/>
                <a:gd name="connsiteY42" fmla="*/ 3240 h 9958"/>
                <a:gd name="connsiteX43" fmla="*/ 213 w 9731"/>
                <a:gd name="connsiteY43" fmla="*/ 3287 h 9958"/>
                <a:gd name="connsiteX44" fmla="*/ 391 w 9731"/>
                <a:gd name="connsiteY44" fmla="*/ 6666 h 9958"/>
                <a:gd name="connsiteX45" fmla="*/ 0 w 9731"/>
                <a:gd name="connsiteY45" fmla="*/ 9958 h 9958"/>
                <a:gd name="connsiteX46" fmla="*/ 262 w 9731"/>
                <a:gd name="connsiteY46" fmla="*/ 9911 h 9958"/>
                <a:gd name="connsiteX47" fmla="*/ 534 w 9731"/>
                <a:gd name="connsiteY47" fmla="*/ 9863 h 9958"/>
                <a:gd name="connsiteX48" fmla="*/ 787 w 9731"/>
                <a:gd name="connsiteY48" fmla="*/ 9805 h 9958"/>
                <a:gd name="connsiteX49" fmla="*/ 1047 w 9731"/>
                <a:gd name="connsiteY49" fmla="*/ 9747 h 9958"/>
                <a:gd name="connsiteX50" fmla="*/ 1304 w 9731"/>
                <a:gd name="connsiteY50" fmla="*/ 9683 h 9958"/>
                <a:gd name="connsiteX51" fmla="*/ 1558 w 9731"/>
                <a:gd name="connsiteY51" fmla="*/ 9613 h 9958"/>
                <a:gd name="connsiteX52" fmla="*/ 1805 w 9731"/>
                <a:gd name="connsiteY52" fmla="*/ 9534 h 9958"/>
                <a:gd name="connsiteX53" fmla="*/ 2054 w 9731"/>
                <a:gd name="connsiteY53" fmla="*/ 9458 h 9958"/>
                <a:gd name="connsiteX54" fmla="*/ 2303 w 9731"/>
                <a:gd name="connsiteY54" fmla="*/ 9370 h 9958"/>
                <a:gd name="connsiteX55" fmla="*/ 2551 w 9731"/>
                <a:gd name="connsiteY55" fmla="*/ 9285 h 9958"/>
                <a:gd name="connsiteX56" fmla="*/ 2788 w 9731"/>
                <a:gd name="connsiteY56" fmla="*/ 9186 h 9958"/>
                <a:gd name="connsiteX57" fmla="*/ 3025 w 9731"/>
                <a:gd name="connsiteY57" fmla="*/ 9089 h 9958"/>
                <a:gd name="connsiteX58" fmla="*/ 3265 w 9731"/>
                <a:gd name="connsiteY58" fmla="*/ 8984 h 9958"/>
                <a:gd name="connsiteX59" fmla="*/ 3495 w 9731"/>
                <a:gd name="connsiteY59" fmla="*/ 8877 h 9958"/>
                <a:gd name="connsiteX60" fmla="*/ 3724 w 9731"/>
                <a:gd name="connsiteY60" fmla="*/ 8769 h 9958"/>
                <a:gd name="connsiteX61" fmla="*/ 3954 w 9731"/>
                <a:gd name="connsiteY61" fmla="*/ 8651 h 9958"/>
                <a:gd name="connsiteX62" fmla="*/ 4178 w 9731"/>
                <a:gd name="connsiteY62" fmla="*/ 8533 h 9958"/>
                <a:gd name="connsiteX63" fmla="*/ 4398 w 9731"/>
                <a:gd name="connsiteY63" fmla="*/ 8407 h 9958"/>
                <a:gd name="connsiteX64" fmla="*/ 4618 w 9731"/>
                <a:gd name="connsiteY64" fmla="*/ 8279 h 9958"/>
                <a:gd name="connsiteX65" fmla="*/ 4825 w 9731"/>
                <a:gd name="connsiteY65" fmla="*/ 8150 h 9958"/>
                <a:gd name="connsiteX66" fmla="*/ 5034 w 9731"/>
                <a:gd name="connsiteY66" fmla="*/ 8011 h 9958"/>
                <a:gd name="connsiteX67" fmla="*/ 5243 w 9731"/>
                <a:gd name="connsiteY67" fmla="*/ 7873 h 9958"/>
                <a:gd name="connsiteX68" fmla="*/ 5443 w 9731"/>
                <a:gd name="connsiteY68" fmla="*/ 7729 h 9958"/>
                <a:gd name="connsiteX69" fmla="*/ 5646 w 9731"/>
                <a:gd name="connsiteY69" fmla="*/ 7582 h 9958"/>
                <a:gd name="connsiteX70" fmla="*/ 5840 w 9731"/>
                <a:gd name="connsiteY70" fmla="*/ 7428 h 9958"/>
                <a:gd name="connsiteX71" fmla="*/ 6033 w 9731"/>
                <a:gd name="connsiteY71" fmla="*/ 7275 h 9958"/>
                <a:gd name="connsiteX72" fmla="*/ 6219 w 9731"/>
                <a:gd name="connsiteY72" fmla="*/ 7120 h 9958"/>
                <a:gd name="connsiteX73" fmla="*/ 6407 w 9731"/>
                <a:gd name="connsiteY73" fmla="*/ 6955 h 9958"/>
                <a:gd name="connsiteX74" fmla="*/ 6588 w 9731"/>
                <a:gd name="connsiteY74" fmla="*/ 6786 h 9958"/>
                <a:gd name="connsiteX75" fmla="*/ 6763 w 9731"/>
                <a:gd name="connsiteY75" fmla="*/ 6623 h 9958"/>
                <a:gd name="connsiteX76" fmla="*/ 6936 w 9731"/>
                <a:gd name="connsiteY76" fmla="*/ 6450 h 9958"/>
                <a:gd name="connsiteX77" fmla="*/ 7103 w 9731"/>
                <a:gd name="connsiteY77" fmla="*/ 6274 h 9958"/>
                <a:gd name="connsiteX78" fmla="*/ 7270 w 9731"/>
                <a:gd name="connsiteY78" fmla="*/ 6097 h 9958"/>
                <a:gd name="connsiteX79" fmla="*/ 7430 w 9731"/>
                <a:gd name="connsiteY79" fmla="*/ 5916 h 9958"/>
                <a:gd name="connsiteX80" fmla="*/ 7589 w 9731"/>
                <a:gd name="connsiteY80" fmla="*/ 5729 h 9958"/>
                <a:gd name="connsiteX81" fmla="*/ 7737 w 9731"/>
                <a:gd name="connsiteY81" fmla="*/ 5541 h 9958"/>
                <a:gd name="connsiteX82" fmla="*/ 7882 w 9731"/>
                <a:gd name="connsiteY82" fmla="*/ 5350 h 9958"/>
                <a:gd name="connsiteX83" fmla="*/ 8028 w 9731"/>
                <a:gd name="connsiteY83" fmla="*/ 5159 h 9958"/>
                <a:gd name="connsiteX84" fmla="*/ 8164 w 9731"/>
                <a:gd name="connsiteY84" fmla="*/ 4958 h 9958"/>
                <a:gd name="connsiteX85" fmla="*/ 8297 w 9731"/>
                <a:gd name="connsiteY85" fmla="*/ 4764 h 9958"/>
                <a:gd name="connsiteX86" fmla="*/ 8425 w 9731"/>
                <a:gd name="connsiteY86" fmla="*/ 4560 h 9958"/>
                <a:gd name="connsiteX87" fmla="*/ 8545 w 9731"/>
                <a:gd name="connsiteY87" fmla="*/ 4352 h 9958"/>
                <a:gd name="connsiteX88" fmla="*/ 8663 w 9731"/>
                <a:gd name="connsiteY88" fmla="*/ 4146 h 9958"/>
                <a:gd name="connsiteX89" fmla="*/ 8782 w 9731"/>
                <a:gd name="connsiteY89" fmla="*/ 3936 h 9958"/>
                <a:gd name="connsiteX90" fmla="*/ 8893 w 9731"/>
                <a:gd name="connsiteY90" fmla="*/ 3723 h 9958"/>
                <a:gd name="connsiteX91" fmla="*/ 8992 w 9731"/>
                <a:gd name="connsiteY91" fmla="*/ 3511 h 9958"/>
                <a:gd name="connsiteX92" fmla="*/ 9094 w 9731"/>
                <a:gd name="connsiteY92" fmla="*/ 3293 h 9958"/>
                <a:gd name="connsiteX93" fmla="*/ 9184 w 9731"/>
                <a:gd name="connsiteY93" fmla="*/ 3072 h 9958"/>
                <a:gd name="connsiteX94" fmla="*/ 9275 w 9731"/>
                <a:gd name="connsiteY94" fmla="*/ 2853 h 9958"/>
                <a:gd name="connsiteX95" fmla="*/ 9354 w 9731"/>
                <a:gd name="connsiteY95" fmla="*/ 2628 h 9958"/>
                <a:gd name="connsiteX96" fmla="*/ 9430 w 9731"/>
                <a:gd name="connsiteY96" fmla="*/ 2400 h 9958"/>
                <a:gd name="connsiteX97" fmla="*/ 9500 w 9731"/>
                <a:gd name="connsiteY97" fmla="*/ 2171 h 9958"/>
                <a:gd name="connsiteX98" fmla="*/ 9570 w 9731"/>
                <a:gd name="connsiteY98" fmla="*/ 1943 h 9958"/>
                <a:gd name="connsiteX99" fmla="*/ 9628 w 9731"/>
                <a:gd name="connsiteY99" fmla="*/ 1713 h 9958"/>
                <a:gd name="connsiteX100" fmla="*/ 9684 w 9731"/>
                <a:gd name="connsiteY100" fmla="*/ 1478 h 9958"/>
                <a:gd name="connsiteX101" fmla="*/ 9731 w 9731"/>
                <a:gd name="connsiteY101" fmla="*/ 1239 h 9958"/>
                <a:gd name="connsiteX102" fmla="*/ 5934 w 9731"/>
                <a:gd name="connsiteY102" fmla="*/ 1901 h 9958"/>
                <a:gd name="connsiteX103" fmla="*/ 2764 w 9731"/>
                <a:gd name="connsiteY103" fmla="*/ 0 h 9958"/>
                <a:gd name="connsiteX0" fmla="*/ 2621 w 9781"/>
                <a:gd name="connsiteY0" fmla="*/ 0 h 9953"/>
                <a:gd name="connsiteX1" fmla="*/ 2621 w 9781"/>
                <a:gd name="connsiteY1" fmla="*/ 0 h 9953"/>
                <a:gd name="connsiteX2" fmla="*/ 2607 w 9781"/>
                <a:gd name="connsiteY2" fmla="*/ 101 h 9953"/>
                <a:gd name="connsiteX3" fmla="*/ 2584 w 9781"/>
                <a:gd name="connsiteY3" fmla="*/ 204 h 9953"/>
                <a:gd name="connsiteX4" fmla="*/ 2564 w 9781"/>
                <a:gd name="connsiteY4" fmla="*/ 305 h 9953"/>
                <a:gd name="connsiteX5" fmla="*/ 2537 w 9781"/>
                <a:gd name="connsiteY5" fmla="*/ 401 h 9953"/>
                <a:gd name="connsiteX6" fmla="*/ 2505 w 9781"/>
                <a:gd name="connsiteY6" fmla="*/ 500 h 9953"/>
                <a:gd name="connsiteX7" fmla="*/ 2475 w 9781"/>
                <a:gd name="connsiteY7" fmla="*/ 597 h 9953"/>
                <a:gd name="connsiteX8" fmla="*/ 2447 w 9781"/>
                <a:gd name="connsiteY8" fmla="*/ 693 h 9953"/>
                <a:gd name="connsiteX9" fmla="*/ 2414 w 9781"/>
                <a:gd name="connsiteY9" fmla="*/ 790 h 9953"/>
                <a:gd name="connsiteX10" fmla="*/ 2375 w 9781"/>
                <a:gd name="connsiteY10" fmla="*/ 886 h 9953"/>
                <a:gd name="connsiteX11" fmla="*/ 2334 w 9781"/>
                <a:gd name="connsiteY11" fmla="*/ 977 h 9953"/>
                <a:gd name="connsiteX12" fmla="*/ 2296 w 9781"/>
                <a:gd name="connsiteY12" fmla="*/ 1074 h 9953"/>
                <a:gd name="connsiteX13" fmla="*/ 2249 w 9781"/>
                <a:gd name="connsiteY13" fmla="*/ 1166 h 9953"/>
                <a:gd name="connsiteX14" fmla="*/ 2199 w 9781"/>
                <a:gd name="connsiteY14" fmla="*/ 1253 h 9953"/>
                <a:gd name="connsiteX15" fmla="*/ 2152 w 9781"/>
                <a:gd name="connsiteY15" fmla="*/ 1343 h 9953"/>
                <a:gd name="connsiteX16" fmla="*/ 2102 w 9781"/>
                <a:gd name="connsiteY16" fmla="*/ 1431 h 9953"/>
                <a:gd name="connsiteX17" fmla="*/ 2046 w 9781"/>
                <a:gd name="connsiteY17" fmla="*/ 1521 h 9953"/>
                <a:gd name="connsiteX18" fmla="*/ 1996 w 9781"/>
                <a:gd name="connsiteY18" fmla="*/ 1608 h 9953"/>
                <a:gd name="connsiteX19" fmla="*/ 1938 w 9781"/>
                <a:gd name="connsiteY19" fmla="*/ 1694 h 9953"/>
                <a:gd name="connsiteX20" fmla="*/ 1877 w 9781"/>
                <a:gd name="connsiteY20" fmla="*/ 1772 h 9953"/>
                <a:gd name="connsiteX21" fmla="*/ 1813 w 9781"/>
                <a:gd name="connsiteY21" fmla="*/ 1855 h 9953"/>
                <a:gd name="connsiteX22" fmla="*/ 1755 w 9781"/>
                <a:gd name="connsiteY22" fmla="*/ 1935 h 9953"/>
                <a:gd name="connsiteX23" fmla="*/ 1687 w 9781"/>
                <a:gd name="connsiteY23" fmla="*/ 2021 h 9953"/>
                <a:gd name="connsiteX24" fmla="*/ 1620 w 9781"/>
                <a:gd name="connsiteY24" fmla="*/ 2096 h 9953"/>
                <a:gd name="connsiteX25" fmla="*/ 1548 w 9781"/>
                <a:gd name="connsiteY25" fmla="*/ 2170 h 9953"/>
                <a:gd name="connsiteX26" fmla="*/ 1476 w 9781"/>
                <a:gd name="connsiteY26" fmla="*/ 2248 h 9953"/>
                <a:gd name="connsiteX27" fmla="*/ 1404 w 9781"/>
                <a:gd name="connsiteY27" fmla="*/ 2323 h 9953"/>
                <a:gd name="connsiteX28" fmla="*/ 1326 w 9781"/>
                <a:gd name="connsiteY28" fmla="*/ 2395 h 9953"/>
                <a:gd name="connsiteX29" fmla="*/ 1251 w 9781"/>
                <a:gd name="connsiteY29" fmla="*/ 2470 h 9953"/>
                <a:gd name="connsiteX30" fmla="*/ 1174 w 9781"/>
                <a:gd name="connsiteY30" fmla="*/ 2539 h 9953"/>
                <a:gd name="connsiteX31" fmla="*/ 1089 w 9781"/>
                <a:gd name="connsiteY31" fmla="*/ 2608 h 9953"/>
                <a:gd name="connsiteX32" fmla="*/ 1010 w 9781"/>
                <a:gd name="connsiteY32" fmla="*/ 2673 h 9953"/>
                <a:gd name="connsiteX33" fmla="*/ 925 w 9781"/>
                <a:gd name="connsiteY33" fmla="*/ 2740 h 9953"/>
                <a:gd name="connsiteX34" fmla="*/ 843 w 9781"/>
                <a:gd name="connsiteY34" fmla="*/ 2803 h 9953"/>
                <a:gd name="connsiteX35" fmla="*/ 750 w 9781"/>
                <a:gd name="connsiteY35" fmla="*/ 2867 h 9953"/>
                <a:gd name="connsiteX36" fmla="*/ 664 w 9781"/>
                <a:gd name="connsiteY36" fmla="*/ 2925 h 9953"/>
                <a:gd name="connsiteX37" fmla="*/ 573 w 9781"/>
                <a:gd name="connsiteY37" fmla="*/ 2986 h 9953"/>
                <a:gd name="connsiteX38" fmla="*/ 481 w 9781"/>
                <a:gd name="connsiteY38" fmla="*/ 3043 h 9953"/>
                <a:gd name="connsiteX39" fmla="*/ 385 w 9781"/>
                <a:gd name="connsiteY39" fmla="*/ 3096 h 9953"/>
                <a:gd name="connsiteX40" fmla="*/ 291 w 9781"/>
                <a:gd name="connsiteY40" fmla="*/ 3152 h 9953"/>
                <a:gd name="connsiteX41" fmla="*/ 199 w 9781"/>
                <a:gd name="connsiteY41" fmla="*/ 3205 h 9953"/>
                <a:gd name="connsiteX42" fmla="*/ 99 w 9781"/>
                <a:gd name="connsiteY42" fmla="*/ 3254 h 9953"/>
                <a:gd name="connsiteX43" fmla="*/ 0 w 9781"/>
                <a:gd name="connsiteY43" fmla="*/ 3301 h 9953"/>
                <a:gd name="connsiteX44" fmla="*/ 183 w 9781"/>
                <a:gd name="connsiteY44" fmla="*/ 6694 h 9953"/>
                <a:gd name="connsiteX45" fmla="*/ 50 w 9781"/>
                <a:gd name="connsiteY45" fmla="*/ 9953 h 9953"/>
                <a:gd name="connsiteX46" fmla="*/ 330 w 9781"/>
                <a:gd name="connsiteY46" fmla="*/ 9905 h 9953"/>
                <a:gd name="connsiteX47" fmla="*/ 590 w 9781"/>
                <a:gd name="connsiteY47" fmla="*/ 9846 h 9953"/>
                <a:gd name="connsiteX48" fmla="*/ 857 w 9781"/>
                <a:gd name="connsiteY48" fmla="*/ 9788 h 9953"/>
                <a:gd name="connsiteX49" fmla="*/ 1121 w 9781"/>
                <a:gd name="connsiteY49" fmla="*/ 9724 h 9953"/>
                <a:gd name="connsiteX50" fmla="*/ 1382 w 9781"/>
                <a:gd name="connsiteY50" fmla="*/ 9654 h 9953"/>
                <a:gd name="connsiteX51" fmla="*/ 1636 w 9781"/>
                <a:gd name="connsiteY51" fmla="*/ 9574 h 9953"/>
                <a:gd name="connsiteX52" fmla="*/ 1892 w 9781"/>
                <a:gd name="connsiteY52" fmla="*/ 9498 h 9953"/>
                <a:gd name="connsiteX53" fmla="*/ 2148 w 9781"/>
                <a:gd name="connsiteY53" fmla="*/ 9410 h 9953"/>
                <a:gd name="connsiteX54" fmla="*/ 2403 w 9781"/>
                <a:gd name="connsiteY54" fmla="*/ 9324 h 9953"/>
                <a:gd name="connsiteX55" fmla="*/ 2646 w 9781"/>
                <a:gd name="connsiteY55" fmla="*/ 9225 h 9953"/>
                <a:gd name="connsiteX56" fmla="*/ 2890 w 9781"/>
                <a:gd name="connsiteY56" fmla="*/ 9127 h 9953"/>
                <a:gd name="connsiteX57" fmla="*/ 3136 w 9781"/>
                <a:gd name="connsiteY57" fmla="*/ 9022 h 9953"/>
                <a:gd name="connsiteX58" fmla="*/ 3373 w 9781"/>
                <a:gd name="connsiteY58" fmla="*/ 8914 h 9953"/>
                <a:gd name="connsiteX59" fmla="*/ 3608 w 9781"/>
                <a:gd name="connsiteY59" fmla="*/ 8806 h 9953"/>
                <a:gd name="connsiteX60" fmla="*/ 3844 w 9781"/>
                <a:gd name="connsiteY60" fmla="*/ 8687 h 9953"/>
                <a:gd name="connsiteX61" fmla="*/ 4074 w 9781"/>
                <a:gd name="connsiteY61" fmla="*/ 8569 h 9953"/>
                <a:gd name="connsiteX62" fmla="*/ 4301 w 9781"/>
                <a:gd name="connsiteY62" fmla="*/ 8442 h 9953"/>
                <a:gd name="connsiteX63" fmla="*/ 4527 w 9781"/>
                <a:gd name="connsiteY63" fmla="*/ 8314 h 9953"/>
                <a:gd name="connsiteX64" fmla="*/ 4739 w 9781"/>
                <a:gd name="connsiteY64" fmla="*/ 8184 h 9953"/>
                <a:gd name="connsiteX65" fmla="*/ 4954 w 9781"/>
                <a:gd name="connsiteY65" fmla="*/ 8045 h 9953"/>
                <a:gd name="connsiteX66" fmla="*/ 5169 w 9781"/>
                <a:gd name="connsiteY66" fmla="*/ 7906 h 9953"/>
                <a:gd name="connsiteX67" fmla="*/ 5374 w 9781"/>
                <a:gd name="connsiteY67" fmla="*/ 7762 h 9953"/>
                <a:gd name="connsiteX68" fmla="*/ 5583 w 9781"/>
                <a:gd name="connsiteY68" fmla="*/ 7614 h 9953"/>
                <a:gd name="connsiteX69" fmla="*/ 5782 w 9781"/>
                <a:gd name="connsiteY69" fmla="*/ 7459 h 9953"/>
                <a:gd name="connsiteX70" fmla="*/ 5981 w 9781"/>
                <a:gd name="connsiteY70" fmla="*/ 7306 h 9953"/>
                <a:gd name="connsiteX71" fmla="*/ 6172 w 9781"/>
                <a:gd name="connsiteY71" fmla="*/ 7150 h 9953"/>
                <a:gd name="connsiteX72" fmla="*/ 6365 w 9781"/>
                <a:gd name="connsiteY72" fmla="*/ 6984 h 9953"/>
                <a:gd name="connsiteX73" fmla="*/ 6551 w 9781"/>
                <a:gd name="connsiteY73" fmla="*/ 6815 h 9953"/>
                <a:gd name="connsiteX74" fmla="*/ 6731 w 9781"/>
                <a:gd name="connsiteY74" fmla="*/ 6651 h 9953"/>
                <a:gd name="connsiteX75" fmla="*/ 6909 w 9781"/>
                <a:gd name="connsiteY75" fmla="*/ 6477 h 9953"/>
                <a:gd name="connsiteX76" fmla="*/ 7080 w 9781"/>
                <a:gd name="connsiteY76" fmla="*/ 6300 h 9953"/>
                <a:gd name="connsiteX77" fmla="*/ 7252 w 9781"/>
                <a:gd name="connsiteY77" fmla="*/ 6123 h 9953"/>
                <a:gd name="connsiteX78" fmla="*/ 7416 w 9781"/>
                <a:gd name="connsiteY78" fmla="*/ 5941 h 9953"/>
                <a:gd name="connsiteX79" fmla="*/ 7580 w 9781"/>
                <a:gd name="connsiteY79" fmla="*/ 5753 h 9953"/>
                <a:gd name="connsiteX80" fmla="*/ 7732 w 9781"/>
                <a:gd name="connsiteY80" fmla="*/ 5564 h 9953"/>
                <a:gd name="connsiteX81" fmla="*/ 7881 w 9781"/>
                <a:gd name="connsiteY81" fmla="*/ 5373 h 9953"/>
                <a:gd name="connsiteX82" fmla="*/ 8031 w 9781"/>
                <a:gd name="connsiteY82" fmla="*/ 5181 h 9953"/>
                <a:gd name="connsiteX83" fmla="*/ 8171 w 9781"/>
                <a:gd name="connsiteY83" fmla="*/ 4979 h 9953"/>
                <a:gd name="connsiteX84" fmla="*/ 8307 w 9781"/>
                <a:gd name="connsiteY84" fmla="*/ 4784 h 9953"/>
                <a:gd name="connsiteX85" fmla="*/ 8439 w 9781"/>
                <a:gd name="connsiteY85" fmla="*/ 4579 h 9953"/>
                <a:gd name="connsiteX86" fmla="*/ 8562 w 9781"/>
                <a:gd name="connsiteY86" fmla="*/ 4370 h 9953"/>
                <a:gd name="connsiteX87" fmla="*/ 8683 w 9781"/>
                <a:gd name="connsiteY87" fmla="*/ 4163 h 9953"/>
                <a:gd name="connsiteX88" fmla="*/ 8806 w 9781"/>
                <a:gd name="connsiteY88" fmla="*/ 3953 h 9953"/>
                <a:gd name="connsiteX89" fmla="*/ 8920 w 9781"/>
                <a:gd name="connsiteY89" fmla="*/ 3739 h 9953"/>
                <a:gd name="connsiteX90" fmla="*/ 9022 w 9781"/>
                <a:gd name="connsiteY90" fmla="*/ 3526 h 9953"/>
                <a:gd name="connsiteX91" fmla="*/ 9126 w 9781"/>
                <a:gd name="connsiteY91" fmla="*/ 3307 h 9953"/>
                <a:gd name="connsiteX92" fmla="*/ 9219 w 9781"/>
                <a:gd name="connsiteY92" fmla="*/ 3085 h 9953"/>
                <a:gd name="connsiteX93" fmla="*/ 9312 w 9781"/>
                <a:gd name="connsiteY93" fmla="*/ 2865 h 9953"/>
                <a:gd name="connsiteX94" fmla="*/ 9394 w 9781"/>
                <a:gd name="connsiteY94" fmla="*/ 2639 h 9953"/>
                <a:gd name="connsiteX95" fmla="*/ 9472 w 9781"/>
                <a:gd name="connsiteY95" fmla="*/ 2410 h 9953"/>
                <a:gd name="connsiteX96" fmla="*/ 9544 w 9781"/>
                <a:gd name="connsiteY96" fmla="*/ 2180 h 9953"/>
                <a:gd name="connsiteX97" fmla="*/ 9616 w 9781"/>
                <a:gd name="connsiteY97" fmla="*/ 1951 h 9953"/>
                <a:gd name="connsiteX98" fmla="*/ 9675 w 9781"/>
                <a:gd name="connsiteY98" fmla="*/ 1720 h 9953"/>
                <a:gd name="connsiteX99" fmla="*/ 9733 w 9781"/>
                <a:gd name="connsiteY99" fmla="*/ 1484 h 9953"/>
                <a:gd name="connsiteX100" fmla="*/ 9781 w 9781"/>
                <a:gd name="connsiteY100" fmla="*/ 1244 h 9953"/>
                <a:gd name="connsiteX101" fmla="*/ 5879 w 9781"/>
                <a:gd name="connsiteY101" fmla="*/ 1909 h 9953"/>
                <a:gd name="connsiteX102" fmla="*/ 2621 w 9781"/>
                <a:gd name="connsiteY102" fmla="*/ 0 h 9953"/>
                <a:gd name="connsiteX0" fmla="*/ 2680 w 10000"/>
                <a:gd name="connsiteY0" fmla="*/ 0 h 10176"/>
                <a:gd name="connsiteX1" fmla="*/ 2680 w 10000"/>
                <a:gd name="connsiteY1" fmla="*/ 0 h 10176"/>
                <a:gd name="connsiteX2" fmla="*/ 2665 w 10000"/>
                <a:gd name="connsiteY2" fmla="*/ 101 h 10176"/>
                <a:gd name="connsiteX3" fmla="*/ 2642 w 10000"/>
                <a:gd name="connsiteY3" fmla="*/ 205 h 10176"/>
                <a:gd name="connsiteX4" fmla="*/ 2621 w 10000"/>
                <a:gd name="connsiteY4" fmla="*/ 306 h 10176"/>
                <a:gd name="connsiteX5" fmla="*/ 2594 w 10000"/>
                <a:gd name="connsiteY5" fmla="*/ 403 h 10176"/>
                <a:gd name="connsiteX6" fmla="*/ 2561 w 10000"/>
                <a:gd name="connsiteY6" fmla="*/ 502 h 10176"/>
                <a:gd name="connsiteX7" fmla="*/ 2530 w 10000"/>
                <a:gd name="connsiteY7" fmla="*/ 600 h 10176"/>
                <a:gd name="connsiteX8" fmla="*/ 2502 w 10000"/>
                <a:gd name="connsiteY8" fmla="*/ 696 h 10176"/>
                <a:gd name="connsiteX9" fmla="*/ 2468 w 10000"/>
                <a:gd name="connsiteY9" fmla="*/ 794 h 10176"/>
                <a:gd name="connsiteX10" fmla="*/ 2428 w 10000"/>
                <a:gd name="connsiteY10" fmla="*/ 890 h 10176"/>
                <a:gd name="connsiteX11" fmla="*/ 2386 w 10000"/>
                <a:gd name="connsiteY11" fmla="*/ 982 h 10176"/>
                <a:gd name="connsiteX12" fmla="*/ 2347 w 10000"/>
                <a:gd name="connsiteY12" fmla="*/ 1079 h 10176"/>
                <a:gd name="connsiteX13" fmla="*/ 2299 w 10000"/>
                <a:gd name="connsiteY13" fmla="*/ 1172 h 10176"/>
                <a:gd name="connsiteX14" fmla="*/ 2248 w 10000"/>
                <a:gd name="connsiteY14" fmla="*/ 1259 h 10176"/>
                <a:gd name="connsiteX15" fmla="*/ 2200 w 10000"/>
                <a:gd name="connsiteY15" fmla="*/ 1349 h 10176"/>
                <a:gd name="connsiteX16" fmla="*/ 2149 w 10000"/>
                <a:gd name="connsiteY16" fmla="*/ 1438 h 10176"/>
                <a:gd name="connsiteX17" fmla="*/ 2092 w 10000"/>
                <a:gd name="connsiteY17" fmla="*/ 1528 h 10176"/>
                <a:gd name="connsiteX18" fmla="*/ 2041 w 10000"/>
                <a:gd name="connsiteY18" fmla="*/ 1616 h 10176"/>
                <a:gd name="connsiteX19" fmla="*/ 1981 w 10000"/>
                <a:gd name="connsiteY19" fmla="*/ 1702 h 10176"/>
                <a:gd name="connsiteX20" fmla="*/ 1919 w 10000"/>
                <a:gd name="connsiteY20" fmla="*/ 1780 h 10176"/>
                <a:gd name="connsiteX21" fmla="*/ 1854 w 10000"/>
                <a:gd name="connsiteY21" fmla="*/ 1864 h 10176"/>
                <a:gd name="connsiteX22" fmla="*/ 1794 w 10000"/>
                <a:gd name="connsiteY22" fmla="*/ 1944 h 10176"/>
                <a:gd name="connsiteX23" fmla="*/ 1725 w 10000"/>
                <a:gd name="connsiteY23" fmla="*/ 2031 h 10176"/>
                <a:gd name="connsiteX24" fmla="*/ 1656 w 10000"/>
                <a:gd name="connsiteY24" fmla="*/ 2106 h 10176"/>
                <a:gd name="connsiteX25" fmla="*/ 1583 w 10000"/>
                <a:gd name="connsiteY25" fmla="*/ 2180 h 10176"/>
                <a:gd name="connsiteX26" fmla="*/ 1509 w 10000"/>
                <a:gd name="connsiteY26" fmla="*/ 2259 h 10176"/>
                <a:gd name="connsiteX27" fmla="*/ 1435 w 10000"/>
                <a:gd name="connsiteY27" fmla="*/ 2334 h 10176"/>
                <a:gd name="connsiteX28" fmla="*/ 1356 w 10000"/>
                <a:gd name="connsiteY28" fmla="*/ 2406 h 10176"/>
                <a:gd name="connsiteX29" fmla="*/ 1279 w 10000"/>
                <a:gd name="connsiteY29" fmla="*/ 2482 h 10176"/>
                <a:gd name="connsiteX30" fmla="*/ 1200 w 10000"/>
                <a:gd name="connsiteY30" fmla="*/ 2551 h 10176"/>
                <a:gd name="connsiteX31" fmla="*/ 1113 w 10000"/>
                <a:gd name="connsiteY31" fmla="*/ 2620 h 10176"/>
                <a:gd name="connsiteX32" fmla="*/ 1033 w 10000"/>
                <a:gd name="connsiteY32" fmla="*/ 2686 h 10176"/>
                <a:gd name="connsiteX33" fmla="*/ 946 w 10000"/>
                <a:gd name="connsiteY33" fmla="*/ 2753 h 10176"/>
                <a:gd name="connsiteX34" fmla="*/ 862 w 10000"/>
                <a:gd name="connsiteY34" fmla="*/ 2816 h 10176"/>
                <a:gd name="connsiteX35" fmla="*/ 767 w 10000"/>
                <a:gd name="connsiteY35" fmla="*/ 2881 h 10176"/>
                <a:gd name="connsiteX36" fmla="*/ 679 w 10000"/>
                <a:gd name="connsiteY36" fmla="*/ 2939 h 10176"/>
                <a:gd name="connsiteX37" fmla="*/ 586 w 10000"/>
                <a:gd name="connsiteY37" fmla="*/ 3000 h 10176"/>
                <a:gd name="connsiteX38" fmla="*/ 492 w 10000"/>
                <a:gd name="connsiteY38" fmla="*/ 3057 h 10176"/>
                <a:gd name="connsiteX39" fmla="*/ 394 w 10000"/>
                <a:gd name="connsiteY39" fmla="*/ 3111 h 10176"/>
                <a:gd name="connsiteX40" fmla="*/ 298 w 10000"/>
                <a:gd name="connsiteY40" fmla="*/ 3167 h 10176"/>
                <a:gd name="connsiteX41" fmla="*/ 203 w 10000"/>
                <a:gd name="connsiteY41" fmla="*/ 3220 h 10176"/>
                <a:gd name="connsiteX42" fmla="*/ 101 w 10000"/>
                <a:gd name="connsiteY42" fmla="*/ 3269 h 10176"/>
                <a:gd name="connsiteX43" fmla="*/ 0 w 10000"/>
                <a:gd name="connsiteY43" fmla="*/ 3317 h 10176"/>
                <a:gd name="connsiteX44" fmla="*/ 187 w 10000"/>
                <a:gd name="connsiteY44" fmla="*/ 6726 h 10176"/>
                <a:gd name="connsiteX45" fmla="*/ 337 w 10000"/>
                <a:gd name="connsiteY45" fmla="*/ 9952 h 10176"/>
                <a:gd name="connsiteX46" fmla="*/ 603 w 10000"/>
                <a:gd name="connsiteY46" fmla="*/ 9892 h 10176"/>
                <a:gd name="connsiteX47" fmla="*/ 876 w 10000"/>
                <a:gd name="connsiteY47" fmla="*/ 9834 h 10176"/>
                <a:gd name="connsiteX48" fmla="*/ 1146 w 10000"/>
                <a:gd name="connsiteY48" fmla="*/ 9770 h 10176"/>
                <a:gd name="connsiteX49" fmla="*/ 1413 w 10000"/>
                <a:gd name="connsiteY49" fmla="*/ 9700 h 10176"/>
                <a:gd name="connsiteX50" fmla="*/ 1673 w 10000"/>
                <a:gd name="connsiteY50" fmla="*/ 9619 h 10176"/>
                <a:gd name="connsiteX51" fmla="*/ 1934 w 10000"/>
                <a:gd name="connsiteY51" fmla="*/ 9543 h 10176"/>
                <a:gd name="connsiteX52" fmla="*/ 2196 w 10000"/>
                <a:gd name="connsiteY52" fmla="*/ 9454 h 10176"/>
                <a:gd name="connsiteX53" fmla="*/ 2457 w 10000"/>
                <a:gd name="connsiteY53" fmla="*/ 9368 h 10176"/>
                <a:gd name="connsiteX54" fmla="*/ 2705 w 10000"/>
                <a:gd name="connsiteY54" fmla="*/ 9269 h 10176"/>
                <a:gd name="connsiteX55" fmla="*/ 2955 w 10000"/>
                <a:gd name="connsiteY55" fmla="*/ 9170 h 10176"/>
                <a:gd name="connsiteX56" fmla="*/ 3206 w 10000"/>
                <a:gd name="connsiteY56" fmla="*/ 9065 h 10176"/>
                <a:gd name="connsiteX57" fmla="*/ 3449 w 10000"/>
                <a:gd name="connsiteY57" fmla="*/ 8956 h 10176"/>
                <a:gd name="connsiteX58" fmla="*/ 3689 w 10000"/>
                <a:gd name="connsiteY58" fmla="*/ 8848 h 10176"/>
                <a:gd name="connsiteX59" fmla="*/ 3930 w 10000"/>
                <a:gd name="connsiteY59" fmla="*/ 8728 h 10176"/>
                <a:gd name="connsiteX60" fmla="*/ 4165 w 10000"/>
                <a:gd name="connsiteY60" fmla="*/ 8609 h 10176"/>
                <a:gd name="connsiteX61" fmla="*/ 4397 w 10000"/>
                <a:gd name="connsiteY61" fmla="*/ 8482 h 10176"/>
                <a:gd name="connsiteX62" fmla="*/ 4628 w 10000"/>
                <a:gd name="connsiteY62" fmla="*/ 8353 h 10176"/>
                <a:gd name="connsiteX63" fmla="*/ 4845 w 10000"/>
                <a:gd name="connsiteY63" fmla="*/ 8223 h 10176"/>
                <a:gd name="connsiteX64" fmla="*/ 5065 w 10000"/>
                <a:gd name="connsiteY64" fmla="*/ 8083 h 10176"/>
                <a:gd name="connsiteX65" fmla="*/ 5285 w 10000"/>
                <a:gd name="connsiteY65" fmla="*/ 7943 h 10176"/>
                <a:gd name="connsiteX66" fmla="*/ 5494 w 10000"/>
                <a:gd name="connsiteY66" fmla="*/ 7799 h 10176"/>
                <a:gd name="connsiteX67" fmla="*/ 5708 w 10000"/>
                <a:gd name="connsiteY67" fmla="*/ 7650 h 10176"/>
                <a:gd name="connsiteX68" fmla="*/ 5911 w 10000"/>
                <a:gd name="connsiteY68" fmla="*/ 7494 h 10176"/>
                <a:gd name="connsiteX69" fmla="*/ 6115 w 10000"/>
                <a:gd name="connsiteY69" fmla="*/ 7341 h 10176"/>
                <a:gd name="connsiteX70" fmla="*/ 6310 w 10000"/>
                <a:gd name="connsiteY70" fmla="*/ 7184 h 10176"/>
                <a:gd name="connsiteX71" fmla="*/ 6508 w 10000"/>
                <a:gd name="connsiteY71" fmla="*/ 7017 h 10176"/>
                <a:gd name="connsiteX72" fmla="*/ 6698 w 10000"/>
                <a:gd name="connsiteY72" fmla="*/ 6847 h 10176"/>
                <a:gd name="connsiteX73" fmla="*/ 6882 w 10000"/>
                <a:gd name="connsiteY73" fmla="*/ 6682 h 10176"/>
                <a:gd name="connsiteX74" fmla="*/ 7064 w 10000"/>
                <a:gd name="connsiteY74" fmla="*/ 6508 h 10176"/>
                <a:gd name="connsiteX75" fmla="*/ 7239 w 10000"/>
                <a:gd name="connsiteY75" fmla="*/ 6330 h 10176"/>
                <a:gd name="connsiteX76" fmla="*/ 7414 w 10000"/>
                <a:gd name="connsiteY76" fmla="*/ 6152 h 10176"/>
                <a:gd name="connsiteX77" fmla="*/ 7582 w 10000"/>
                <a:gd name="connsiteY77" fmla="*/ 5969 h 10176"/>
                <a:gd name="connsiteX78" fmla="*/ 7750 w 10000"/>
                <a:gd name="connsiteY78" fmla="*/ 5780 h 10176"/>
                <a:gd name="connsiteX79" fmla="*/ 7905 w 10000"/>
                <a:gd name="connsiteY79" fmla="*/ 5590 h 10176"/>
                <a:gd name="connsiteX80" fmla="*/ 8057 w 10000"/>
                <a:gd name="connsiteY80" fmla="*/ 5398 h 10176"/>
                <a:gd name="connsiteX81" fmla="*/ 8211 w 10000"/>
                <a:gd name="connsiteY81" fmla="*/ 5205 h 10176"/>
                <a:gd name="connsiteX82" fmla="*/ 8354 w 10000"/>
                <a:gd name="connsiteY82" fmla="*/ 5003 h 10176"/>
                <a:gd name="connsiteX83" fmla="*/ 8493 w 10000"/>
                <a:gd name="connsiteY83" fmla="*/ 4807 h 10176"/>
                <a:gd name="connsiteX84" fmla="*/ 8628 w 10000"/>
                <a:gd name="connsiteY84" fmla="*/ 4601 h 10176"/>
                <a:gd name="connsiteX85" fmla="*/ 8754 w 10000"/>
                <a:gd name="connsiteY85" fmla="*/ 4391 h 10176"/>
                <a:gd name="connsiteX86" fmla="*/ 8877 w 10000"/>
                <a:gd name="connsiteY86" fmla="*/ 4183 h 10176"/>
                <a:gd name="connsiteX87" fmla="*/ 9003 w 10000"/>
                <a:gd name="connsiteY87" fmla="*/ 3972 h 10176"/>
                <a:gd name="connsiteX88" fmla="*/ 9120 w 10000"/>
                <a:gd name="connsiteY88" fmla="*/ 3757 h 10176"/>
                <a:gd name="connsiteX89" fmla="*/ 9224 w 10000"/>
                <a:gd name="connsiteY89" fmla="*/ 3543 h 10176"/>
                <a:gd name="connsiteX90" fmla="*/ 9330 w 10000"/>
                <a:gd name="connsiteY90" fmla="*/ 3323 h 10176"/>
                <a:gd name="connsiteX91" fmla="*/ 9425 w 10000"/>
                <a:gd name="connsiteY91" fmla="*/ 3100 h 10176"/>
                <a:gd name="connsiteX92" fmla="*/ 9520 w 10000"/>
                <a:gd name="connsiteY92" fmla="*/ 2879 h 10176"/>
                <a:gd name="connsiteX93" fmla="*/ 9604 w 10000"/>
                <a:gd name="connsiteY93" fmla="*/ 2651 h 10176"/>
                <a:gd name="connsiteX94" fmla="*/ 9684 w 10000"/>
                <a:gd name="connsiteY94" fmla="*/ 2421 h 10176"/>
                <a:gd name="connsiteX95" fmla="*/ 9758 w 10000"/>
                <a:gd name="connsiteY95" fmla="*/ 2190 h 10176"/>
                <a:gd name="connsiteX96" fmla="*/ 9831 w 10000"/>
                <a:gd name="connsiteY96" fmla="*/ 1960 h 10176"/>
                <a:gd name="connsiteX97" fmla="*/ 9892 w 10000"/>
                <a:gd name="connsiteY97" fmla="*/ 1728 h 10176"/>
                <a:gd name="connsiteX98" fmla="*/ 9951 w 10000"/>
                <a:gd name="connsiteY98" fmla="*/ 1491 h 10176"/>
                <a:gd name="connsiteX99" fmla="*/ 10000 w 10000"/>
                <a:gd name="connsiteY99" fmla="*/ 1250 h 10176"/>
                <a:gd name="connsiteX100" fmla="*/ 6011 w 10000"/>
                <a:gd name="connsiteY100" fmla="*/ 1918 h 10176"/>
                <a:gd name="connsiteX101" fmla="*/ 2680 w 10000"/>
                <a:gd name="connsiteY101" fmla="*/ 0 h 10176"/>
                <a:gd name="connsiteX0" fmla="*/ 2680 w 10000"/>
                <a:gd name="connsiteY0" fmla="*/ 0 h 9892"/>
                <a:gd name="connsiteX1" fmla="*/ 2680 w 10000"/>
                <a:gd name="connsiteY1" fmla="*/ 0 h 9892"/>
                <a:gd name="connsiteX2" fmla="*/ 2665 w 10000"/>
                <a:gd name="connsiteY2" fmla="*/ 101 h 9892"/>
                <a:gd name="connsiteX3" fmla="*/ 2642 w 10000"/>
                <a:gd name="connsiteY3" fmla="*/ 205 h 9892"/>
                <a:gd name="connsiteX4" fmla="*/ 2621 w 10000"/>
                <a:gd name="connsiteY4" fmla="*/ 306 h 9892"/>
                <a:gd name="connsiteX5" fmla="*/ 2594 w 10000"/>
                <a:gd name="connsiteY5" fmla="*/ 403 h 9892"/>
                <a:gd name="connsiteX6" fmla="*/ 2561 w 10000"/>
                <a:gd name="connsiteY6" fmla="*/ 502 h 9892"/>
                <a:gd name="connsiteX7" fmla="*/ 2530 w 10000"/>
                <a:gd name="connsiteY7" fmla="*/ 600 h 9892"/>
                <a:gd name="connsiteX8" fmla="*/ 2502 w 10000"/>
                <a:gd name="connsiteY8" fmla="*/ 696 h 9892"/>
                <a:gd name="connsiteX9" fmla="*/ 2468 w 10000"/>
                <a:gd name="connsiteY9" fmla="*/ 794 h 9892"/>
                <a:gd name="connsiteX10" fmla="*/ 2428 w 10000"/>
                <a:gd name="connsiteY10" fmla="*/ 890 h 9892"/>
                <a:gd name="connsiteX11" fmla="*/ 2386 w 10000"/>
                <a:gd name="connsiteY11" fmla="*/ 982 h 9892"/>
                <a:gd name="connsiteX12" fmla="*/ 2347 w 10000"/>
                <a:gd name="connsiteY12" fmla="*/ 1079 h 9892"/>
                <a:gd name="connsiteX13" fmla="*/ 2299 w 10000"/>
                <a:gd name="connsiteY13" fmla="*/ 1172 h 9892"/>
                <a:gd name="connsiteX14" fmla="*/ 2248 w 10000"/>
                <a:gd name="connsiteY14" fmla="*/ 1259 h 9892"/>
                <a:gd name="connsiteX15" fmla="*/ 2200 w 10000"/>
                <a:gd name="connsiteY15" fmla="*/ 1349 h 9892"/>
                <a:gd name="connsiteX16" fmla="*/ 2149 w 10000"/>
                <a:gd name="connsiteY16" fmla="*/ 1438 h 9892"/>
                <a:gd name="connsiteX17" fmla="*/ 2092 w 10000"/>
                <a:gd name="connsiteY17" fmla="*/ 1528 h 9892"/>
                <a:gd name="connsiteX18" fmla="*/ 2041 w 10000"/>
                <a:gd name="connsiteY18" fmla="*/ 1616 h 9892"/>
                <a:gd name="connsiteX19" fmla="*/ 1981 w 10000"/>
                <a:gd name="connsiteY19" fmla="*/ 1702 h 9892"/>
                <a:gd name="connsiteX20" fmla="*/ 1919 w 10000"/>
                <a:gd name="connsiteY20" fmla="*/ 1780 h 9892"/>
                <a:gd name="connsiteX21" fmla="*/ 1854 w 10000"/>
                <a:gd name="connsiteY21" fmla="*/ 1864 h 9892"/>
                <a:gd name="connsiteX22" fmla="*/ 1794 w 10000"/>
                <a:gd name="connsiteY22" fmla="*/ 1944 h 9892"/>
                <a:gd name="connsiteX23" fmla="*/ 1725 w 10000"/>
                <a:gd name="connsiteY23" fmla="*/ 2031 h 9892"/>
                <a:gd name="connsiteX24" fmla="*/ 1656 w 10000"/>
                <a:gd name="connsiteY24" fmla="*/ 2106 h 9892"/>
                <a:gd name="connsiteX25" fmla="*/ 1583 w 10000"/>
                <a:gd name="connsiteY25" fmla="*/ 2180 h 9892"/>
                <a:gd name="connsiteX26" fmla="*/ 1509 w 10000"/>
                <a:gd name="connsiteY26" fmla="*/ 2259 h 9892"/>
                <a:gd name="connsiteX27" fmla="*/ 1435 w 10000"/>
                <a:gd name="connsiteY27" fmla="*/ 2334 h 9892"/>
                <a:gd name="connsiteX28" fmla="*/ 1356 w 10000"/>
                <a:gd name="connsiteY28" fmla="*/ 2406 h 9892"/>
                <a:gd name="connsiteX29" fmla="*/ 1279 w 10000"/>
                <a:gd name="connsiteY29" fmla="*/ 2482 h 9892"/>
                <a:gd name="connsiteX30" fmla="*/ 1200 w 10000"/>
                <a:gd name="connsiteY30" fmla="*/ 2551 h 9892"/>
                <a:gd name="connsiteX31" fmla="*/ 1113 w 10000"/>
                <a:gd name="connsiteY31" fmla="*/ 2620 h 9892"/>
                <a:gd name="connsiteX32" fmla="*/ 1033 w 10000"/>
                <a:gd name="connsiteY32" fmla="*/ 2686 h 9892"/>
                <a:gd name="connsiteX33" fmla="*/ 946 w 10000"/>
                <a:gd name="connsiteY33" fmla="*/ 2753 h 9892"/>
                <a:gd name="connsiteX34" fmla="*/ 862 w 10000"/>
                <a:gd name="connsiteY34" fmla="*/ 2816 h 9892"/>
                <a:gd name="connsiteX35" fmla="*/ 767 w 10000"/>
                <a:gd name="connsiteY35" fmla="*/ 2881 h 9892"/>
                <a:gd name="connsiteX36" fmla="*/ 679 w 10000"/>
                <a:gd name="connsiteY36" fmla="*/ 2939 h 9892"/>
                <a:gd name="connsiteX37" fmla="*/ 586 w 10000"/>
                <a:gd name="connsiteY37" fmla="*/ 3000 h 9892"/>
                <a:gd name="connsiteX38" fmla="*/ 492 w 10000"/>
                <a:gd name="connsiteY38" fmla="*/ 3057 h 9892"/>
                <a:gd name="connsiteX39" fmla="*/ 394 w 10000"/>
                <a:gd name="connsiteY39" fmla="*/ 3111 h 9892"/>
                <a:gd name="connsiteX40" fmla="*/ 298 w 10000"/>
                <a:gd name="connsiteY40" fmla="*/ 3167 h 9892"/>
                <a:gd name="connsiteX41" fmla="*/ 203 w 10000"/>
                <a:gd name="connsiteY41" fmla="*/ 3220 h 9892"/>
                <a:gd name="connsiteX42" fmla="*/ 101 w 10000"/>
                <a:gd name="connsiteY42" fmla="*/ 3269 h 9892"/>
                <a:gd name="connsiteX43" fmla="*/ 0 w 10000"/>
                <a:gd name="connsiteY43" fmla="*/ 3317 h 9892"/>
                <a:gd name="connsiteX44" fmla="*/ 187 w 10000"/>
                <a:gd name="connsiteY44" fmla="*/ 6726 h 9892"/>
                <a:gd name="connsiteX45" fmla="*/ 603 w 10000"/>
                <a:gd name="connsiteY45" fmla="*/ 9892 h 9892"/>
                <a:gd name="connsiteX46" fmla="*/ 876 w 10000"/>
                <a:gd name="connsiteY46" fmla="*/ 9834 h 9892"/>
                <a:gd name="connsiteX47" fmla="*/ 1146 w 10000"/>
                <a:gd name="connsiteY47" fmla="*/ 9770 h 9892"/>
                <a:gd name="connsiteX48" fmla="*/ 1413 w 10000"/>
                <a:gd name="connsiteY48" fmla="*/ 9700 h 9892"/>
                <a:gd name="connsiteX49" fmla="*/ 1673 w 10000"/>
                <a:gd name="connsiteY49" fmla="*/ 9619 h 9892"/>
                <a:gd name="connsiteX50" fmla="*/ 1934 w 10000"/>
                <a:gd name="connsiteY50" fmla="*/ 9543 h 9892"/>
                <a:gd name="connsiteX51" fmla="*/ 2196 w 10000"/>
                <a:gd name="connsiteY51" fmla="*/ 9454 h 9892"/>
                <a:gd name="connsiteX52" fmla="*/ 2457 w 10000"/>
                <a:gd name="connsiteY52" fmla="*/ 9368 h 9892"/>
                <a:gd name="connsiteX53" fmla="*/ 2705 w 10000"/>
                <a:gd name="connsiteY53" fmla="*/ 9269 h 9892"/>
                <a:gd name="connsiteX54" fmla="*/ 2955 w 10000"/>
                <a:gd name="connsiteY54" fmla="*/ 9170 h 9892"/>
                <a:gd name="connsiteX55" fmla="*/ 3206 w 10000"/>
                <a:gd name="connsiteY55" fmla="*/ 9065 h 9892"/>
                <a:gd name="connsiteX56" fmla="*/ 3449 w 10000"/>
                <a:gd name="connsiteY56" fmla="*/ 8956 h 9892"/>
                <a:gd name="connsiteX57" fmla="*/ 3689 w 10000"/>
                <a:gd name="connsiteY57" fmla="*/ 8848 h 9892"/>
                <a:gd name="connsiteX58" fmla="*/ 3930 w 10000"/>
                <a:gd name="connsiteY58" fmla="*/ 8728 h 9892"/>
                <a:gd name="connsiteX59" fmla="*/ 4165 w 10000"/>
                <a:gd name="connsiteY59" fmla="*/ 8609 h 9892"/>
                <a:gd name="connsiteX60" fmla="*/ 4397 w 10000"/>
                <a:gd name="connsiteY60" fmla="*/ 8482 h 9892"/>
                <a:gd name="connsiteX61" fmla="*/ 4628 w 10000"/>
                <a:gd name="connsiteY61" fmla="*/ 8353 h 9892"/>
                <a:gd name="connsiteX62" fmla="*/ 4845 w 10000"/>
                <a:gd name="connsiteY62" fmla="*/ 8223 h 9892"/>
                <a:gd name="connsiteX63" fmla="*/ 5065 w 10000"/>
                <a:gd name="connsiteY63" fmla="*/ 8083 h 9892"/>
                <a:gd name="connsiteX64" fmla="*/ 5285 w 10000"/>
                <a:gd name="connsiteY64" fmla="*/ 7943 h 9892"/>
                <a:gd name="connsiteX65" fmla="*/ 5494 w 10000"/>
                <a:gd name="connsiteY65" fmla="*/ 7799 h 9892"/>
                <a:gd name="connsiteX66" fmla="*/ 5708 w 10000"/>
                <a:gd name="connsiteY66" fmla="*/ 7650 h 9892"/>
                <a:gd name="connsiteX67" fmla="*/ 5911 w 10000"/>
                <a:gd name="connsiteY67" fmla="*/ 7494 h 9892"/>
                <a:gd name="connsiteX68" fmla="*/ 6115 w 10000"/>
                <a:gd name="connsiteY68" fmla="*/ 7341 h 9892"/>
                <a:gd name="connsiteX69" fmla="*/ 6310 w 10000"/>
                <a:gd name="connsiteY69" fmla="*/ 7184 h 9892"/>
                <a:gd name="connsiteX70" fmla="*/ 6508 w 10000"/>
                <a:gd name="connsiteY70" fmla="*/ 7017 h 9892"/>
                <a:gd name="connsiteX71" fmla="*/ 6698 w 10000"/>
                <a:gd name="connsiteY71" fmla="*/ 6847 h 9892"/>
                <a:gd name="connsiteX72" fmla="*/ 6882 w 10000"/>
                <a:gd name="connsiteY72" fmla="*/ 6682 h 9892"/>
                <a:gd name="connsiteX73" fmla="*/ 7064 w 10000"/>
                <a:gd name="connsiteY73" fmla="*/ 6508 h 9892"/>
                <a:gd name="connsiteX74" fmla="*/ 7239 w 10000"/>
                <a:gd name="connsiteY74" fmla="*/ 6330 h 9892"/>
                <a:gd name="connsiteX75" fmla="*/ 7414 w 10000"/>
                <a:gd name="connsiteY75" fmla="*/ 6152 h 9892"/>
                <a:gd name="connsiteX76" fmla="*/ 7582 w 10000"/>
                <a:gd name="connsiteY76" fmla="*/ 5969 h 9892"/>
                <a:gd name="connsiteX77" fmla="*/ 7750 w 10000"/>
                <a:gd name="connsiteY77" fmla="*/ 5780 h 9892"/>
                <a:gd name="connsiteX78" fmla="*/ 7905 w 10000"/>
                <a:gd name="connsiteY78" fmla="*/ 5590 h 9892"/>
                <a:gd name="connsiteX79" fmla="*/ 8057 w 10000"/>
                <a:gd name="connsiteY79" fmla="*/ 5398 h 9892"/>
                <a:gd name="connsiteX80" fmla="*/ 8211 w 10000"/>
                <a:gd name="connsiteY80" fmla="*/ 5205 h 9892"/>
                <a:gd name="connsiteX81" fmla="*/ 8354 w 10000"/>
                <a:gd name="connsiteY81" fmla="*/ 5003 h 9892"/>
                <a:gd name="connsiteX82" fmla="*/ 8493 w 10000"/>
                <a:gd name="connsiteY82" fmla="*/ 4807 h 9892"/>
                <a:gd name="connsiteX83" fmla="*/ 8628 w 10000"/>
                <a:gd name="connsiteY83" fmla="*/ 4601 h 9892"/>
                <a:gd name="connsiteX84" fmla="*/ 8754 w 10000"/>
                <a:gd name="connsiteY84" fmla="*/ 4391 h 9892"/>
                <a:gd name="connsiteX85" fmla="*/ 8877 w 10000"/>
                <a:gd name="connsiteY85" fmla="*/ 4183 h 9892"/>
                <a:gd name="connsiteX86" fmla="*/ 9003 w 10000"/>
                <a:gd name="connsiteY86" fmla="*/ 3972 h 9892"/>
                <a:gd name="connsiteX87" fmla="*/ 9120 w 10000"/>
                <a:gd name="connsiteY87" fmla="*/ 3757 h 9892"/>
                <a:gd name="connsiteX88" fmla="*/ 9224 w 10000"/>
                <a:gd name="connsiteY88" fmla="*/ 3543 h 9892"/>
                <a:gd name="connsiteX89" fmla="*/ 9330 w 10000"/>
                <a:gd name="connsiteY89" fmla="*/ 3323 h 9892"/>
                <a:gd name="connsiteX90" fmla="*/ 9425 w 10000"/>
                <a:gd name="connsiteY90" fmla="*/ 3100 h 9892"/>
                <a:gd name="connsiteX91" fmla="*/ 9520 w 10000"/>
                <a:gd name="connsiteY91" fmla="*/ 2879 h 9892"/>
                <a:gd name="connsiteX92" fmla="*/ 9604 w 10000"/>
                <a:gd name="connsiteY92" fmla="*/ 2651 h 9892"/>
                <a:gd name="connsiteX93" fmla="*/ 9684 w 10000"/>
                <a:gd name="connsiteY93" fmla="*/ 2421 h 9892"/>
                <a:gd name="connsiteX94" fmla="*/ 9758 w 10000"/>
                <a:gd name="connsiteY94" fmla="*/ 2190 h 9892"/>
                <a:gd name="connsiteX95" fmla="*/ 9831 w 10000"/>
                <a:gd name="connsiteY95" fmla="*/ 1960 h 9892"/>
                <a:gd name="connsiteX96" fmla="*/ 9892 w 10000"/>
                <a:gd name="connsiteY96" fmla="*/ 1728 h 9892"/>
                <a:gd name="connsiteX97" fmla="*/ 9951 w 10000"/>
                <a:gd name="connsiteY97" fmla="*/ 1491 h 9892"/>
                <a:gd name="connsiteX98" fmla="*/ 10000 w 10000"/>
                <a:gd name="connsiteY98" fmla="*/ 1250 h 9892"/>
                <a:gd name="connsiteX99" fmla="*/ 6011 w 10000"/>
                <a:gd name="connsiteY99" fmla="*/ 1918 h 9892"/>
                <a:gd name="connsiteX100" fmla="*/ 2680 w 10000"/>
                <a:gd name="connsiteY100" fmla="*/ 0 h 9892"/>
                <a:gd name="connsiteX0" fmla="*/ 2680 w 10000"/>
                <a:gd name="connsiteY0" fmla="*/ 0 h 9941"/>
                <a:gd name="connsiteX1" fmla="*/ 2680 w 10000"/>
                <a:gd name="connsiteY1" fmla="*/ 0 h 9941"/>
                <a:gd name="connsiteX2" fmla="*/ 2665 w 10000"/>
                <a:gd name="connsiteY2" fmla="*/ 102 h 9941"/>
                <a:gd name="connsiteX3" fmla="*/ 2642 w 10000"/>
                <a:gd name="connsiteY3" fmla="*/ 207 h 9941"/>
                <a:gd name="connsiteX4" fmla="*/ 2621 w 10000"/>
                <a:gd name="connsiteY4" fmla="*/ 309 h 9941"/>
                <a:gd name="connsiteX5" fmla="*/ 2594 w 10000"/>
                <a:gd name="connsiteY5" fmla="*/ 407 h 9941"/>
                <a:gd name="connsiteX6" fmla="*/ 2561 w 10000"/>
                <a:gd name="connsiteY6" fmla="*/ 507 h 9941"/>
                <a:gd name="connsiteX7" fmla="*/ 2530 w 10000"/>
                <a:gd name="connsiteY7" fmla="*/ 607 h 9941"/>
                <a:gd name="connsiteX8" fmla="*/ 2502 w 10000"/>
                <a:gd name="connsiteY8" fmla="*/ 704 h 9941"/>
                <a:gd name="connsiteX9" fmla="*/ 2468 w 10000"/>
                <a:gd name="connsiteY9" fmla="*/ 803 h 9941"/>
                <a:gd name="connsiteX10" fmla="*/ 2428 w 10000"/>
                <a:gd name="connsiteY10" fmla="*/ 900 h 9941"/>
                <a:gd name="connsiteX11" fmla="*/ 2386 w 10000"/>
                <a:gd name="connsiteY11" fmla="*/ 993 h 9941"/>
                <a:gd name="connsiteX12" fmla="*/ 2347 w 10000"/>
                <a:gd name="connsiteY12" fmla="*/ 1091 h 9941"/>
                <a:gd name="connsiteX13" fmla="*/ 2299 w 10000"/>
                <a:gd name="connsiteY13" fmla="*/ 1185 h 9941"/>
                <a:gd name="connsiteX14" fmla="*/ 2248 w 10000"/>
                <a:gd name="connsiteY14" fmla="*/ 1273 h 9941"/>
                <a:gd name="connsiteX15" fmla="*/ 2200 w 10000"/>
                <a:gd name="connsiteY15" fmla="*/ 1364 h 9941"/>
                <a:gd name="connsiteX16" fmla="*/ 2149 w 10000"/>
                <a:gd name="connsiteY16" fmla="*/ 1454 h 9941"/>
                <a:gd name="connsiteX17" fmla="*/ 2092 w 10000"/>
                <a:gd name="connsiteY17" fmla="*/ 1545 h 9941"/>
                <a:gd name="connsiteX18" fmla="*/ 2041 w 10000"/>
                <a:gd name="connsiteY18" fmla="*/ 1634 h 9941"/>
                <a:gd name="connsiteX19" fmla="*/ 1981 w 10000"/>
                <a:gd name="connsiteY19" fmla="*/ 1721 h 9941"/>
                <a:gd name="connsiteX20" fmla="*/ 1919 w 10000"/>
                <a:gd name="connsiteY20" fmla="*/ 1799 h 9941"/>
                <a:gd name="connsiteX21" fmla="*/ 1854 w 10000"/>
                <a:gd name="connsiteY21" fmla="*/ 1884 h 9941"/>
                <a:gd name="connsiteX22" fmla="*/ 1794 w 10000"/>
                <a:gd name="connsiteY22" fmla="*/ 1965 h 9941"/>
                <a:gd name="connsiteX23" fmla="*/ 1725 w 10000"/>
                <a:gd name="connsiteY23" fmla="*/ 2053 h 9941"/>
                <a:gd name="connsiteX24" fmla="*/ 1656 w 10000"/>
                <a:gd name="connsiteY24" fmla="*/ 2129 h 9941"/>
                <a:gd name="connsiteX25" fmla="*/ 1583 w 10000"/>
                <a:gd name="connsiteY25" fmla="*/ 2204 h 9941"/>
                <a:gd name="connsiteX26" fmla="*/ 1509 w 10000"/>
                <a:gd name="connsiteY26" fmla="*/ 2284 h 9941"/>
                <a:gd name="connsiteX27" fmla="*/ 1435 w 10000"/>
                <a:gd name="connsiteY27" fmla="*/ 2359 h 9941"/>
                <a:gd name="connsiteX28" fmla="*/ 1356 w 10000"/>
                <a:gd name="connsiteY28" fmla="*/ 2432 h 9941"/>
                <a:gd name="connsiteX29" fmla="*/ 1279 w 10000"/>
                <a:gd name="connsiteY29" fmla="*/ 2509 h 9941"/>
                <a:gd name="connsiteX30" fmla="*/ 1200 w 10000"/>
                <a:gd name="connsiteY30" fmla="*/ 2579 h 9941"/>
                <a:gd name="connsiteX31" fmla="*/ 1113 w 10000"/>
                <a:gd name="connsiteY31" fmla="*/ 2649 h 9941"/>
                <a:gd name="connsiteX32" fmla="*/ 1033 w 10000"/>
                <a:gd name="connsiteY32" fmla="*/ 2715 h 9941"/>
                <a:gd name="connsiteX33" fmla="*/ 946 w 10000"/>
                <a:gd name="connsiteY33" fmla="*/ 2783 h 9941"/>
                <a:gd name="connsiteX34" fmla="*/ 862 w 10000"/>
                <a:gd name="connsiteY34" fmla="*/ 2847 h 9941"/>
                <a:gd name="connsiteX35" fmla="*/ 767 w 10000"/>
                <a:gd name="connsiteY35" fmla="*/ 2912 h 9941"/>
                <a:gd name="connsiteX36" fmla="*/ 679 w 10000"/>
                <a:gd name="connsiteY36" fmla="*/ 2971 h 9941"/>
                <a:gd name="connsiteX37" fmla="*/ 586 w 10000"/>
                <a:gd name="connsiteY37" fmla="*/ 3033 h 9941"/>
                <a:gd name="connsiteX38" fmla="*/ 492 w 10000"/>
                <a:gd name="connsiteY38" fmla="*/ 3090 h 9941"/>
                <a:gd name="connsiteX39" fmla="*/ 394 w 10000"/>
                <a:gd name="connsiteY39" fmla="*/ 3145 h 9941"/>
                <a:gd name="connsiteX40" fmla="*/ 298 w 10000"/>
                <a:gd name="connsiteY40" fmla="*/ 3202 h 9941"/>
                <a:gd name="connsiteX41" fmla="*/ 203 w 10000"/>
                <a:gd name="connsiteY41" fmla="*/ 3255 h 9941"/>
                <a:gd name="connsiteX42" fmla="*/ 101 w 10000"/>
                <a:gd name="connsiteY42" fmla="*/ 3305 h 9941"/>
                <a:gd name="connsiteX43" fmla="*/ 0 w 10000"/>
                <a:gd name="connsiteY43" fmla="*/ 3353 h 9941"/>
                <a:gd name="connsiteX44" fmla="*/ 187 w 10000"/>
                <a:gd name="connsiteY44" fmla="*/ 6799 h 9941"/>
                <a:gd name="connsiteX45" fmla="*/ 876 w 10000"/>
                <a:gd name="connsiteY45" fmla="*/ 9941 h 9941"/>
                <a:gd name="connsiteX46" fmla="*/ 1146 w 10000"/>
                <a:gd name="connsiteY46" fmla="*/ 9877 h 9941"/>
                <a:gd name="connsiteX47" fmla="*/ 1413 w 10000"/>
                <a:gd name="connsiteY47" fmla="*/ 9806 h 9941"/>
                <a:gd name="connsiteX48" fmla="*/ 1673 w 10000"/>
                <a:gd name="connsiteY48" fmla="*/ 9724 h 9941"/>
                <a:gd name="connsiteX49" fmla="*/ 1934 w 10000"/>
                <a:gd name="connsiteY49" fmla="*/ 9647 h 9941"/>
                <a:gd name="connsiteX50" fmla="*/ 2196 w 10000"/>
                <a:gd name="connsiteY50" fmla="*/ 9557 h 9941"/>
                <a:gd name="connsiteX51" fmla="*/ 2457 w 10000"/>
                <a:gd name="connsiteY51" fmla="*/ 9470 h 9941"/>
                <a:gd name="connsiteX52" fmla="*/ 2705 w 10000"/>
                <a:gd name="connsiteY52" fmla="*/ 9370 h 9941"/>
                <a:gd name="connsiteX53" fmla="*/ 2955 w 10000"/>
                <a:gd name="connsiteY53" fmla="*/ 9270 h 9941"/>
                <a:gd name="connsiteX54" fmla="*/ 3206 w 10000"/>
                <a:gd name="connsiteY54" fmla="*/ 9164 h 9941"/>
                <a:gd name="connsiteX55" fmla="*/ 3449 w 10000"/>
                <a:gd name="connsiteY55" fmla="*/ 9054 h 9941"/>
                <a:gd name="connsiteX56" fmla="*/ 3689 w 10000"/>
                <a:gd name="connsiteY56" fmla="*/ 8945 h 9941"/>
                <a:gd name="connsiteX57" fmla="*/ 3930 w 10000"/>
                <a:gd name="connsiteY57" fmla="*/ 8823 h 9941"/>
                <a:gd name="connsiteX58" fmla="*/ 4165 w 10000"/>
                <a:gd name="connsiteY58" fmla="*/ 8703 h 9941"/>
                <a:gd name="connsiteX59" fmla="*/ 4397 w 10000"/>
                <a:gd name="connsiteY59" fmla="*/ 8575 h 9941"/>
                <a:gd name="connsiteX60" fmla="*/ 4628 w 10000"/>
                <a:gd name="connsiteY60" fmla="*/ 8444 h 9941"/>
                <a:gd name="connsiteX61" fmla="*/ 4845 w 10000"/>
                <a:gd name="connsiteY61" fmla="*/ 8313 h 9941"/>
                <a:gd name="connsiteX62" fmla="*/ 5065 w 10000"/>
                <a:gd name="connsiteY62" fmla="*/ 8171 h 9941"/>
                <a:gd name="connsiteX63" fmla="*/ 5285 w 10000"/>
                <a:gd name="connsiteY63" fmla="*/ 8030 h 9941"/>
                <a:gd name="connsiteX64" fmla="*/ 5494 w 10000"/>
                <a:gd name="connsiteY64" fmla="*/ 7884 h 9941"/>
                <a:gd name="connsiteX65" fmla="*/ 5708 w 10000"/>
                <a:gd name="connsiteY65" fmla="*/ 7734 h 9941"/>
                <a:gd name="connsiteX66" fmla="*/ 5911 w 10000"/>
                <a:gd name="connsiteY66" fmla="*/ 7576 h 9941"/>
                <a:gd name="connsiteX67" fmla="*/ 6115 w 10000"/>
                <a:gd name="connsiteY67" fmla="*/ 7421 h 9941"/>
                <a:gd name="connsiteX68" fmla="*/ 6310 w 10000"/>
                <a:gd name="connsiteY68" fmla="*/ 7262 h 9941"/>
                <a:gd name="connsiteX69" fmla="*/ 6508 w 10000"/>
                <a:gd name="connsiteY69" fmla="*/ 7094 h 9941"/>
                <a:gd name="connsiteX70" fmla="*/ 6698 w 10000"/>
                <a:gd name="connsiteY70" fmla="*/ 6922 h 9941"/>
                <a:gd name="connsiteX71" fmla="*/ 6882 w 10000"/>
                <a:gd name="connsiteY71" fmla="*/ 6755 h 9941"/>
                <a:gd name="connsiteX72" fmla="*/ 7064 w 10000"/>
                <a:gd name="connsiteY72" fmla="*/ 6579 h 9941"/>
                <a:gd name="connsiteX73" fmla="*/ 7239 w 10000"/>
                <a:gd name="connsiteY73" fmla="*/ 6399 h 9941"/>
                <a:gd name="connsiteX74" fmla="*/ 7414 w 10000"/>
                <a:gd name="connsiteY74" fmla="*/ 6219 h 9941"/>
                <a:gd name="connsiteX75" fmla="*/ 7582 w 10000"/>
                <a:gd name="connsiteY75" fmla="*/ 6034 h 9941"/>
                <a:gd name="connsiteX76" fmla="*/ 7750 w 10000"/>
                <a:gd name="connsiteY76" fmla="*/ 5843 h 9941"/>
                <a:gd name="connsiteX77" fmla="*/ 7905 w 10000"/>
                <a:gd name="connsiteY77" fmla="*/ 5651 h 9941"/>
                <a:gd name="connsiteX78" fmla="*/ 8057 w 10000"/>
                <a:gd name="connsiteY78" fmla="*/ 5457 h 9941"/>
                <a:gd name="connsiteX79" fmla="*/ 8211 w 10000"/>
                <a:gd name="connsiteY79" fmla="*/ 5262 h 9941"/>
                <a:gd name="connsiteX80" fmla="*/ 8354 w 10000"/>
                <a:gd name="connsiteY80" fmla="*/ 5058 h 9941"/>
                <a:gd name="connsiteX81" fmla="*/ 8493 w 10000"/>
                <a:gd name="connsiteY81" fmla="*/ 4859 h 9941"/>
                <a:gd name="connsiteX82" fmla="*/ 8628 w 10000"/>
                <a:gd name="connsiteY82" fmla="*/ 4651 h 9941"/>
                <a:gd name="connsiteX83" fmla="*/ 8754 w 10000"/>
                <a:gd name="connsiteY83" fmla="*/ 4439 h 9941"/>
                <a:gd name="connsiteX84" fmla="*/ 8877 w 10000"/>
                <a:gd name="connsiteY84" fmla="*/ 4229 h 9941"/>
                <a:gd name="connsiteX85" fmla="*/ 9003 w 10000"/>
                <a:gd name="connsiteY85" fmla="*/ 4015 h 9941"/>
                <a:gd name="connsiteX86" fmla="*/ 9120 w 10000"/>
                <a:gd name="connsiteY86" fmla="*/ 3798 h 9941"/>
                <a:gd name="connsiteX87" fmla="*/ 9224 w 10000"/>
                <a:gd name="connsiteY87" fmla="*/ 3582 h 9941"/>
                <a:gd name="connsiteX88" fmla="*/ 9330 w 10000"/>
                <a:gd name="connsiteY88" fmla="*/ 3359 h 9941"/>
                <a:gd name="connsiteX89" fmla="*/ 9425 w 10000"/>
                <a:gd name="connsiteY89" fmla="*/ 3134 h 9941"/>
                <a:gd name="connsiteX90" fmla="*/ 9520 w 10000"/>
                <a:gd name="connsiteY90" fmla="*/ 2910 h 9941"/>
                <a:gd name="connsiteX91" fmla="*/ 9604 w 10000"/>
                <a:gd name="connsiteY91" fmla="*/ 2680 h 9941"/>
                <a:gd name="connsiteX92" fmla="*/ 9684 w 10000"/>
                <a:gd name="connsiteY92" fmla="*/ 2447 h 9941"/>
                <a:gd name="connsiteX93" fmla="*/ 9758 w 10000"/>
                <a:gd name="connsiteY93" fmla="*/ 2214 h 9941"/>
                <a:gd name="connsiteX94" fmla="*/ 9831 w 10000"/>
                <a:gd name="connsiteY94" fmla="*/ 1981 h 9941"/>
                <a:gd name="connsiteX95" fmla="*/ 9892 w 10000"/>
                <a:gd name="connsiteY95" fmla="*/ 1747 h 9941"/>
                <a:gd name="connsiteX96" fmla="*/ 9951 w 10000"/>
                <a:gd name="connsiteY96" fmla="*/ 1507 h 9941"/>
                <a:gd name="connsiteX97" fmla="*/ 10000 w 10000"/>
                <a:gd name="connsiteY97" fmla="*/ 1264 h 9941"/>
                <a:gd name="connsiteX98" fmla="*/ 6011 w 10000"/>
                <a:gd name="connsiteY98" fmla="*/ 1939 h 9941"/>
                <a:gd name="connsiteX99" fmla="*/ 2680 w 10000"/>
                <a:gd name="connsiteY99" fmla="*/ 0 h 9941"/>
                <a:gd name="connsiteX0" fmla="*/ 2680 w 10000"/>
                <a:gd name="connsiteY0" fmla="*/ 0 h 9936"/>
                <a:gd name="connsiteX1" fmla="*/ 2680 w 10000"/>
                <a:gd name="connsiteY1" fmla="*/ 0 h 9936"/>
                <a:gd name="connsiteX2" fmla="*/ 2665 w 10000"/>
                <a:gd name="connsiteY2" fmla="*/ 103 h 9936"/>
                <a:gd name="connsiteX3" fmla="*/ 2642 w 10000"/>
                <a:gd name="connsiteY3" fmla="*/ 208 h 9936"/>
                <a:gd name="connsiteX4" fmla="*/ 2621 w 10000"/>
                <a:gd name="connsiteY4" fmla="*/ 311 h 9936"/>
                <a:gd name="connsiteX5" fmla="*/ 2594 w 10000"/>
                <a:gd name="connsiteY5" fmla="*/ 409 h 9936"/>
                <a:gd name="connsiteX6" fmla="*/ 2561 w 10000"/>
                <a:gd name="connsiteY6" fmla="*/ 510 h 9936"/>
                <a:gd name="connsiteX7" fmla="*/ 2530 w 10000"/>
                <a:gd name="connsiteY7" fmla="*/ 611 h 9936"/>
                <a:gd name="connsiteX8" fmla="*/ 2502 w 10000"/>
                <a:gd name="connsiteY8" fmla="*/ 708 h 9936"/>
                <a:gd name="connsiteX9" fmla="*/ 2468 w 10000"/>
                <a:gd name="connsiteY9" fmla="*/ 808 h 9936"/>
                <a:gd name="connsiteX10" fmla="*/ 2428 w 10000"/>
                <a:gd name="connsiteY10" fmla="*/ 905 h 9936"/>
                <a:gd name="connsiteX11" fmla="*/ 2386 w 10000"/>
                <a:gd name="connsiteY11" fmla="*/ 999 h 9936"/>
                <a:gd name="connsiteX12" fmla="*/ 2347 w 10000"/>
                <a:gd name="connsiteY12" fmla="*/ 1097 h 9936"/>
                <a:gd name="connsiteX13" fmla="*/ 2299 w 10000"/>
                <a:gd name="connsiteY13" fmla="*/ 1192 h 9936"/>
                <a:gd name="connsiteX14" fmla="*/ 2248 w 10000"/>
                <a:gd name="connsiteY14" fmla="*/ 1281 h 9936"/>
                <a:gd name="connsiteX15" fmla="*/ 2200 w 10000"/>
                <a:gd name="connsiteY15" fmla="*/ 1372 h 9936"/>
                <a:gd name="connsiteX16" fmla="*/ 2149 w 10000"/>
                <a:gd name="connsiteY16" fmla="*/ 1463 h 9936"/>
                <a:gd name="connsiteX17" fmla="*/ 2092 w 10000"/>
                <a:gd name="connsiteY17" fmla="*/ 1554 h 9936"/>
                <a:gd name="connsiteX18" fmla="*/ 2041 w 10000"/>
                <a:gd name="connsiteY18" fmla="*/ 1644 h 9936"/>
                <a:gd name="connsiteX19" fmla="*/ 1981 w 10000"/>
                <a:gd name="connsiteY19" fmla="*/ 1731 h 9936"/>
                <a:gd name="connsiteX20" fmla="*/ 1919 w 10000"/>
                <a:gd name="connsiteY20" fmla="*/ 1810 h 9936"/>
                <a:gd name="connsiteX21" fmla="*/ 1854 w 10000"/>
                <a:gd name="connsiteY21" fmla="*/ 1895 h 9936"/>
                <a:gd name="connsiteX22" fmla="*/ 1794 w 10000"/>
                <a:gd name="connsiteY22" fmla="*/ 1977 h 9936"/>
                <a:gd name="connsiteX23" fmla="*/ 1725 w 10000"/>
                <a:gd name="connsiteY23" fmla="*/ 2065 h 9936"/>
                <a:gd name="connsiteX24" fmla="*/ 1656 w 10000"/>
                <a:gd name="connsiteY24" fmla="*/ 2142 h 9936"/>
                <a:gd name="connsiteX25" fmla="*/ 1583 w 10000"/>
                <a:gd name="connsiteY25" fmla="*/ 2217 h 9936"/>
                <a:gd name="connsiteX26" fmla="*/ 1509 w 10000"/>
                <a:gd name="connsiteY26" fmla="*/ 2298 h 9936"/>
                <a:gd name="connsiteX27" fmla="*/ 1435 w 10000"/>
                <a:gd name="connsiteY27" fmla="*/ 2373 h 9936"/>
                <a:gd name="connsiteX28" fmla="*/ 1356 w 10000"/>
                <a:gd name="connsiteY28" fmla="*/ 2446 h 9936"/>
                <a:gd name="connsiteX29" fmla="*/ 1279 w 10000"/>
                <a:gd name="connsiteY29" fmla="*/ 2524 h 9936"/>
                <a:gd name="connsiteX30" fmla="*/ 1200 w 10000"/>
                <a:gd name="connsiteY30" fmla="*/ 2594 h 9936"/>
                <a:gd name="connsiteX31" fmla="*/ 1113 w 10000"/>
                <a:gd name="connsiteY31" fmla="*/ 2665 h 9936"/>
                <a:gd name="connsiteX32" fmla="*/ 1033 w 10000"/>
                <a:gd name="connsiteY32" fmla="*/ 2731 h 9936"/>
                <a:gd name="connsiteX33" fmla="*/ 946 w 10000"/>
                <a:gd name="connsiteY33" fmla="*/ 2800 h 9936"/>
                <a:gd name="connsiteX34" fmla="*/ 862 w 10000"/>
                <a:gd name="connsiteY34" fmla="*/ 2864 h 9936"/>
                <a:gd name="connsiteX35" fmla="*/ 767 w 10000"/>
                <a:gd name="connsiteY35" fmla="*/ 2929 h 9936"/>
                <a:gd name="connsiteX36" fmla="*/ 679 w 10000"/>
                <a:gd name="connsiteY36" fmla="*/ 2989 h 9936"/>
                <a:gd name="connsiteX37" fmla="*/ 586 w 10000"/>
                <a:gd name="connsiteY37" fmla="*/ 3051 h 9936"/>
                <a:gd name="connsiteX38" fmla="*/ 492 w 10000"/>
                <a:gd name="connsiteY38" fmla="*/ 3108 h 9936"/>
                <a:gd name="connsiteX39" fmla="*/ 394 w 10000"/>
                <a:gd name="connsiteY39" fmla="*/ 3164 h 9936"/>
                <a:gd name="connsiteX40" fmla="*/ 298 w 10000"/>
                <a:gd name="connsiteY40" fmla="*/ 3221 h 9936"/>
                <a:gd name="connsiteX41" fmla="*/ 203 w 10000"/>
                <a:gd name="connsiteY41" fmla="*/ 3274 h 9936"/>
                <a:gd name="connsiteX42" fmla="*/ 101 w 10000"/>
                <a:gd name="connsiteY42" fmla="*/ 3325 h 9936"/>
                <a:gd name="connsiteX43" fmla="*/ 0 w 10000"/>
                <a:gd name="connsiteY43" fmla="*/ 3373 h 9936"/>
                <a:gd name="connsiteX44" fmla="*/ 187 w 10000"/>
                <a:gd name="connsiteY44" fmla="*/ 6839 h 9936"/>
                <a:gd name="connsiteX45" fmla="*/ 1146 w 10000"/>
                <a:gd name="connsiteY45" fmla="*/ 9936 h 9936"/>
                <a:gd name="connsiteX46" fmla="*/ 1413 w 10000"/>
                <a:gd name="connsiteY46" fmla="*/ 9864 h 9936"/>
                <a:gd name="connsiteX47" fmla="*/ 1673 w 10000"/>
                <a:gd name="connsiteY47" fmla="*/ 9782 h 9936"/>
                <a:gd name="connsiteX48" fmla="*/ 1934 w 10000"/>
                <a:gd name="connsiteY48" fmla="*/ 9704 h 9936"/>
                <a:gd name="connsiteX49" fmla="*/ 2196 w 10000"/>
                <a:gd name="connsiteY49" fmla="*/ 9614 h 9936"/>
                <a:gd name="connsiteX50" fmla="*/ 2457 w 10000"/>
                <a:gd name="connsiteY50" fmla="*/ 9526 h 9936"/>
                <a:gd name="connsiteX51" fmla="*/ 2705 w 10000"/>
                <a:gd name="connsiteY51" fmla="*/ 9426 h 9936"/>
                <a:gd name="connsiteX52" fmla="*/ 2955 w 10000"/>
                <a:gd name="connsiteY52" fmla="*/ 9325 h 9936"/>
                <a:gd name="connsiteX53" fmla="*/ 3206 w 10000"/>
                <a:gd name="connsiteY53" fmla="*/ 9218 h 9936"/>
                <a:gd name="connsiteX54" fmla="*/ 3449 w 10000"/>
                <a:gd name="connsiteY54" fmla="*/ 9108 h 9936"/>
                <a:gd name="connsiteX55" fmla="*/ 3689 w 10000"/>
                <a:gd name="connsiteY55" fmla="*/ 8998 h 9936"/>
                <a:gd name="connsiteX56" fmla="*/ 3930 w 10000"/>
                <a:gd name="connsiteY56" fmla="*/ 8875 h 9936"/>
                <a:gd name="connsiteX57" fmla="*/ 4165 w 10000"/>
                <a:gd name="connsiteY57" fmla="*/ 8755 h 9936"/>
                <a:gd name="connsiteX58" fmla="*/ 4397 w 10000"/>
                <a:gd name="connsiteY58" fmla="*/ 8626 h 9936"/>
                <a:gd name="connsiteX59" fmla="*/ 4628 w 10000"/>
                <a:gd name="connsiteY59" fmla="*/ 8494 h 9936"/>
                <a:gd name="connsiteX60" fmla="*/ 4845 w 10000"/>
                <a:gd name="connsiteY60" fmla="*/ 8362 h 9936"/>
                <a:gd name="connsiteX61" fmla="*/ 5065 w 10000"/>
                <a:gd name="connsiteY61" fmla="*/ 8219 h 9936"/>
                <a:gd name="connsiteX62" fmla="*/ 5285 w 10000"/>
                <a:gd name="connsiteY62" fmla="*/ 8078 h 9936"/>
                <a:gd name="connsiteX63" fmla="*/ 5494 w 10000"/>
                <a:gd name="connsiteY63" fmla="*/ 7931 h 9936"/>
                <a:gd name="connsiteX64" fmla="*/ 5708 w 10000"/>
                <a:gd name="connsiteY64" fmla="*/ 7780 h 9936"/>
                <a:gd name="connsiteX65" fmla="*/ 5911 w 10000"/>
                <a:gd name="connsiteY65" fmla="*/ 7621 h 9936"/>
                <a:gd name="connsiteX66" fmla="*/ 6115 w 10000"/>
                <a:gd name="connsiteY66" fmla="*/ 7465 h 9936"/>
                <a:gd name="connsiteX67" fmla="*/ 6310 w 10000"/>
                <a:gd name="connsiteY67" fmla="*/ 7305 h 9936"/>
                <a:gd name="connsiteX68" fmla="*/ 6508 w 10000"/>
                <a:gd name="connsiteY68" fmla="*/ 7136 h 9936"/>
                <a:gd name="connsiteX69" fmla="*/ 6698 w 10000"/>
                <a:gd name="connsiteY69" fmla="*/ 6963 h 9936"/>
                <a:gd name="connsiteX70" fmla="*/ 6882 w 10000"/>
                <a:gd name="connsiteY70" fmla="*/ 6795 h 9936"/>
                <a:gd name="connsiteX71" fmla="*/ 7064 w 10000"/>
                <a:gd name="connsiteY71" fmla="*/ 6618 h 9936"/>
                <a:gd name="connsiteX72" fmla="*/ 7239 w 10000"/>
                <a:gd name="connsiteY72" fmla="*/ 6437 h 9936"/>
                <a:gd name="connsiteX73" fmla="*/ 7414 w 10000"/>
                <a:gd name="connsiteY73" fmla="*/ 6256 h 9936"/>
                <a:gd name="connsiteX74" fmla="*/ 7582 w 10000"/>
                <a:gd name="connsiteY74" fmla="*/ 6070 h 9936"/>
                <a:gd name="connsiteX75" fmla="*/ 7750 w 10000"/>
                <a:gd name="connsiteY75" fmla="*/ 5878 h 9936"/>
                <a:gd name="connsiteX76" fmla="*/ 7905 w 10000"/>
                <a:gd name="connsiteY76" fmla="*/ 5685 h 9936"/>
                <a:gd name="connsiteX77" fmla="*/ 8057 w 10000"/>
                <a:gd name="connsiteY77" fmla="*/ 5489 h 9936"/>
                <a:gd name="connsiteX78" fmla="*/ 8211 w 10000"/>
                <a:gd name="connsiteY78" fmla="*/ 5293 h 9936"/>
                <a:gd name="connsiteX79" fmla="*/ 8354 w 10000"/>
                <a:gd name="connsiteY79" fmla="*/ 5088 h 9936"/>
                <a:gd name="connsiteX80" fmla="*/ 8493 w 10000"/>
                <a:gd name="connsiteY80" fmla="*/ 4888 h 9936"/>
                <a:gd name="connsiteX81" fmla="*/ 8628 w 10000"/>
                <a:gd name="connsiteY81" fmla="*/ 4679 h 9936"/>
                <a:gd name="connsiteX82" fmla="*/ 8754 w 10000"/>
                <a:gd name="connsiteY82" fmla="*/ 4465 h 9936"/>
                <a:gd name="connsiteX83" fmla="*/ 8877 w 10000"/>
                <a:gd name="connsiteY83" fmla="*/ 4254 h 9936"/>
                <a:gd name="connsiteX84" fmla="*/ 9003 w 10000"/>
                <a:gd name="connsiteY84" fmla="*/ 4039 h 9936"/>
                <a:gd name="connsiteX85" fmla="*/ 9120 w 10000"/>
                <a:gd name="connsiteY85" fmla="*/ 3821 h 9936"/>
                <a:gd name="connsiteX86" fmla="*/ 9224 w 10000"/>
                <a:gd name="connsiteY86" fmla="*/ 3603 h 9936"/>
                <a:gd name="connsiteX87" fmla="*/ 9330 w 10000"/>
                <a:gd name="connsiteY87" fmla="*/ 3379 h 9936"/>
                <a:gd name="connsiteX88" fmla="*/ 9425 w 10000"/>
                <a:gd name="connsiteY88" fmla="*/ 3153 h 9936"/>
                <a:gd name="connsiteX89" fmla="*/ 9520 w 10000"/>
                <a:gd name="connsiteY89" fmla="*/ 2927 h 9936"/>
                <a:gd name="connsiteX90" fmla="*/ 9604 w 10000"/>
                <a:gd name="connsiteY90" fmla="*/ 2696 h 9936"/>
                <a:gd name="connsiteX91" fmla="*/ 9684 w 10000"/>
                <a:gd name="connsiteY91" fmla="*/ 2462 h 9936"/>
                <a:gd name="connsiteX92" fmla="*/ 9758 w 10000"/>
                <a:gd name="connsiteY92" fmla="*/ 2227 h 9936"/>
                <a:gd name="connsiteX93" fmla="*/ 9831 w 10000"/>
                <a:gd name="connsiteY93" fmla="*/ 1993 h 9936"/>
                <a:gd name="connsiteX94" fmla="*/ 9892 w 10000"/>
                <a:gd name="connsiteY94" fmla="*/ 1757 h 9936"/>
                <a:gd name="connsiteX95" fmla="*/ 9951 w 10000"/>
                <a:gd name="connsiteY95" fmla="*/ 1516 h 9936"/>
                <a:gd name="connsiteX96" fmla="*/ 10000 w 10000"/>
                <a:gd name="connsiteY96" fmla="*/ 1272 h 9936"/>
                <a:gd name="connsiteX97" fmla="*/ 6011 w 10000"/>
                <a:gd name="connsiteY97" fmla="*/ 1951 h 9936"/>
                <a:gd name="connsiteX98" fmla="*/ 2680 w 10000"/>
                <a:gd name="connsiteY98" fmla="*/ 0 h 9936"/>
                <a:gd name="connsiteX0" fmla="*/ 2680 w 10000"/>
                <a:gd name="connsiteY0" fmla="*/ 0 h 10000"/>
                <a:gd name="connsiteX1" fmla="*/ 2680 w 10000"/>
                <a:gd name="connsiteY1" fmla="*/ 0 h 10000"/>
                <a:gd name="connsiteX2" fmla="*/ 2665 w 10000"/>
                <a:gd name="connsiteY2" fmla="*/ 104 h 10000"/>
                <a:gd name="connsiteX3" fmla="*/ 2642 w 10000"/>
                <a:gd name="connsiteY3" fmla="*/ 209 h 10000"/>
                <a:gd name="connsiteX4" fmla="*/ 2621 w 10000"/>
                <a:gd name="connsiteY4" fmla="*/ 313 h 10000"/>
                <a:gd name="connsiteX5" fmla="*/ 2594 w 10000"/>
                <a:gd name="connsiteY5" fmla="*/ 412 h 10000"/>
                <a:gd name="connsiteX6" fmla="*/ 2561 w 10000"/>
                <a:gd name="connsiteY6" fmla="*/ 513 h 10000"/>
                <a:gd name="connsiteX7" fmla="*/ 2530 w 10000"/>
                <a:gd name="connsiteY7" fmla="*/ 615 h 10000"/>
                <a:gd name="connsiteX8" fmla="*/ 2502 w 10000"/>
                <a:gd name="connsiteY8" fmla="*/ 713 h 10000"/>
                <a:gd name="connsiteX9" fmla="*/ 2468 w 10000"/>
                <a:gd name="connsiteY9" fmla="*/ 813 h 10000"/>
                <a:gd name="connsiteX10" fmla="*/ 2428 w 10000"/>
                <a:gd name="connsiteY10" fmla="*/ 911 h 10000"/>
                <a:gd name="connsiteX11" fmla="*/ 2386 w 10000"/>
                <a:gd name="connsiteY11" fmla="*/ 1005 h 10000"/>
                <a:gd name="connsiteX12" fmla="*/ 2347 w 10000"/>
                <a:gd name="connsiteY12" fmla="*/ 1104 h 10000"/>
                <a:gd name="connsiteX13" fmla="*/ 2299 w 10000"/>
                <a:gd name="connsiteY13" fmla="*/ 1200 h 10000"/>
                <a:gd name="connsiteX14" fmla="*/ 2248 w 10000"/>
                <a:gd name="connsiteY14" fmla="*/ 1289 h 10000"/>
                <a:gd name="connsiteX15" fmla="*/ 2200 w 10000"/>
                <a:gd name="connsiteY15" fmla="*/ 1381 h 10000"/>
                <a:gd name="connsiteX16" fmla="*/ 2149 w 10000"/>
                <a:gd name="connsiteY16" fmla="*/ 1472 h 10000"/>
                <a:gd name="connsiteX17" fmla="*/ 2092 w 10000"/>
                <a:gd name="connsiteY17" fmla="*/ 1564 h 10000"/>
                <a:gd name="connsiteX18" fmla="*/ 2041 w 10000"/>
                <a:gd name="connsiteY18" fmla="*/ 1655 h 10000"/>
                <a:gd name="connsiteX19" fmla="*/ 1981 w 10000"/>
                <a:gd name="connsiteY19" fmla="*/ 1742 h 10000"/>
                <a:gd name="connsiteX20" fmla="*/ 1919 w 10000"/>
                <a:gd name="connsiteY20" fmla="*/ 1822 h 10000"/>
                <a:gd name="connsiteX21" fmla="*/ 1854 w 10000"/>
                <a:gd name="connsiteY21" fmla="*/ 1907 h 10000"/>
                <a:gd name="connsiteX22" fmla="*/ 1794 w 10000"/>
                <a:gd name="connsiteY22" fmla="*/ 1990 h 10000"/>
                <a:gd name="connsiteX23" fmla="*/ 1725 w 10000"/>
                <a:gd name="connsiteY23" fmla="*/ 2078 h 10000"/>
                <a:gd name="connsiteX24" fmla="*/ 1656 w 10000"/>
                <a:gd name="connsiteY24" fmla="*/ 2156 h 10000"/>
                <a:gd name="connsiteX25" fmla="*/ 1583 w 10000"/>
                <a:gd name="connsiteY25" fmla="*/ 2231 h 10000"/>
                <a:gd name="connsiteX26" fmla="*/ 1509 w 10000"/>
                <a:gd name="connsiteY26" fmla="*/ 2313 h 10000"/>
                <a:gd name="connsiteX27" fmla="*/ 1435 w 10000"/>
                <a:gd name="connsiteY27" fmla="*/ 2388 h 10000"/>
                <a:gd name="connsiteX28" fmla="*/ 1356 w 10000"/>
                <a:gd name="connsiteY28" fmla="*/ 2462 h 10000"/>
                <a:gd name="connsiteX29" fmla="*/ 1279 w 10000"/>
                <a:gd name="connsiteY29" fmla="*/ 2540 h 10000"/>
                <a:gd name="connsiteX30" fmla="*/ 1200 w 10000"/>
                <a:gd name="connsiteY30" fmla="*/ 2611 h 10000"/>
                <a:gd name="connsiteX31" fmla="*/ 1113 w 10000"/>
                <a:gd name="connsiteY31" fmla="*/ 2682 h 10000"/>
                <a:gd name="connsiteX32" fmla="*/ 1033 w 10000"/>
                <a:gd name="connsiteY32" fmla="*/ 2749 h 10000"/>
                <a:gd name="connsiteX33" fmla="*/ 946 w 10000"/>
                <a:gd name="connsiteY33" fmla="*/ 2818 h 10000"/>
                <a:gd name="connsiteX34" fmla="*/ 862 w 10000"/>
                <a:gd name="connsiteY34" fmla="*/ 2882 h 10000"/>
                <a:gd name="connsiteX35" fmla="*/ 767 w 10000"/>
                <a:gd name="connsiteY35" fmla="*/ 2948 h 10000"/>
                <a:gd name="connsiteX36" fmla="*/ 679 w 10000"/>
                <a:gd name="connsiteY36" fmla="*/ 3008 h 10000"/>
                <a:gd name="connsiteX37" fmla="*/ 586 w 10000"/>
                <a:gd name="connsiteY37" fmla="*/ 3071 h 10000"/>
                <a:gd name="connsiteX38" fmla="*/ 492 w 10000"/>
                <a:gd name="connsiteY38" fmla="*/ 3128 h 10000"/>
                <a:gd name="connsiteX39" fmla="*/ 394 w 10000"/>
                <a:gd name="connsiteY39" fmla="*/ 3184 h 10000"/>
                <a:gd name="connsiteX40" fmla="*/ 298 w 10000"/>
                <a:gd name="connsiteY40" fmla="*/ 3242 h 10000"/>
                <a:gd name="connsiteX41" fmla="*/ 203 w 10000"/>
                <a:gd name="connsiteY41" fmla="*/ 3295 h 10000"/>
                <a:gd name="connsiteX42" fmla="*/ 101 w 10000"/>
                <a:gd name="connsiteY42" fmla="*/ 3346 h 10000"/>
                <a:gd name="connsiteX43" fmla="*/ 0 w 10000"/>
                <a:gd name="connsiteY43" fmla="*/ 3395 h 10000"/>
                <a:gd name="connsiteX44" fmla="*/ 187 w 10000"/>
                <a:gd name="connsiteY44" fmla="*/ 6883 h 10000"/>
                <a:gd name="connsiteX45" fmla="*/ 1146 w 10000"/>
                <a:gd name="connsiteY45" fmla="*/ 10000 h 10000"/>
                <a:gd name="connsiteX46" fmla="*/ 1673 w 10000"/>
                <a:gd name="connsiteY46" fmla="*/ 9845 h 10000"/>
                <a:gd name="connsiteX47" fmla="*/ 1934 w 10000"/>
                <a:gd name="connsiteY47" fmla="*/ 9767 h 10000"/>
                <a:gd name="connsiteX48" fmla="*/ 2196 w 10000"/>
                <a:gd name="connsiteY48" fmla="*/ 9676 h 10000"/>
                <a:gd name="connsiteX49" fmla="*/ 2457 w 10000"/>
                <a:gd name="connsiteY49" fmla="*/ 9587 h 10000"/>
                <a:gd name="connsiteX50" fmla="*/ 2705 w 10000"/>
                <a:gd name="connsiteY50" fmla="*/ 9487 h 10000"/>
                <a:gd name="connsiteX51" fmla="*/ 2955 w 10000"/>
                <a:gd name="connsiteY51" fmla="*/ 9385 h 10000"/>
                <a:gd name="connsiteX52" fmla="*/ 3206 w 10000"/>
                <a:gd name="connsiteY52" fmla="*/ 9277 h 10000"/>
                <a:gd name="connsiteX53" fmla="*/ 3449 w 10000"/>
                <a:gd name="connsiteY53" fmla="*/ 9167 h 10000"/>
                <a:gd name="connsiteX54" fmla="*/ 3689 w 10000"/>
                <a:gd name="connsiteY54" fmla="*/ 9056 h 10000"/>
                <a:gd name="connsiteX55" fmla="*/ 3930 w 10000"/>
                <a:gd name="connsiteY55" fmla="*/ 8932 h 10000"/>
                <a:gd name="connsiteX56" fmla="*/ 4165 w 10000"/>
                <a:gd name="connsiteY56" fmla="*/ 8811 h 10000"/>
                <a:gd name="connsiteX57" fmla="*/ 4397 w 10000"/>
                <a:gd name="connsiteY57" fmla="*/ 8682 h 10000"/>
                <a:gd name="connsiteX58" fmla="*/ 4628 w 10000"/>
                <a:gd name="connsiteY58" fmla="*/ 8549 h 10000"/>
                <a:gd name="connsiteX59" fmla="*/ 4845 w 10000"/>
                <a:gd name="connsiteY59" fmla="*/ 8416 h 10000"/>
                <a:gd name="connsiteX60" fmla="*/ 5065 w 10000"/>
                <a:gd name="connsiteY60" fmla="*/ 8272 h 10000"/>
                <a:gd name="connsiteX61" fmla="*/ 5285 w 10000"/>
                <a:gd name="connsiteY61" fmla="*/ 8130 h 10000"/>
                <a:gd name="connsiteX62" fmla="*/ 5494 w 10000"/>
                <a:gd name="connsiteY62" fmla="*/ 7982 h 10000"/>
                <a:gd name="connsiteX63" fmla="*/ 5708 w 10000"/>
                <a:gd name="connsiteY63" fmla="*/ 7830 h 10000"/>
                <a:gd name="connsiteX64" fmla="*/ 5911 w 10000"/>
                <a:gd name="connsiteY64" fmla="*/ 7670 h 10000"/>
                <a:gd name="connsiteX65" fmla="*/ 6115 w 10000"/>
                <a:gd name="connsiteY65" fmla="*/ 7513 h 10000"/>
                <a:gd name="connsiteX66" fmla="*/ 6310 w 10000"/>
                <a:gd name="connsiteY66" fmla="*/ 7352 h 10000"/>
                <a:gd name="connsiteX67" fmla="*/ 6508 w 10000"/>
                <a:gd name="connsiteY67" fmla="*/ 7182 h 10000"/>
                <a:gd name="connsiteX68" fmla="*/ 6698 w 10000"/>
                <a:gd name="connsiteY68" fmla="*/ 7008 h 10000"/>
                <a:gd name="connsiteX69" fmla="*/ 6882 w 10000"/>
                <a:gd name="connsiteY69" fmla="*/ 6839 h 10000"/>
                <a:gd name="connsiteX70" fmla="*/ 7064 w 10000"/>
                <a:gd name="connsiteY70" fmla="*/ 6661 h 10000"/>
                <a:gd name="connsiteX71" fmla="*/ 7239 w 10000"/>
                <a:gd name="connsiteY71" fmla="*/ 6478 h 10000"/>
                <a:gd name="connsiteX72" fmla="*/ 7414 w 10000"/>
                <a:gd name="connsiteY72" fmla="*/ 6296 h 10000"/>
                <a:gd name="connsiteX73" fmla="*/ 7582 w 10000"/>
                <a:gd name="connsiteY73" fmla="*/ 6109 h 10000"/>
                <a:gd name="connsiteX74" fmla="*/ 7750 w 10000"/>
                <a:gd name="connsiteY74" fmla="*/ 5916 h 10000"/>
                <a:gd name="connsiteX75" fmla="*/ 7905 w 10000"/>
                <a:gd name="connsiteY75" fmla="*/ 5722 h 10000"/>
                <a:gd name="connsiteX76" fmla="*/ 8057 w 10000"/>
                <a:gd name="connsiteY76" fmla="*/ 5524 h 10000"/>
                <a:gd name="connsiteX77" fmla="*/ 8211 w 10000"/>
                <a:gd name="connsiteY77" fmla="*/ 5327 h 10000"/>
                <a:gd name="connsiteX78" fmla="*/ 8354 w 10000"/>
                <a:gd name="connsiteY78" fmla="*/ 5121 h 10000"/>
                <a:gd name="connsiteX79" fmla="*/ 8493 w 10000"/>
                <a:gd name="connsiteY79" fmla="*/ 4919 h 10000"/>
                <a:gd name="connsiteX80" fmla="*/ 8628 w 10000"/>
                <a:gd name="connsiteY80" fmla="*/ 4709 h 10000"/>
                <a:gd name="connsiteX81" fmla="*/ 8754 w 10000"/>
                <a:gd name="connsiteY81" fmla="*/ 4494 h 10000"/>
                <a:gd name="connsiteX82" fmla="*/ 8877 w 10000"/>
                <a:gd name="connsiteY82" fmla="*/ 4281 h 10000"/>
                <a:gd name="connsiteX83" fmla="*/ 9003 w 10000"/>
                <a:gd name="connsiteY83" fmla="*/ 4065 h 10000"/>
                <a:gd name="connsiteX84" fmla="*/ 9120 w 10000"/>
                <a:gd name="connsiteY84" fmla="*/ 3846 h 10000"/>
                <a:gd name="connsiteX85" fmla="*/ 9224 w 10000"/>
                <a:gd name="connsiteY85" fmla="*/ 3626 h 10000"/>
                <a:gd name="connsiteX86" fmla="*/ 9330 w 10000"/>
                <a:gd name="connsiteY86" fmla="*/ 3401 h 10000"/>
                <a:gd name="connsiteX87" fmla="*/ 9425 w 10000"/>
                <a:gd name="connsiteY87" fmla="*/ 3173 h 10000"/>
                <a:gd name="connsiteX88" fmla="*/ 9520 w 10000"/>
                <a:gd name="connsiteY88" fmla="*/ 2946 h 10000"/>
                <a:gd name="connsiteX89" fmla="*/ 9604 w 10000"/>
                <a:gd name="connsiteY89" fmla="*/ 2713 h 10000"/>
                <a:gd name="connsiteX90" fmla="*/ 9684 w 10000"/>
                <a:gd name="connsiteY90" fmla="*/ 2478 h 10000"/>
                <a:gd name="connsiteX91" fmla="*/ 9758 w 10000"/>
                <a:gd name="connsiteY91" fmla="*/ 2241 h 10000"/>
                <a:gd name="connsiteX92" fmla="*/ 9831 w 10000"/>
                <a:gd name="connsiteY92" fmla="*/ 2006 h 10000"/>
                <a:gd name="connsiteX93" fmla="*/ 9892 w 10000"/>
                <a:gd name="connsiteY93" fmla="*/ 1768 h 10000"/>
                <a:gd name="connsiteX94" fmla="*/ 9951 w 10000"/>
                <a:gd name="connsiteY94" fmla="*/ 1526 h 10000"/>
                <a:gd name="connsiteX95" fmla="*/ 10000 w 10000"/>
                <a:gd name="connsiteY95" fmla="*/ 1280 h 10000"/>
                <a:gd name="connsiteX96" fmla="*/ 6011 w 10000"/>
                <a:gd name="connsiteY96" fmla="*/ 1964 h 10000"/>
                <a:gd name="connsiteX97" fmla="*/ 2680 w 10000"/>
                <a:gd name="connsiteY97" fmla="*/ 0 h 10000"/>
                <a:gd name="connsiteX0" fmla="*/ 2680 w 10000"/>
                <a:gd name="connsiteY0" fmla="*/ 0 h 9845"/>
                <a:gd name="connsiteX1" fmla="*/ 2680 w 10000"/>
                <a:gd name="connsiteY1" fmla="*/ 0 h 9845"/>
                <a:gd name="connsiteX2" fmla="*/ 2665 w 10000"/>
                <a:gd name="connsiteY2" fmla="*/ 104 h 9845"/>
                <a:gd name="connsiteX3" fmla="*/ 2642 w 10000"/>
                <a:gd name="connsiteY3" fmla="*/ 209 h 9845"/>
                <a:gd name="connsiteX4" fmla="*/ 2621 w 10000"/>
                <a:gd name="connsiteY4" fmla="*/ 313 h 9845"/>
                <a:gd name="connsiteX5" fmla="*/ 2594 w 10000"/>
                <a:gd name="connsiteY5" fmla="*/ 412 h 9845"/>
                <a:gd name="connsiteX6" fmla="*/ 2561 w 10000"/>
                <a:gd name="connsiteY6" fmla="*/ 513 h 9845"/>
                <a:gd name="connsiteX7" fmla="*/ 2530 w 10000"/>
                <a:gd name="connsiteY7" fmla="*/ 615 h 9845"/>
                <a:gd name="connsiteX8" fmla="*/ 2502 w 10000"/>
                <a:gd name="connsiteY8" fmla="*/ 713 h 9845"/>
                <a:gd name="connsiteX9" fmla="*/ 2468 w 10000"/>
                <a:gd name="connsiteY9" fmla="*/ 813 h 9845"/>
                <a:gd name="connsiteX10" fmla="*/ 2428 w 10000"/>
                <a:gd name="connsiteY10" fmla="*/ 911 h 9845"/>
                <a:gd name="connsiteX11" fmla="*/ 2386 w 10000"/>
                <a:gd name="connsiteY11" fmla="*/ 1005 h 9845"/>
                <a:gd name="connsiteX12" fmla="*/ 2347 w 10000"/>
                <a:gd name="connsiteY12" fmla="*/ 1104 h 9845"/>
                <a:gd name="connsiteX13" fmla="*/ 2299 w 10000"/>
                <a:gd name="connsiteY13" fmla="*/ 1200 h 9845"/>
                <a:gd name="connsiteX14" fmla="*/ 2248 w 10000"/>
                <a:gd name="connsiteY14" fmla="*/ 1289 h 9845"/>
                <a:gd name="connsiteX15" fmla="*/ 2200 w 10000"/>
                <a:gd name="connsiteY15" fmla="*/ 1381 h 9845"/>
                <a:gd name="connsiteX16" fmla="*/ 2149 w 10000"/>
                <a:gd name="connsiteY16" fmla="*/ 1472 h 9845"/>
                <a:gd name="connsiteX17" fmla="*/ 2092 w 10000"/>
                <a:gd name="connsiteY17" fmla="*/ 1564 h 9845"/>
                <a:gd name="connsiteX18" fmla="*/ 2041 w 10000"/>
                <a:gd name="connsiteY18" fmla="*/ 1655 h 9845"/>
                <a:gd name="connsiteX19" fmla="*/ 1981 w 10000"/>
                <a:gd name="connsiteY19" fmla="*/ 1742 h 9845"/>
                <a:gd name="connsiteX20" fmla="*/ 1919 w 10000"/>
                <a:gd name="connsiteY20" fmla="*/ 1822 h 9845"/>
                <a:gd name="connsiteX21" fmla="*/ 1854 w 10000"/>
                <a:gd name="connsiteY21" fmla="*/ 1907 h 9845"/>
                <a:gd name="connsiteX22" fmla="*/ 1794 w 10000"/>
                <a:gd name="connsiteY22" fmla="*/ 1990 h 9845"/>
                <a:gd name="connsiteX23" fmla="*/ 1725 w 10000"/>
                <a:gd name="connsiteY23" fmla="*/ 2078 h 9845"/>
                <a:gd name="connsiteX24" fmla="*/ 1656 w 10000"/>
                <a:gd name="connsiteY24" fmla="*/ 2156 h 9845"/>
                <a:gd name="connsiteX25" fmla="*/ 1583 w 10000"/>
                <a:gd name="connsiteY25" fmla="*/ 2231 h 9845"/>
                <a:gd name="connsiteX26" fmla="*/ 1509 w 10000"/>
                <a:gd name="connsiteY26" fmla="*/ 2313 h 9845"/>
                <a:gd name="connsiteX27" fmla="*/ 1435 w 10000"/>
                <a:gd name="connsiteY27" fmla="*/ 2388 h 9845"/>
                <a:gd name="connsiteX28" fmla="*/ 1356 w 10000"/>
                <a:gd name="connsiteY28" fmla="*/ 2462 h 9845"/>
                <a:gd name="connsiteX29" fmla="*/ 1279 w 10000"/>
                <a:gd name="connsiteY29" fmla="*/ 2540 h 9845"/>
                <a:gd name="connsiteX30" fmla="*/ 1200 w 10000"/>
                <a:gd name="connsiteY30" fmla="*/ 2611 h 9845"/>
                <a:gd name="connsiteX31" fmla="*/ 1113 w 10000"/>
                <a:gd name="connsiteY31" fmla="*/ 2682 h 9845"/>
                <a:gd name="connsiteX32" fmla="*/ 1033 w 10000"/>
                <a:gd name="connsiteY32" fmla="*/ 2749 h 9845"/>
                <a:gd name="connsiteX33" fmla="*/ 946 w 10000"/>
                <a:gd name="connsiteY33" fmla="*/ 2818 h 9845"/>
                <a:gd name="connsiteX34" fmla="*/ 862 w 10000"/>
                <a:gd name="connsiteY34" fmla="*/ 2882 h 9845"/>
                <a:gd name="connsiteX35" fmla="*/ 767 w 10000"/>
                <a:gd name="connsiteY35" fmla="*/ 2948 h 9845"/>
                <a:gd name="connsiteX36" fmla="*/ 679 w 10000"/>
                <a:gd name="connsiteY36" fmla="*/ 3008 h 9845"/>
                <a:gd name="connsiteX37" fmla="*/ 586 w 10000"/>
                <a:gd name="connsiteY37" fmla="*/ 3071 h 9845"/>
                <a:gd name="connsiteX38" fmla="*/ 492 w 10000"/>
                <a:gd name="connsiteY38" fmla="*/ 3128 h 9845"/>
                <a:gd name="connsiteX39" fmla="*/ 394 w 10000"/>
                <a:gd name="connsiteY39" fmla="*/ 3184 h 9845"/>
                <a:gd name="connsiteX40" fmla="*/ 298 w 10000"/>
                <a:gd name="connsiteY40" fmla="*/ 3242 h 9845"/>
                <a:gd name="connsiteX41" fmla="*/ 203 w 10000"/>
                <a:gd name="connsiteY41" fmla="*/ 3295 h 9845"/>
                <a:gd name="connsiteX42" fmla="*/ 101 w 10000"/>
                <a:gd name="connsiteY42" fmla="*/ 3346 h 9845"/>
                <a:gd name="connsiteX43" fmla="*/ 0 w 10000"/>
                <a:gd name="connsiteY43" fmla="*/ 3395 h 9845"/>
                <a:gd name="connsiteX44" fmla="*/ 187 w 10000"/>
                <a:gd name="connsiteY44" fmla="*/ 6883 h 9845"/>
                <a:gd name="connsiteX45" fmla="*/ 1673 w 10000"/>
                <a:gd name="connsiteY45" fmla="*/ 9845 h 9845"/>
                <a:gd name="connsiteX46" fmla="*/ 1934 w 10000"/>
                <a:gd name="connsiteY46" fmla="*/ 9767 h 9845"/>
                <a:gd name="connsiteX47" fmla="*/ 2196 w 10000"/>
                <a:gd name="connsiteY47" fmla="*/ 9676 h 9845"/>
                <a:gd name="connsiteX48" fmla="*/ 2457 w 10000"/>
                <a:gd name="connsiteY48" fmla="*/ 9587 h 9845"/>
                <a:gd name="connsiteX49" fmla="*/ 2705 w 10000"/>
                <a:gd name="connsiteY49" fmla="*/ 9487 h 9845"/>
                <a:gd name="connsiteX50" fmla="*/ 2955 w 10000"/>
                <a:gd name="connsiteY50" fmla="*/ 9385 h 9845"/>
                <a:gd name="connsiteX51" fmla="*/ 3206 w 10000"/>
                <a:gd name="connsiteY51" fmla="*/ 9277 h 9845"/>
                <a:gd name="connsiteX52" fmla="*/ 3449 w 10000"/>
                <a:gd name="connsiteY52" fmla="*/ 9167 h 9845"/>
                <a:gd name="connsiteX53" fmla="*/ 3689 w 10000"/>
                <a:gd name="connsiteY53" fmla="*/ 9056 h 9845"/>
                <a:gd name="connsiteX54" fmla="*/ 3930 w 10000"/>
                <a:gd name="connsiteY54" fmla="*/ 8932 h 9845"/>
                <a:gd name="connsiteX55" fmla="*/ 4165 w 10000"/>
                <a:gd name="connsiteY55" fmla="*/ 8811 h 9845"/>
                <a:gd name="connsiteX56" fmla="*/ 4397 w 10000"/>
                <a:gd name="connsiteY56" fmla="*/ 8682 h 9845"/>
                <a:gd name="connsiteX57" fmla="*/ 4628 w 10000"/>
                <a:gd name="connsiteY57" fmla="*/ 8549 h 9845"/>
                <a:gd name="connsiteX58" fmla="*/ 4845 w 10000"/>
                <a:gd name="connsiteY58" fmla="*/ 8416 h 9845"/>
                <a:gd name="connsiteX59" fmla="*/ 5065 w 10000"/>
                <a:gd name="connsiteY59" fmla="*/ 8272 h 9845"/>
                <a:gd name="connsiteX60" fmla="*/ 5285 w 10000"/>
                <a:gd name="connsiteY60" fmla="*/ 8130 h 9845"/>
                <a:gd name="connsiteX61" fmla="*/ 5494 w 10000"/>
                <a:gd name="connsiteY61" fmla="*/ 7982 h 9845"/>
                <a:gd name="connsiteX62" fmla="*/ 5708 w 10000"/>
                <a:gd name="connsiteY62" fmla="*/ 7830 h 9845"/>
                <a:gd name="connsiteX63" fmla="*/ 5911 w 10000"/>
                <a:gd name="connsiteY63" fmla="*/ 7670 h 9845"/>
                <a:gd name="connsiteX64" fmla="*/ 6115 w 10000"/>
                <a:gd name="connsiteY64" fmla="*/ 7513 h 9845"/>
                <a:gd name="connsiteX65" fmla="*/ 6310 w 10000"/>
                <a:gd name="connsiteY65" fmla="*/ 7352 h 9845"/>
                <a:gd name="connsiteX66" fmla="*/ 6508 w 10000"/>
                <a:gd name="connsiteY66" fmla="*/ 7182 h 9845"/>
                <a:gd name="connsiteX67" fmla="*/ 6698 w 10000"/>
                <a:gd name="connsiteY67" fmla="*/ 7008 h 9845"/>
                <a:gd name="connsiteX68" fmla="*/ 6882 w 10000"/>
                <a:gd name="connsiteY68" fmla="*/ 6839 h 9845"/>
                <a:gd name="connsiteX69" fmla="*/ 7064 w 10000"/>
                <a:gd name="connsiteY69" fmla="*/ 6661 h 9845"/>
                <a:gd name="connsiteX70" fmla="*/ 7239 w 10000"/>
                <a:gd name="connsiteY70" fmla="*/ 6478 h 9845"/>
                <a:gd name="connsiteX71" fmla="*/ 7414 w 10000"/>
                <a:gd name="connsiteY71" fmla="*/ 6296 h 9845"/>
                <a:gd name="connsiteX72" fmla="*/ 7582 w 10000"/>
                <a:gd name="connsiteY72" fmla="*/ 6109 h 9845"/>
                <a:gd name="connsiteX73" fmla="*/ 7750 w 10000"/>
                <a:gd name="connsiteY73" fmla="*/ 5916 h 9845"/>
                <a:gd name="connsiteX74" fmla="*/ 7905 w 10000"/>
                <a:gd name="connsiteY74" fmla="*/ 5722 h 9845"/>
                <a:gd name="connsiteX75" fmla="*/ 8057 w 10000"/>
                <a:gd name="connsiteY75" fmla="*/ 5524 h 9845"/>
                <a:gd name="connsiteX76" fmla="*/ 8211 w 10000"/>
                <a:gd name="connsiteY76" fmla="*/ 5327 h 9845"/>
                <a:gd name="connsiteX77" fmla="*/ 8354 w 10000"/>
                <a:gd name="connsiteY77" fmla="*/ 5121 h 9845"/>
                <a:gd name="connsiteX78" fmla="*/ 8493 w 10000"/>
                <a:gd name="connsiteY78" fmla="*/ 4919 h 9845"/>
                <a:gd name="connsiteX79" fmla="*/ 8628 w 10000"/>
                <a:gd name="connsiteY79" fmla="*/ 4709 h 9845"/>
                <a:gd name="connsiteX80" fmla="*/ 8754 w 10000"/>
                <a:gd name="connsiteY80" fmla="*/ 4494 h 9845"/>
                <a:gd name="connsiteX81" fmla="*/ 8877 w 10000"/>
                <a:gd name="connsiteY81" fmla="*/ 4281 h 9845"/>
                <a:gd name="connsiteX82" fmla="*/ 9003 w 10000"/>
                <a:gd name="connsiteY82" fmla="*/ 4065 h 9845"/>
                <a:gd name="connsiteX83" fmla="*/ 9120 w 10000"/>
                <a:gd name="connsiteY83" fmla="*/ 3846 h 9845"/>
                <a:gd name="connsiteX84" fmla="*/ 9224 w 10000"/>
                <a:gd name="connsiteY84" fmla="*/ 3626 h 9845"/>
                <a:gd name="connsiteX85" fmla="*/ 9330 w 10000"/>
                <a:gd name="connsiteY85" fmla="*/ 3401 h 9845"/>
                <a:gd name="connsiteX86" fmla="*/ 9425 w 10000"/>
                <a:gd name="connsiteY86" fmla="*/ 3173 h 9845"/>
                <a:gd name="connsiteX87" fmla="*/ 9520 w 10000"/>
                <a:gd name="connsiteY87" fmla="*/ 2946 h 9845"/>
                <a:gd name="connsiteX88" fmla="*/ 9604 w 10000"/>
                <a:gd name="connsiteY88" fmla="*/ 2713 h 9845"/>
                <a:gd name="connsiteX89" fmla="*/ 9684 w 10000"/>
                <a:gd name="connsiteY89" fmla="*/ 2478 h 9845"/>
                <a:gd name="connsiteX90" fmla="*/ 9758 w 10000"/>
                <a:gd name="connsiteY90" fmla="*/ 2241 h 9845"/>
                <a:gd name="connsiteX91" fmla="*/ 9831 w 10000"/>
                <a:gd name="connsiteY91" fmla="*/ 2006 h 9845"/>
                <a:gd name="connsiteX92" fmla="*/ 9892 w 10000"/>
                <a:gd name="connsiteY92" fmla="*/ 1768 h 9845"/>
                <a:gd name="connsiteX93" fmla="*/ 9951 w 10000"/>
                <a:gd name="connsiteY93" fmla="*/ 1526 h 9845"/>
                <a:gd name="connsiteX94" fmla="*/ 10000 w 10000"/>
                <a:gd name="connsiteY94" fmla="*/ 1280 h 9845"/>
                <a:gd name="connsiteX95" fmla="*/ 6011 w 10000"/>
                <a:gd name="connsiteY95" fmla="*/ 1964 h 9845"/>
                <a:gd name="connsiteX96" fmla="*/ 2680 w 10000"/>
                <a:gd name="connsiteY96" fmla="*/ 0 h 9845"/>
                <a:gd name="connsiteX0" fmla="*/ 2680 w 10000"/>
                <a:gd name="connsiteY0" fmla="*/ 0 h 10115"/>
                <a:gd name="connsiteX1" fmla="*/ 2680 w 10000"/>
                <a:gd name="connsiteY1" fmla="*/ 0 h 10115"/>
                <a:gd name="connsiteX2" fmla="*/ 2665 w 10000"/>
                <a:gd name="connsiteY2" fmla="*/ 106 h 10115"/>
                <a:gd name="connsiteX3" fmla="*/ 2642 w 10000"/>
                <a:gd name="connsiteY3" fmla="*/ 212 h 10115"/>
                <a:gd name="connsiteX4" fmla="*/ 2621 w 10000"/>
                <a:gd name="connsiteY4" fmla="*/ 318 h 10115"/>
                <a:gd name="connsiteX5" fmla="*/ 2594 w 10000"/>
                <a:gd name="connsiteY5" fmla="*/ 418 h 10115"/>
                <a:gd name="connsiteX6" fmla="*/ 2561 w 10000"/>
                <a:gd name="connsiteY6" fmla="*/ 521 h 10115"/>
                <a:gd name="connsiteX7" fmla="*/ 2530 w 10000"/>
                <a:gd name="connsiteY7" fmla="*/ 625 h 10115"/>
                <a:gd name="connsiteX8" fmla="*/ 2502 w 10000"/>
                <a:gd name="connsiteY8" fmla="*/ 724 h 10115"/>
                <a:gd name="connsiteX9" fmla="*/ 2468 w 10000"/>
                <a:gd name="connsiteY9" fmla="*/ 826 h 10115"/>
                <a:gd name="connsiteX10" fmla="*/ 2428 w 10000"/>
                <a:gd name="connsiteY10" fmla="*/ 925 h 10115"/>
                <a:gd name="connsiteX11" fmla="*/ 2386 w 10000"/>
                <a:gd name="connsiteY11" fmla="*/ 1021 h 10115"/>
                <a:gd name="connsiteX12" fmla="*/ 2347 w 10000"/>
                <a:gd name="connsiteY12" fmla="*/ 1121 h 10115"/>
                <a:gd name="connsiteX13" fmla="*/ 2299 w 10000"/>
                <a:gd name="connsiteY13" fmla="*/ 1219 h 10115"/>
                <a:gd name="connsiteX14" fmla="*/ 2248 w 10000"/>
                <a:gd name="connsiteY14" fmla="*/ 1309 h 10115"/>
                <a:gd name="connsiteX15" fmla="*/ 2200 w 10000"/>
                <a:gd name="connsiteY15" fmla="*/ 1403 h 10115"/>
                <a:gd name="connsiteX16" fmla="*/ 2149 w 10000"/>
                <a:gd name="connsiteY16" fmla="*/ 1495 h 10115"/>
                <a:gd name="connsiteX17" fmla="*/ 2092 w 10000"/>
                <a:gd name="connsiteY17" fmla="*/ 1589 h 10115"/>
                <a:gd name="connsiteX18" fmla="*/ 2041 w 10000"/>
                <a:gd name="connsiteY18" fmla="*/ 1681 h 10115"/>
                <a:gd name="connsiteX19" fmla="*/ 1981 w 10000"/>
                <a:gd name="connsiteY19" fmla="*/ 1769 h 10115"/>
                <a:gd name="connsiteX20" fmla="*/ 1919 w 10000"/>
                <a:gd name="connsiteY20" fmla="*/ 1851 h 10115"/>
                <a:gd name="connsiteX21" fmla="*/ 1854 w 10000"/>
                <a:gd name="connsiteY21" fmla="*/ 1937 h 10115"/>
                <a:gd name="connsiteX22" fmla="*/ 1794 w 10000"/>
                <a:gd name="connsiteY22" fmla="*/ 2021 h 10115"/>
                <a:gd name="connsiteX23" fmla="*/ 1725 w 10000"/>
                <a:gd name="connsiteY23" fmla="*/ 2111 h 10115"/>
                <a:gd name="connsiteX24" fmla="*/ 1656 w 10000"/>
                <a:gd name="connsiteY24" fmla="*/ 2190 h 10115"/>
                <a:gd name="connsiteX25" fmla="*/ 1583 w 10000"/>
                <a:gd name="connsiteY25" fmla="*/ 2266 h 10115"/>
                <a:gd name="connsiteX26" fmla="*/ 1509 w 10000"/>
                <a:gd name="connsiteY26" fmla="*/ 2349 h 10115"/>
                <a:gd name="connsiteX27" fmla="*/ 1435 w 10000"/>
                <a:gd name="connsiteY27" fmla="*/ 2426 h 10115"/>
                <a:gd name="connsiteX28" fmla="*/ 1356 w 10000"/>
                <a:gd name="connsiteY28" fmla="*/ 2501 h 10115"/>
                <a:gd name="connsiteX29" fmla="*/ 1279 w 10000"/>
                <a:gd name="connsiteY29" fmla="*/ 2580 h 10115"/>
                <a:gd name="connsiteX30" fmla="*/ 1200 w 10000"/>
                <a:gd name="connsiteY30" fmla="*/ 2652 h 10115"/>
                <a:gd name="connsiteX31" fmla="*/ 1113 w 10000"/>
                <a:gd name="connsiteY31" fmla="*/ 2724 h 10115"/>
                <a:gd name="connsiteX32" fmla="*/ 1033 w 10000"/>
                <a:gd name="connsiteY32" fmla="*/ 2792 h 10115"/>
                <a:gd name="connsiteX33" fmla="*/ 946 w 10000"/>
                <a:gd name="connsiteY33" fmla="*/ 2862 h 10115"/>
                <a:gd name="connsiteX34" fmla="*/ 862 w 10000"/>
                <a:gd name="connsiteY34" fmla="*/ 2927 h 10115"/>
                <a:gd name="connsiteX35" fmla="*/ 767 w 10000"/>
                <a:gd name="connsiteY35" fmla="*/ 2994 h 10115"/>
                <a:gd name="connsiteX36" fmla="*/ 679 w 10000"/>
                <a:gd name="connsiteY36" fmla="*/ 3055 h 10115"/>
                <a:gd name="connsiteX37" fmla="*/ 586 w 10000"/>
                <a:gd name="connsiteY37" fmla="*/ 3119 h 10115"/>
                <a:gd name="connsiteX38" fmla="*/ 492 w 10000"/>
                <a:gd name="connsiteY38" fmla="*/ 3177 h 10115"/>
                <a:gd name="connsiteX39" fmla="*/ 394 w 10000"/>
                <a:gd name="connsiteY39" fmla="*/ 3234 h 10115"/>
                <a:gd name="connsiteX40" fmla="*/ 298 w 10000"/>
                <a:gd name="connsiteY40" fmla="*/ 3293 h 10115"/>
                <a:gd name="connsiteX41" fmla="*/ 203 w 10000"/>
                <a:gd name="connsiteY41" fmla="*/ 3347 h 10115"/>
                <a:gd name="connsiteX42" fmla="*/ 101 w 10000"/>
                <a:gd name="connsiteY42" fmla="*/ 3399 h 10115"/>
                <a:gd name="connsiteX43" fmla="*/ 0 w 10000"/>
                <a:gd name="connsiteY43" fmla="*/ 3448 h 10115"/>
                <a:gd name="connsiteX44" fmla="*/ 187 w 10000"/>
                <a:gd name="connsiteY44" fmla="*/ 6991 h 10115"/>
                <a:gd name="connsiteX45" fmla="*/ 1934 w 10000"/>
                <a:gd name="connsiteY45" fmla="*/ 9921 h 10115"/>
                <a:gd name="connsiteX46" fmla="*/ 2196 w 10000"/>
                <a:gd name="connsiteY46" fmla="*/ 9828 h 10115"/>
                <a:gd name="connsiteX47" fmla="*/ 2457 w 10000"/>
                <a:gd name="connsiteY47" fmla="*/ 9738 h 10115"/>
                <a:gd name="connsiteX48" fmla="*/ 2705 w 10000"/>
                <a:gd name="connsiteY48" fmla="*/ 9636 h 10115"/>
                <a:gd name="connsiteX49" fmla="*/ 2955 w 10000"/>
                <a:gd name="connsiteY49" fmla="*/ 9533 h 10115"/>
                <a:gd name="connsiteX50" fmla="*/ 3206 w 10000"/>
                <a:gd name="connsiteY50" fmla="*/ 9423 h 10115"/>
                <a:gd name="connsiteX51" fmla="*/ 3449 w 10000"/>
                <a:gd name="connsiteY51" fmla="*/ 9311 h 10115"/>
                <a:gd name="connsiteX52" fmla="*/ 3689 w 10000"/>
                <a:gd name="connsiteY52" fmla="*/ 9199 h 10115"/>
                <a:gd name="connsiteX53" fmla="*/ 3930 w 10000"/>
                <a:gd name="connsiteY53" fmla="*/ 9073 h 10115"/>
                <a:gd name="connsiteX54" fmla="*/ 4165 w 10000"/>
                <a:gd name="connsiteY54" fmla="*/ 8950 h 10115"/>
                <a:gd name="connsiteX55" fmla="*/ 4397 w 10000"/>
                <a:gd name="connsiteY55" fmla="*/ 8819 h 10115"/>
                <a:gd name="connsiteX56" fmla="*/ 4628 w 10000"/>
                <a:gd name="connsiteY56" fmla="*/ 8684 h 10115"/>
                <a:gd name="connsiteX57" fmla="*/ 4845 w 10000"/>
                <a:gd name="connsiteY57" fmla="*/ 8549 h 10115"/>
                <a:gd name="connsiteX58" fmla="*/ 5065 w 10000"/>
                <a:gd name="connsiteY58" fmla="*/ 8402 h 10115"/>
                <a:gd name="connsiteX59" fmla="*/ 5285 w 10000"/>
                <a:gd name="connsiteY59" fmla="*/ 8258 h 10115"/>
                <a:gd name="connsiteX60" fmla="*/ 5494 w 10000"/>
                <a:gd name="connsiteY60" fmla="*/ 8108 h 10115"/>
                <a:gd name="connsiteX61" fmla="*/ 5708 w 10000"/>
                <a:gd name="connsiteY61" fmla="*/ 7953 h 10115"/>
                <a:gd name="connsiteX62" fmla="*/ 5911 w 10000"/>
                <a:gd name="connsiteY62" fmla="*/ 7791 h 10115"/>
                <a:gd name="connsiteX63" fmla="*/ 6115 w 10000"/>
                <a:gd name="connsiteY63" fmla="*/ 7631 h 10115"/>
                <a:gd name="connsiteX64" fmla="*/ 6310 w 10000"/>
                <a:gd name="connsiteY64" fmla="*/ 7468 h 10115"/>
                <a:gd name="connsiteX65" fmla="*/ 6508 w 10000"/>
                <a:gd name="connsiteY65" fmla="*/ 7295 h 10115"/>
                <a:gd name="connsiteX66" fmla="*/ 6698 w 10000"/>
                <a:gd name="connsiteY66" fmla="*/ 7118 h 10115"/>
                <a:gd name="connsiteX67" fmla="*/ 6882 w 10000"/>
                <a:gd name="connsiteY67" fmla="*/ 6947 h 10115"/>
                <a:gd name="connsiteX68" fmla="*/ 7064 w 10000"/>
                <a:gd name="connsiteY68" fmla="*/ 6766 h 10115"/>
                <a:gd name="connsiteX69" fmla="*/ 7239 w 10000"/>
                <a:gd name="connsiteY69" fmla="*/ 6580 h 10115"/>
                <a:gd name="connsiteX70" fmla="*/ 7414 w 10000"/>
                <a:gd name="connsiteY70" fmla="*/ 6395 h 10115"/>
                <a:gd name="connsiteX71" fmla="*/ 7582 w 10000"/>
                <a:gd name="connsiteY71" fmla="*/ 6205 h 10115"/>
                <a:gd name="connsiteX72" fmla="*/ 7750 w 10000"/>
                <a:gd name="connsiteY72" fmla="*/ 6009 h 10115"/>
                <a:gd name="connsiteX73" fmla="*/ 7905 w 10000"/>
                <a:gd name="connsiteY73" fmla="*/ 5812 h 10115"/>
                <a:gd name="connsiteX74" fmla="*/ 8057 w 10000"/>
                <a:gd name="connsiteY74" fmla="*/ 5611 h 10115"/>
                <a:gd name="connsiteX75" fmla="*/ 8211 w 10000"/>
                <a:gd name="connsiteY75" fmla="*/ 5411 h 10115"/>
                <a:gd name="connsiteX76" fmla="*/ 8354 w 10000"/>
                <a:gd name="connsiteY76" fmla="*/ 5202 h 10115"/>
                <a:gd name="connsiteX77" fmla="*/ 8493 w 10000"/>
                <a:gd name="connsiteY77" fmla="*/ 4996 h 10115"/>
                <a:gd name="connsiteX78" fmla="*/ 8628 w 10000"/>
                <a:gd name="connsiteY78" fmla="*/ 4783 h 10115"/>
                <a:gd name="connsiteX79" fmla="*/ 8754 w 10000"/>
                <a:gd name="connsiteY79" fmla="*/ 4565 h 10115"/>
                <a:gd name="connsiteX80" fmla="*/ 8877 w 10000"/>
                <a:gd name="connsiteY80" fmla="*/ 4348 h 10115"/>
                <a:gd name="connsiteX81" fmla="*/ 9003 w 10000"/>
                <a:gd name="connsiteY81" fmla="*/ 4129 h 10115"/>
                <a:gd name="connsiteX82" fmla="*/ 9120 w 10000"/>
                <a:gd name="connsiteY82" fmla="*/ 3907 h 10115"/>
                <a:gd name="connsiteX83" fmla="*/ 9224 w 10000"/>
                <a:gd name="connsiteY83" fmla="*/ 3683 h 10115"/>
                <a:gd name="connsiteX84" fmla="*/ 9330 w 10000"/>
                <a:gd name="connsiteY84" fmla="*/ 3455 h 10115"/>
                <a:gd name="connsiteX85" fmla="*/ 9425 w 10000"/>
                <a:gd name="connsiteY85" fmla="*/ 3223 h 10115"/>
                <a:gd name="connsiteX86" fmla="*/ 9520 w 10000"/>
                <a:gd name="connsiteY86" fmla="*/ 2992 h 10115"/>
                <a:gd name="connsiteX87" fmla="*/ 9604 w 10000"/>
                <a:gd name="connsiteY87" fmla="*/ 2756 h 10115"/>
                <a:gd name="connsiteX88" fmla="*/ 9684 w 10000"/>
                <a:gd name="connsiteY88" fmla="*/ 2517 h 10115"/>
                <a:gd name="connsiteX89" fmla="*/ 9758 w 10000"/>
                <a:gd name="connsiteY89" fmla="*/ 2276 h 10115"/>
                <a:gd name="connsiteX90" fmla="*/ 9831 w 10000"/>
                <a:gd name="connsiteY90" fmla="*/ 2038 h 10115"/>
                <a:gd name="connsiteX91" fmla="*/ 9892 w 10000"/>
                <a:gd name="connsiteY91" fmla="*/ 1796 h 10115"/>
                <a:gd name="connsiteX92" fmla="*/ 9951 w 10000"/>
                <a:gd name="connsiteY92" fmla="*/ 1550 h 10115"/>
                <a:gd name="connsiteX93" fmla="*/ 10000 w 10000"/>
                <a:gd name="connsiteY93" fmla="*/ 1300 h 10115"/>
                <a:gd name="connsiteX94" fmla="*/ 6011 w 10000"/>
                <a:gd name="connsiteY94" fmla="*/ 1995 h 10115"/>
                <a:gd name="connsiteX95" fmla="*/ 2680 w 10000"/>
                <a:gd name="connsiteY95" fmla="*/ 0 h 10115"/>
                <a:gd name="connsiteX0" fmla="*/ 2680 w 10000"/>
                <a:gd name="connsiteY0" fmla="*/ 0 h 10157"/>
                <a:gd name="connsiteX1" fmla="*/ 2680 w 10000"/>
                <a:gd name="connsiteY1" fmla="*/ 0 h 10157"/>
                <a:gd name="connsiteX2" fmla="*/ 2665 w 10000"/>
                <a:gd name="connsiteY2" fmla="*/ 106 h 10157"/>
                <a:gd name="connsiteX3" fmla="*/ 2642 w 10000"/>
                <a:gd name="connsiteY3" fmla="*/ 212 h 10157"/>
                <a:gd name="connsiteX4" fmla="*/ 2621 w 10000"/>
                <a:gd name="connsiteY4" fmla="*/ 318 h 10157"/>
                <a:gd name="connsiteX5" fmla="*/ 2594 w 10000"/>
                <a:gd name="connsiteY5" fmla="*/ 418 h 10157"/>
                <a:gd name="connsiteX6" fmla="*/ 2561 w 10000"/>
                <a:gd name="connsiteY6" fmla="*/ 521 h 10157"/>
                <a:gd name="connsiteX7" fmla="*/ 2530 w 10000"/>
                <a:gd name="connsiteY7" fmla="*/ 625 h 10157"/>
                <a:gd name="connsiteX8" fmla="*/ 2502 w 10000"/>
                <a:gd name="connsiteY8" fmla="*/ 724 h 10157"/>
                <a:gd name="connsiteX9" fmla="*/ 2468 w 10000"/>
                <a:gd name="connsiteY9" fmla="*/ 826 h 10157"/>
                <a:gd name="connsiteX10" fmla="*/ 2428 w 10000"/>
                <a:gd name="connsiteY10" fmla="*/ 925 h 10157"/>
                <a:gd name="connsiteX11" fmla="*/ 2386 w 10000"/>
                <a:gd name="connsiteY11" fmla="*/ 1021 h 10157"/>
                <a:gd name="connsiteX12" fmla="*/ 2347 w 10000"/>
                <a:gd name="connsiteY12" fmla="*/ 1121 h 10157"/>
                <a:gd name="connsiteX13" fmla="*/ 2299 w 10000"/>
                <a:gd name="connsiteY13" fmla="*/ 1219 h 10157"/>
                <a:gd name="connsiteX14" fmla="*/ 2248 w 10000"/>
                <a:gd name="connsiteY14" fmla="*/ 1309 h 10157"/>
                <a:gd name="connsiteX15" fmla="*/ 2200 w 10000"/>
                <a:gd name="connsiteY15" fmla="*/ 1403 h 10157"/>
                <a:gd name="connsiteX16" fmla="*/ 2149 w 10000"/>
                <a:gd name="connsiteY16" fmla="*/ 1495 h 10157"/>
                <a:gd name="connsiteX17" fmla="*/ 2092 w 10000"/>
                <a:gd name="connsiteY17" fmla="*/ 1589 h 10157"/>
                <a:gd name="connsiteX18" fmla="*/ 2041 w 10000"/>
                <a:gd name="connsiteY18" fmla="*/ 1681 h 10157"/>
                <a:gd name="connsiteX19" fmla="*/ 1981 w 10000"/>
                <a:gd name="connsiteY19" fmla="*/ 1769 h 10157"/>
                <a:gd name="connsiteX20" fmla="*/ 1919 w 10000"/>
                <a:gd name="connsiteY20" fmla="*/ 1851 h 10157"/>
                <a:gd name="connsiteX21" fmla="*/ 1854 w 10000"/>
                <a:gd name="connsiteY21" fmla="*/ 1937 h 10157"/>
                <a:gd name="connsiteX22" fmla="*/ 1794 w 10000"/>
                <a:gd name="connsiteY22" fmla="*/ 2021 h 10157"/>
                <a:gd name="connsiteX23" fmla="*/ 1725 w 10000"/>
                <a:gd name="connsiteY23" fmla="*/ 2111 h 10157"/>
                <a:gd name="connsiteX24" fmla="*/ 1656 w 10000"/>
                <a:gd name="connsiteY24" fmla="*/ 2190 h 10157"/>
                <a:gd name="connsiteX25" fmla="*/ 1583 w 10000"/>
                <a:gd name="connsiteY25" fmla="*/ 2266 h 10157"/>
                <a:gd name="connsiteX26" fmla="*/ 1509 w 10000"/>
                <a:gd name="connsiteY26" fmla="*/ 2349 h 10157"/>
                <a:gd name="connsiteX27" fmla="*/ 1435 w 10000"/>
                <a:gd name="connsiteY27" fmla="*/ 2426 h 10157"/>
                <a:gd name="connsiteX28" fmla="*/ 1356 w 10000"/>
                <a:gd name="connsiteY28" fmla="*/ 2501 h 10157"/>
                <a:gd name="connsiteX29" fmla="*/ 1279 w 10000"/>
                <a:gd name="connsiteY29" fmla="*/ 2580 h 10157"/>
                <a:gd name="connsiteX30" fmla="*/ 1200 w 10000"/>
                <a:gd name="connsiteY30" fmla="*/ 2652 h 10157"/>
                <a:gd name="connsiteX31" fmla="*/ 1113 w 10000"/>
                <a:gd name="connsiteY31" fmla="*/ 2724 h 10157"/>
                <a:gd name="connsiteX32" fmla="*/ 1033 w 10000"/>
                <a:gd name="connsiteY32" fmla="*/ 2792 h 10157"/>
                <a:gd name="connsiteX33" fmla="*/ 946 w 10000"/>
                <a:gd name="connsiteY33" fmla="*/ 2862 h 10157"/>
                <a:gd name="connsiteX34" fmla="*/ 862 w 10000"/>
                <a:gd name="connsiteY34" fmla="*/ 2927 h 10157"/>
                <a:gd name="connsiteX35" fmla="*/ 767 w 10000"/>
                <a:gd name="connsiteY35" fmla="*/ 2994 h 10157"/>
                <a:gd name="connsiteX36" fmla="*/ 679 w 10000"/>
                <a:gd name="connsiteY36" fmla="*/ 3055 h 10157"/>
                <a:gd name="connsiteX37" fmla="*/ 586 w 10000"/>
                <a:gd name="connsiteY37" fmla="*/ 3119 h 10157"/>
                <a:gd name="connsiteX38" fmla="*/ 492 w 10000"/>
                <a:gd name="connsiteY38" fmla="*/ 3177 h 10157"/>
                <a:gd name="connsiteX39" fmla="*/ 394 w 10000"/>
                <a:gd name="connsiteY39" fmla="*/ 3234 h 10157"/>
                <a:gd name="connsiteX40" fmla="*/ 298 w 10000"/>
                <a:gd name="connsiteY40" fmla="*/ 3293 h 10157"/>
                <a:gd name="connsiteX41" fmla="*/ 203 w 10000"/>
                <a:gd name="connsiteY41" fmla="*/ 3347 h 10157"/>
                <a:gd name="connsiteX42" fmla="*/ 101 w 10000"/>
                <a:gd name="connsiteY42" fmla="*/ 3399 h 10157"/>
                <a:gd name="connsiteX43" fmla="*/ 0 w 10000"/>
                <a:gd name="connsiteY43" fmla="*/ 3448 h 10157"/>
                <a:gd name="connsiteX44" fmla="*/ 187 w 10000"/>
                <a:gd name="connsiteY44" fmla="*/ 6991 h 10157"/>
                <a:gd name="connsiteX45" fmla="*/ 1934 w 10000"/>
                <a:gd name="connsiteY45" fmla="*/ 9921 h 10157"/>
                <a:gd name="connsiteX46" fmla="*/ 1928 w 10000"/>
                <a:gd name="connsiteY46" fmla="*/ 9967 h 10157"/>
                <a:gd name="connsiteX47" fmla="*/ 2196 w 10000"/>
                <a:gd name="connsiteY47" fmla="*/ 9828 h 10157"/>
                <a:gd name="connsiteX48" fmla="*/ 2457 w 10000"/>
                <a:gd name="connsiteY48" fmla="*/ 9738 h 10157"/>
                <a:gd name="connsiteX49" fmla="*/ 2705 w 10000"/>
                <a:gd name="connsiteY49" fmla="*/ 9636 h 10157"/>
                <a:gd name="connsiteX50" fmla="*/ 2955 w 10000"/>
                <a:gd name="connsiteY50" fmla="*/ 9533 h 10157"/>
                <a:gd name="connsiteX51" fmla="*/ 3206 w 10000"/>
                <a:gd name="connsiteY51" fmla="*/ 9423 h 10157"/>
                <a:gd name="connsiteX52" fmla="*/ 3449 w 10000"/>
                <a:gd name="connsiteY52" fmla="*/ 9311 h 10157"/>
                <a:gd name="connsiteX53" fmla="*/ 3689 w 10000"/>
                <a:gd name="connsiteY53" fmla="*/ 9199 h 10157"/>
                <a:gd name="connsiteX54" fmla="*/ 3930 w 10000"/>
                <a:gd name="connsiteY54" fmla="*/ 9073 h 10157"/>
                <a:gd name="connsiteX55" fmla="*/ 4165 w 10000"/>
                <a:gd name="connsiteY55" fmla="*/ 8950 h 10157"/>
                <a:gd name="connsiteX56" fmla="*/ 4397 w 10000"/>
                <a:gd name="connsiteY56" fmla="*/ 8819 h 10157"/>
                <a:gd name="connsiteX57" fmla="*/ 4628 w 10000"/>
                <a:gd name="connsiteY57" fmla="*/ 8684 h 10157"/>
                <a:gd name="connsiteX58" fmla="*/ 4845 w 10000"/>
                <a:gd name="connsiteY58" fmla="*/ 8549 h 10157"/>
                <a:gd name="connsiteX59" fmla="*/ 5065 w 10000"/>
                <a:gd name="connsiteY59" fmla="*/ 8402 h 10157"/>
                <a:gd name="connsiteX60" fmla="*/ 5285 w 10000"/>
                <a:gd name="connsiteY60" fmla="*/ 8258 h 10157"/>
                <a:gd name="connsiteX61" fmla="*/ 5494 w 10000"/>
                <a:gd name="connsiteY61" fmla="*/ 8108 h 10157"/>
                <a:gd name="connsiteX62" fmla="*/ 5708 w 10000"/>
                <a:gd name="connsiteY62" fmla="*/ 7953 h 10157"/>
                <a:gd name="connsiteX63" fmla="*/ 5911 w 10000"/>
                <a:gd name="connsiteY63" fmla="*/ 7791 h 10157"/>
                <a:gd name="connsiteX64" fmla="*/ 6115 w 10000"/>
                <a:gd name="connsiteY64" fmla="*/ 7631 h 10157"/>
                <a:gd name="connsiteX65" fmla="*/ 6310 w 10000"/>
                <a:gd name="connsiteY65" fmla="*/ 7468 h 10157"/>
                <a:gd name="connsiteX66" fmla="*/ 6508 w 10000"/>
                <a:gd name="connsiteY66" fmla="*/ 7295 h 10157"/>
                <a:gd name="connsiteX67" fmla="*/ 6698 w 10000"/>
                <a:gd name="connsiteY67" fmla="*/ 7118 h 10157"/>
                <a:gd name="connsiteX68" fmla="*/ 6882 w 10000"/>
                <a:gd name="connsiteY68" fmla="*/ 6947 h 10157"/>
                <a:gd name="connsiteX69" fmla="*/ 7064 w 10000"/>
                <a:gd name="connsiteY69" fmla="*/ 6766 h 10157"/>
                <a:gd name="connsiteX70" fmla="*/ 7239 w 10000"/>
                <a:gd name="connsiteY70" fmla="*/ 6580 h 10157"/>
                <a:gd name="connsiteX71" fmla="*/ 7414 w 10000"/>
                <a:gd name="connsiteY71" fmla="*/ 6395 h 10157"/>
                <a:gd name="connsiteX72" fmla="*/ 7582 w 10000"/>
                <a:gd name="connsiteY72" fmla="*/ 6205 h 10157"/>
                <a:gd name="connsiteX73" fmla="*/ 7750 w 10000"/>
                <a:gd name="connsiteY73" fmla="*/ 6009 h 10157"/>
                <a:gd name="connsiteX74" fmla="*/ 7905 w 10000"/>
                <a:gd name="connsiteY74" fmla="*/ 5812 h 10157"/>
                <a:gd name="connsiteX75" fmla="*/ 8057 w 10000"/>
                <a:gd name="connsiteY75" fmla="*/ 5611 h 10157"/>
                <a:gd name="connsiteX76" fmla="*/ 8211 w 10000"/>
                <a:gd name="connsiteY76" fmla="*/ 5411 h 10157"/>
                <a:gd name="connsiteX77" fmla="*/ 8354 w 10000"/>
                <a:gd name="connsiteY77" fmla="*/ 5202 h 10157"/>
                <a:gd name="connsiteX78" fmla="*/ 8493 w 10000"/>
                <a:gd name="connsiteY78" fmla="*/ 4996 h 10157"/>
                <a:gd name="connsiteX79" fmla="*/ 8628 w 10000"/>
                <a:gd name="connsiteY79" fmla="*/ 4783 h 10157"/>
                <a:gd name="connsiteX80" fmla="*/ 8754 w 10000"/>
                <a:gd name="connsiteY80" fmla="*/ 4565 h 10157"/>
                <a:gd name="connsiteX81" fmla="*/ 8877 w 10000"/>
                <a:gd name="connsiteY81" fmla="*/ 4348 h 10157"/>
                <a:gd name="connsiteX82" fmla="*/ 9003 w 10000"/>
                <a:gd name="connsiteY82" fmla="*/ 4129 h 10157"/>
                <a:gd name="connsiteX83" fmla="*/ 9120 w 10000"/>
                <a:gd name="connsiteY83" fmla="*/ 3907 h 10157"/>
                <a:gd name="connsiteX84" fmla="*/ 9224 w 10000"/>
                <a:gd name="connsiteY84" fmla="*/ 3683 h 10157"/>
                <a:gd name="connsiteX85" fmla="*/ 9330 w 10000"/>
                <a:gd name="connsiteY85" fmla="*/ 3455 h 10157"/>
                <a:gd name="connsiteX86" fmla="*/ 9425 w 10000"/>
                <a:gd name="connsiteY86" fmla="*/ 3223 h 10157"/>
                <a:gd name="connsiteX87" fmla="*/ 9520 w 10000"/>
                <a:gd name="connsiteY87" fmla="*/ 2992 h 10157"/>
                <a:gd name="connsiteX88" fmla="*/ 9604 w 10000"/>
                <a:gd name="connsiteY88" fmla="*/ 2756 h 10157"/>
                <a:gd name="connsiteX89" fmla="*/ 9684 w 10000"/>
                <a:gd name="connsiteY89" fmla="*/ 2517 h 10157"/>
                <a:gd name="connsiteX90" fmla="*/ 9758 w 10000"/>
                <a:gd name="connsiteY90" fmla="*/ 2276 h 10157"/>
                <a:gd name="connsiteX91" fmla="*/ 9831 w 10000"/>
                <a:gd name="connsiteY91" fmla="*/ 2038 h 10157"/>
                <a:gd name="connsiteX92" fmla="*/ 9892 w 10000"/>
                <a:gd name="connsiteY92" fmla="*/ 1796 h 10157"/>
                <a:gd name="connsiteX93" fmla="*/ 9951 w 10000"/>
                <a:gd name="connsiteY93" fmla="*/ 1550 h 10157"/>
                <a:gd name="connsiteX94" fmla="*/ 10000 w 10000"/>
                <a:gd name="connsiteY94" fmla="*/ 1300 h 10157"/>
                <a:gd name="connsiteX95" fmla="*/ 6011 w 10000"/>
                <a:gd name="connsiteY95" fmla="*/ 1995 h 10157"/>
                <a:gd name="connsiteX96" fmla="*/ 2680 w 10000"/>
                <a:gd name="connsiteY96" fmla="*/ 0 h 10157"/>
                <a:gd name="connsiteX0" fmla="*/ 2680 w 10000"/>
                <a:gd name="connsiteY0" fmla="*/ 0 h 10161"/>
                <a:gd name="connsiteX1" fmla="*/ 2680 w 10000"/>
                <a:gd name="connsiteY1" fmla="*/ 0 h 10161"/>
                <a:gd name="connsiteX2" fmla="*/ 2665 w 10000"/>
                <a:gd name="connsiteY2" fmla="*/ 106 h 10161"/>
                <a:gd name="connsiteX3" fmla="*/ 2642 w 10000"/>
                <a:gd name="connsiteY3" fmla="*/ 212 h 10161"/>
                <a:gd name="connsiteX4" fmla="*/ 2621 w 10000"/>
                <a:gd name="connsiteY4" fmla="*/ 318 h 10161"/>
                <a:gd name="connsiteX5" fmla="*/ 2594 w 10000"/>
                <a:gd name="connsiteY5" fmla="*/ 418 h 10161"/>
                <a:gd name="connsiteX6" fmla="*/ 2561 w 10000"/>
                <a:gd name="connsiteY6" fmla="*/ 521 h 10161"/>
                <a:gd name="connsiteX7" fmla="*/ 2530 w 10000"/>
                <a:gd name="connsiteY7" fmla="*/ 625 h 10161"/>
                <a:gd name="connsiteX8" fmla="*/ 2502 w 10000"/>
                <a:gd name="connsiteY8" fmla="*/ 724 h 10161"/>
                <a:gd name="connsiteX9" fmla="*/ 2468 w 10000"/>
                <a:gd name="connsiteY9" fmla="*/ 826 h 10161"/>
                <a:gd name="connsiteX10" fmla="*/ 2428 w 10000"/>
                <a:gd name="connsiteY10" fmla="*/ 925 h 10161"/>
                <a:gd name="connsiteX11" fmla="*/ 2386 w 10000"/>
                <a:gd name="connsiteY11" fmla="*/ 1021 h 10161"/>
                <a:gd name="connsiteX12" fmla="*/ 2347 w 10000"/>
                <a:gd name="connsiteY12" fmla="*/ 1121 h 10161"/>
                <a:gd name="connsiteX13" fmla="*/ 2299 w 10000"/>
                <a:gd name="connsiteY13" fmla="*/ 1219 h 10161"/>
                <a:gd name="connsiteX14" fmla="*/ 2248 w 10000"/>
                <a:gd name="connsiteY14" fmla="*/ 1309 h 10161"/>
                <a:gd name="connsiteX15" fmla="*/ 2200 w 10000"/>
                <a:gd name="connsiteY15" fmla="*/ 1403 h 10161"/>
                <a:gd name="connsiteX16" fmla="*/ 2149 w 10000"/>
                <a:gd name="connsiteY16" fmla="*/ 1495 h 10161"/>
                <a:gd name="connsiteX17" fmla="*/ 2092 w 10000"/>
                <a:gd name="connsiteY17" fmla="*/ 1589 h 10161"/>
                <a:gd name="connsiteX18" fmla="*/ 2041 w 10000"/>
                <a:gd name="connsiteY18" fmla="*/ 1681 h 10161"/>
                <a:gd name="connsiteX19" fmla="*/ 1981 w 10000"/>
                <a:gd name="connsiteY19" fmla="*/ 1769 h 10161"/>
                <a:gd name="connsiteX20" fmla="*/ 1919 w 10000"/>
                <a:gd name="connsiteY20" fmla="*/ 1851 h 10161"/>
                <a:gd name="connsiteX21" fmla="*/ 1854 w 10000"/>
                <a:gd name="connsiteY21" fmla="*/ 1937 h 10161"/>
                <a:gd name="connsiteX22" fmla="*/ 1794 w 10000"/>
                <a:gd name="connsiteY22" fmla="*/ 2021 h 10161"/>
                <a:gd name="connsiteX23" fmla="*/ 1725 w 10000"/>
                <a:gd name="connsiteY23" fmla="*/ 2111 h 10161"/>
                <a:gd name="connsiteX24" fmla="*/ 1656 w 10000"/>
                <a:gd name="connsiteY24" fmla="*/ 2190 h 10161"/>
                <a:gd name="connsiteX25" fmla="*/ 1583 w 10000"/>
                <a:gd name="connsiteY25" fmla="*/ 2266 h 10161"/>
                <a:gd name="connsiteX26" fmla="*/ 1509 w 10000"/>
                <a:gd name="connsiteY26" fmla="*/ 2349 h 10161"/>
                <a:gd name="connsiteX27" fmla="*/ 1435 w 10000"/>
                <a:gd name="connsiteY27" fmla="*/ 2426 h 10161"/>
                <a:gd name="connsiteX28" fmla="*/ 1356 w 10000"/>
                <a:gd name="connsiteY28" fmla="*/ 2501 h 10161"/>
                <a:gd name="connsiteX29" fmla="*/ 1279 w 10000"/>
                <a:gd name="connsiteY29" fmla="*/ 2580 h 10161"/>
                <a:gd name="connsiteX30" fmla="*/ 1200 w 10000"/>
                <a:gd name="connsiteY30" fmla="*/ 2652 h 10161"/>
                <a:gd name="connsiteX31" fmla="*/ 1113 w 10000"/>
                <a:gd name="connsiteY31" fmla="*/ 2724 h 10161"/>
                <a:gd name="connsiteX32" fmla="*/ 1033 w 10000"/>
                <a:gd name="connsiteY32" fmla="*/ 2792 h 10161"/>
                <a:gd name="connsiteX33" fmla="*/ 946 w 10000"/>
                <a:gd name="connsiteY33" fmla="*/ 2862 h 10161"/>
                <a:gd name="connsiteX34" fmla="*/ 862 w 10000"/>
                <a:gd name="connsiteY34" fmla="*/ 2927 h 10161"/>
                <a:gd name="connsiteX35" fmla="*/ 767 w 10000"/>
                <a:gd name="connsiteY35" fmla="*/ 2994 h 10161"/>
                <a:gd name="connsiteX36" fmla="*/ 679 w 10000"/>
                <a:gd name="connsiteY36" fmla="*/ 3055 h 10161"/>
                <a:gd name="connsiteX37" fmla="*/ 586 w 10000"/>
                <a:gd name="connsiteY37" fmla="*/ 3119 h 10161"/>
                <a:gd name="connsiteX38" fmla="*/ 492 w 10000"/>
                <a:gd name="connsiteY38" fmla="*/ 3177 h 10161"/>
                <a:gd name="connsiteX39" fmla="*/ 394 w 10000"/>
                <a:gd name="connsiteY39" fmla="*/ 3234 h 10161"/>
                <a:gd name="connsiteX40" fmla="*/ 298 w 10000"/>
                <a:gd name="connsiteY40" fmla="*/ 3293 h 10161"/>
                <a:gd name="connsiteX41" fmla="*/ 203 w 10000"/>
                <a:gd name="connsiteY41" fmla="*/ 3347 h 10161"/>
                <a:gd name="connsiteX42" fmla="*/ 101 w 10000"/>
                <a:gd name="connsiteY42" fmla="*/ 3399 h 10161"/>
                <a:gd name="connsiteX43" fmla="*/ 0 w 10000"/>
                <a:gd name="connsiteY43" fmla="*/ 3448 h 10161"/>
                <a:gd name="connsiteX44" fmla="*/ 187 w 10000"/>
                <a:gd name="connsiteY44" fmla="*/ 6991 h 10161"/>
                <a:gd name="connsiteX45" fmla="*/ 1934 w 10000"/>
                <a:gd name="connsiteY45" fmla="*/ 9921 h 10161"/>
                <a:gd name="connsiteX46" fmla="*/ 1928 w 10000"/>
                <a:gd name="connsiteY46" fmla="*/ 9967 h 10161"/>
                <a:gd name="connsiteX47" fmla="*/ 2457 w 10000"/>
                <a:gd name="connsiteY47" fmla="*/ 9738 h 10161"/>
                <a:gd name="connsiteX48" fmla="*/ 2705 w 10000"/>
                <a:gd name="connsiteY48" fmla="*/ 9636 h 10161"/>
                <a:gd name="connsiteX49" fmla="*/ 2955 w 10000"/>
                <a:gd name="connsiteY49" fmla="*/ 9533 h 10161"/>
                <a:gd name="connsiteX50" fmla="*/ 3206 w 10000"/>
                <a:gd name="connsiteY50" fmla="*/ 9423 h 10161"/>
                <a:gd name="connsiteX51" fmla="*/ 3449 w 10000"/>
                <a:gd name="connsiteY51" fmla="*/ 9311 h 10161"/>
                <a:gd name="connsiteX52" fmla="*/ 3689 w 10000"/>
                <a:gd name="connsiteY52" fmla="*/ 9199 h 10161"/>
                <a:gd name="connsiteX53" fmla="*/ 3930 w 10000"/>
                <a:gd name="connsiteY53" fmla="*/ 9073 h 10161"/>
                <a:gd name="connsiteX54" fmla="*/ 4165 w 10000"/>
                <a:gd name="connsiteY54" fmla="*/ 8950 h 10161"/>
                <a:gd name="connsiteX55" fmla="*/ 4397 w 10000"/>
                <a:gd name="connsiteY55" fmla="*/ 8819 h 10161"/>
                <a:gd name="connsiteX56" fmla="*/ 4628 w 10000"/>
                <a:gd name="connsiteY56" fmla="*/ 8684 h 10161"/>
                <a:gd name="connsiteX57" fmla="*/ 4845 w 10000"/>
                <a:gd name="connsiteY57" fmla="*/ 8549 h 10161"/>
                <a:gd name="connsiteX58" fmla="*/ 5065 w 10000"/>
                <a:gd name="connsiteY58" fmla="*/ 8402 h 10161"/>
                <a:gd name="connsiteX59" fmla="*/ 5285 w 10000"/>
                <a:gd name="connsiteY59" fmla="*/ 8258 h 10161"/>
                <a:gd name="connsiteX60" fmla="*/ 5494 w 10000"/>
                <a:gd name="connsiteY60" fmla="*/ 8108 h 10161"/>
                <a:gd name="connsiteX61" fmla="*/ 5708 w 10000"/>
                <a:gd name="connsiteY61" fmla="*/ 7953 h 10161"/>
                <a:gd name="connsiteX62" fmla="*/ 5911 w 10000"/>
                <a:gd name="connsiteY62" fmla="*/ 7791 h 10161"/>
                <a:gd name="connsiteX63" fmla="*/ 6115 w 10000"/>
                <a:gd name="connsiteY63" fmla="*/ 7631 h 10161"/>
                <a:gd name="connsiteX64" fmla="*/ 6310 w 10000"/>
                <a:gd name="connsiteY64" fmla="*/ 7468 h 10161"/>
                <a:gd name="connsiteX65" fmla="*/ 6508 w 10000"/>
                <a:gd name="connsiteY65" fmla="*/ 7295 h 10161"/>
                <a:gd name="connsiteX66" fmla="*/ 6698 w 10000"/>
                <a:gd name="connsiteY66" fmla="*/ 7118 h 10161"/>
                <a:gd name="connsiteX67" fmla="*/ 6882 w 10000"/>
                <a:gd name="connsiteY67" fmla="*/ 6947 h 10161"/>
                <a:gd name="connsiteX68" fmla="*/ 7064 w 10000"/>
                <a:gd name="connsiteY68" fmla="*/ 6766 h 10161"/>
                <a:gd name="connsiteX69" fmla="*/ 7239 w 10000"/>
                <a:gd name="connsiteY69" fmla="*/ 6580 h 10161"/>
                <a:gd name="connsiteX70" fmla="*/ 7414 w 10000"/>
                <a:gd name="connsiteY70" fmla="*/ 6395 h 10161"/>
                <a:gd name="connsiteX71" fmla="*/ 7582 w 10000"/>
                <a:gd name="connsiteY71" fmla="*/ 6205 h 10161"/>
                <a:gd name="connsiteX72" fmla="*/ 7750 w 10000"/>
                <a:gd name="connsiteY72" fmla="*/ 6009 h 10161"/>
                <a:gd name="connsiteX73" fmla="*/ 7905 w 10000"/>
                <a:gd name="connsiteY73" fmla="*/ 5812 h 10161"/>
                <a:gd name="connsiteX74" fmla="*/ 8057 w 10000"/>
                <a:gd name="connsiteY74" fmla="*/ 5611 h 10161"/>
                <a:gd name="connsiteX75" fmla="*/ 8211 w 10000"/>
                <a:gd name="connsiteY75" fmla="*/ 5411 h 10161"/>
                <a:gd name="connsiteX76" fmla="*/ 8354 w 10000"/>
                <a:gd name="connsiteY76" fmla="*/ 5202 h 10161"/>
                <a:gd name="connsiteX77" fmla="*/ 8493 w 10000"/>
                <a:gd name="connsiteY77" fmla="*/ 4996 h 10161"/>
                <a:gd name="connsiteX78" fmla="*/ 8628 w 10000"/>
                <a:gd name="connsiteY78" fmla="*/ 4783 h 10161"/>
                <a:gd name="connsiteX79" fmla="*/ 8754 w 10000"/>
                <a:gd name="connsiteY79" fmla="*/ 4565 h 10161"/>
                <a:gd name="connsiteX80" fmla="*/ 8877 w 10000"/>
                <a:gd name="connsiteY80" fmla="*/ 4348 h 10161"/>
                <a:gd name="connsiteX81" fmla="*/ 9003 w 10000"/>
                <a:gd name="connsiteY81" fmla="*/ 4129 h 10161"/>
                <a:gd name="connsiteX82" fmla="*/ 9120 w 10000"/>
                <a:gd name="connsiteY82" fmla="*/ 3907 h 10161"/>
                <a:gd name="connsiteX83" fmla="*/ 9224 w 10000"/>
                <a:gd name="connsiteY83" fmla="*/ 3683 h 10161"/>
                <a:gd name="connsiteX84" fmla="*/ 9330 w 10000"/>
                <a:gd name="connsiteY84" fmla="*/ 3455 h 10161"/>
                <a:gd name="connsiteX85" fmla="*/ 9425 w 10000"/>
                <a:gd name="connsiteY85" fmla="*/ 3223 h 10161"/>
                <a:gd name="connsiteX86" fmla="*/ 9520 w 10000"/>
                <a:gd name="connsiteY86" fmla="*/ 2992 h 10161"/>
                <a:gd name="connsiteX87" fmla="*/ 9604 w 10000"/>
                <a:gd name="connsiteY87" fmla="*/ 2756 h 10161"/>
                <a:gd name="connsiteX88" fmla="*/ 9684 w 10000"/>
                <a:gd name="connsiteY88" fmla="*/ 2517 h 10161"/>
                <a:gd name="connsiteX89" fmla="*/ 9758 w 10000"/>
                <a:gd name="connsiteY89" fmla="*/ 2276 h 10161"/>
                <a:gd name="connsiteX90" fmla="*/ 9831 w 10000"/>
                <a:gd name="connsiteY90" fmla="*/ 2038 h 10161"/>
                <a:gd name="connsiteX91" fmla="*/ 9892 w 10000"/>
                <a:gd name="connsiteY91" fmla="*/ 1796 h 10161"/>
                <a:gd name="connsiteX92" fmla="*/ 9951 w 10000"/>
                <a:gd name="connsiteY92" fmla="*/ 1550 h 10161"/>
                <a:gd name="connsiteX93" fmla="*/ 10000 w 10000"/>
                <a:gd name="connsiteY93" fmla="*/ 1300 h 10161"/>
                <a:gd name="connsiteX94" fmla="*/ 6011 w 10000"/>
                <a:gd name="connsiteY94" fmla="*/ 1995 h 10161"/>
                <a:gd name="connsiteX95" fmla="*/ 2680 w 10000"/>
                <a:gd name="connsiteY95" fmla="*/ 0 h 10161"/>
                <a:gd name="connsiteX0" fmla="*/ 2680 w 10000"/>
                <a:gd name="connsiteY0" fmla="*/ 0 h 10093"/>
                <a:gd name="connsiteX1" fmla="*/ 2680 w 10000"/>
                <a:gd name="connsiteY1" fmla="*/ 0 h 10093"/>
                <a:gd name="connsiteX2" fmla="*/ 2665 w 10000"/>
                <a:gd name="connsiteY2" fmla="*/ 106 h 10093"/>
                <a:gd name="connsiteX3" fmla="*/ 2642 w 10000"/>
                <a:gd name="connsiteY3" fmla="*/ 212 h 10093"/>
                <a:gd name="connsiteX4" fmla="*/ 2621 w 10000"/>
                <a:gd name="connsiteY4" fmla="*/ 318 h 10093"/>
                <a:gd name="connsiteX5" fmla="*/ 2594 w 10000"/>
                <a:gd name="connsiteY5" fmla="*/ 418 h 10093"/>
                <a:gd name="connsiteX6" fmla="*/ 2561 w 10000"/>
                <a:gd name="connsiteY6" fmla="*/ 521 h 10093"/>
                <a:gd name="connsiteX7" fmla="*/ 2530 w 10000"/>
                <a:gd name="connsiteY7" fmla="*/ 625 h 10093"/>
                <a:gd name="connsiteX8" fmla="*/ 2502 w 10000"/>
                <a:gd name="connsiteY8" fmla="*/ 724 h 10093"/>
                <a:gd name="connsiteX9" fmla="*/ 2468 w 10000"/>
                <a:gd name="connsiteY9" fmla="*/ 826 h 10093"/>
                <a:gd name="connsiteX10" fmla="*/ 2428 w 10000"/>
                <a:gd name="connsiteY10" fmla="*/ 925 h 10093"/>
                <a:gd name="connsiteX11" fmla="*/ 2386 w 10000"/>
                <a:gd name="connsiteY11" fmla="*/ 1021 h 10093"/>
                <a:gd name="connsiteX12" fmla="*/ 2347 w 10000"/>
                <a:gd name="connsiteY12" fmla="*/ 1121 h 10093"/>
                <a:gd name="connsiteX13" fmla="*/ 2299 w 10000"/>
                <a:gd name="connsiteY13" fmla="*/ 1219 h 10093"/>
                <a:gd name="connsiteX14" fmla="*/ 2248 w 10000"/>
                <a:gd name="connsiteY14" fmla="*/ 1309 h 10093"/>
                <a:gd name="connsiteX15" fmla="*/ 2200 w 10000"/>
                <a:gd name="connsiteY15" fmla="*/ 1403 h 10093"/>
                <a:gd name="connsiteX16" fmla="*/ 2149 w 10000"/>
                <a:gd name="connsiteY16" fmla="*/ 1495 h 10093"/>
                <a:gd name="connsiteX17" fmla="*/ 2092 w 10000"/>
                <a:gd name="connsiteY17" fmla="*/ 1589 h 10093"/>
                <a:gd name="connsiteX18" fmla="*/ 2041 w 10000"/>
                <a:gd name="connsiteY18" fmla="*/ 1681 h 10093"/>
                <a:gd name="connsiteX19" fmla="*/ 1981 w 10000"/>
                <a:gd name="connsiteY19" fmla="*/ 1769 h 10093"/>
                <a:gd name="connsiteX20" fmla="*/ 1919 w 10000"/>
                <a:gd name="connsiteY20" fmla="*/ 1851 h 10093"/>
                <a:gd name="connsiteX21" fmla="*/ 1854 w 10000"/>
                <a:gd name="connsiteY21" fmla="*/ 1937 h 10093"/>
                <a:gd name="connsiteX22" fmla="*/ 1794 w 10000"/>
                <a:gd name="connsiteY22" fmla="*/ 2021 h 10093"/>
                <a:gd name="connsiteX23" fmla="*/ 1725 w 10000"/>
                <a:gd name="connsiteY23" fmla="*/ 2111 h 10093"/>
                <a:gd name="connsiteX24" fmla="*/ 1656 w 10000"/>
                <a:gd name="connsiteY24" fmla="*/ 2190 h 10093"/>
                <a:gd name="connsiteX25" fmla="*/ 1583 w 10000"/>
                <a:gd name="connsiteY25" fmla="*/ 2266 h 10093"/>
                <a:gd name="connsiteX26" fmla="*/ 1509 w 10000"/>
                <a:gd name="connsiteY26" fmla="*/ 2349 h 10093"/>
                <a:gd name="connsiteX27" fmla="*/ 1435 w 10000"/>
                <a:gd name="connsiteY27" fmla="*/ 2426 h 10093"/>
                <a:gd name="connsiteX28" fmla="*/ 1356 w 10000"/>
                <a:gd name="connsiteY28" fmla="*/ 2501 h 10093"/>
                <a:gd name="connsiteX29" fmla="*/ 1279 w 10000"/>
                <a:gd name="connsiteY29" fmla="*/ 2580 h 10093"/>
                <a:gd name="connsiteX30" fmla="*/ 1200 w 10000"/>
                <a:gd name="connsiteY30" fmla="*/ 2652 h 10093"/>
                <a:gd name="connsiteX31" fmla="*/ 1113 w 10000"/>
                <a:gd name="connsiteY31" fmla="*/ 2724 h 10093"/>
                <a:gd name="connsiteX32" fmla="*/ 1033 w 10000"/>
                <a:gd name="connsiteY32" fmla="*/ 2792 h 10093"/>
                <a:gd name="connsiteX33" fmla="*/ 946 w 10000"/>
                <a:gd name="connsiteY33" fmla="*/ 2862 h 10093"/>
                <a:gd name="connsiteX34" fmla="*/ 862 w 10000"/>
                <a:gd name="connsiteY34" fmla="*/ 2927 h 10093"/>
                <a:gd name="connsiteX35" fmla="*/ 767 w 10000"/>
                <a:gd name="connsiteY35" fmla="*/ 2994 h 10093"/>
                <a:gd name="connsiteX36" fmla="*/ 679 w 10000"/>
                <a:gd name="connsiteY36" fmla="*/ 3055 h 10093"/>
                <a:gd name="connsiteX37" fmla="*/ 586 w 10000"/>
                <a:gd name="connsiteY37" fmla="*/ 3119 h 10093"/>
                <a:gd name="connsiteX38" fmla="*/ 492 w 10000"/>
                <a:gd name="connsiteY38" fmla="*/ 3177 h 10093"/>
                <a:gd name="connsiteX39" fmla="*/ 394 w 10000"/>
                <a:gd name="connsiteY39" fmla="*/ 3234 h 10093"/>
                <a:gd name="connsiteX40" fmla="*/ 298 w 10000"/>
                <a:gd name="connsiteY40" fmla="*/ 3293 h 10093"/>
                <a:gd name="connsiteX41" fmla="*/ 203 w 10000"/>
                <a:gd name="connsiteY41" fmla="*/ 3347 h 10093"/>
                <a:gd name="connsiteX42" fmla="*/ 101 w 10000"/>
                <a:gd name="connsiteY42" fmla="*/ 3399 h 10093"/>
                <a:gd name="connsiteX43" fmla="*/ 0 w 10000"/>
                <a:gd name="connsiteY43" fmla="*/ 3448 h 10093"/>
                <a:gd name="connsiteX44" fmla="*/ 187 w 10000"/>
                <a:gd name="connsiteY44" fmla="*/ 6991 h 10093"/>
                <a:gd name="connsiteX45" fmla="*/ 1934 w 10000"/>
                <a:gd name="connsiteY45" fmla="*/ 9921 h 10093"/>
                <a:gd name="connsiteX46" fmla="*/ 2457 w 10000"/>
                <a:gd name="connsiteY46" fmla="*/ 9738 h 10093"/>
                <a:gd name="connsiteX47" fmla="*/ 2705 w 10000"/>
                <a:gd name="connsiteY47" fmla="*/ 9636 h 10093"/>
                <a:gd name="connsiteX48" fmla="*/ 2955 w 10000"/>
                <a:gd name="connsiteY48" fmla="*/ 9533 h 10093"/>
                <a:gd name="connsiteX49" fmla="*/ 3206 w 10000"/>
                <a:gd name="connsiteY49" fmla="*/ 9423 h 10093"/>
                <a:gd name="connsiteX50" fmla="*/ 3449 w 10000"/>
                <a:gd name="connsiteY50" fmla="*/ 9311 h 10093"/>
                <a:gd name="connsiteX51" fmla="*/ 3689 w 10000"/>
                <a:gd name="connsiteY51" fmla="*/ 9199 h 10093"/>
                <a:gd name="connsiteX52" fmla="*/ 3930 w 10000"/>
                <a:gd name="connsiteY52" fmla="*/ 9073 h 10093"/>
                <a:gd name="connsiteX53" fmla="*/ 4165 w 10000"/>
                <a:gd name="connsiteY53" fmla="*/ 8950 h 10093"/>
                <a:gd name="connsiteX54" fmla="*/ 4397 w 10000"/>
                <a:gd name="connsiteY54" fmla="*/ 8819 h 10093"/>
                <a:gd name="connsiteX55" fmla="*/ 4628 w 10000"/>
                <a:gd name="connsiteY55" fmla="*/ 8684 h 10093"/>
                <a:gd name="connsiteX56" fmla="*/ 4845 w 10000"/>
                <a:gd name="connsiteY56" fmla="*/ 8549 h 10093"/>
                <a:gd name="connsiteX57" fmla="*/ 5065 w 10000"/>
                <a:gd name="connsiteY57" fmla="*/ 8402 h 10093"/>
                <a:gd name="connsiteX58" fmla="*/ 5285 w 10000"/>
                <a:gd name="connsiteY58" fmla="*/ 8258 h 10093"/>
                <a:gd name="connsiteX59" fmla="*/ 5494 w 10000"/>
                <a:gd name="connsiteY59" fmla="*/ 8108 h 10093"/>
                <a:gd name="connsiteX60" fmla="*/ 5708 w 10000"/>
                <a:gd name="connsiteY60" fmla="*/ 7953 h 10093"/>
                <a:gd name="connsiteX61" fmla="*/ 5911 w 10000"/>
                <a:gd name="connsiteY61" fmla="*/ 7791 h 10093"/>
                <a:gd name="connsiteX62" fmla="*/ 6115 w 10000"/>
                <a:gd name="connsiteY62" fmla="*/ 7631 h 10093"/>
                <a:gd name="connsiteX63" fmla="*/ 6310 w 10000"/>
                <a:gd name="connsiteY63" fmla="*/ 7468 h 10093"/>
                <a:gd name="connsiteX64" fmla="*/ 6508 w 10000"/>
                <a:gd name="connsiteY64" fmla="*/ 7295 h 10093"/>
                <a:gd name="connsiteX65" fmla="*/ 6698 w 10000"/>
                <a:gd name="connsiteY65" fmla="*/ 7118 h 10093"/>
                <a:gd name="connsiteX66" fmla="*/ 6882 w 10000"/>
                <a:gd name="connsiteY66" fmla="*/ 6947 h 10093"/>
                <a:gd name="connsiteX67" fmla="*/ 7064 w 10000"/>
                <a:gd name="connsiteY67" fmla="*/ 6766 h 10093"/>
                <a:gd name="connsiteX68" fmla="*/ 7239 w 10000"/>
                <a:gd name="connsiteY68" fmla="*/ 6580 h 10093"/>
                <a:gd name="connsiteX69" fmla="*/ 7414 w 10000"/>
                <a:gd name="connsiteY69" fmla="*/ 6395 h 10093"/>
                <a:gd name="connsiteX70" fmla="*/ 7582 w 10000"/>
                <a:gd name="connsiteY70" fmla="*/ 6205 h 10093"/>
                <a:gd name="connsiteX71" fmla="*/ 7750 w 10000"/>
                <a:gd name="connsiteY71" fmla="*/ 6009 h 10093"/>
                <a:gd name="connsiteX72" fmla="*/ 7905 w 10000"/>
                <a:gd name="connsiteY72" fmla="*/ 5812 h 10093"/>
                <a:gd name="connsiteX73" fmla="*/ 8057 w 10000"/>
                <a:gd name="connsiteY73" fmla="*/ 5611 h 10093"/>
                <a:gd name="connsiteX74" fmla="*/ 8211 w 10000"/>
                <a:gd name="connsiteY74" fmla="*/ 5411 h 10093"/>
                <a:gd name="connsiteX75" fmla="*/ 8354 w 10000"/>
                <a:gd name="connsiteY75" fmla="*/ 5202 h 10093"/>
                <a:gd name="connsiteX76" fmla="*/ 8493 w 10000"/>
                <a:gd name="connsiteY76" fmla="*/ 4996 h 10093"/>
                <a:gd name="connsiteX77" fmla="*/ 8628 w 10000"/>
                <a:gd name="connsiteY77" fmla="*/ 4783 h 10093"/>
                <a:gd name="connsiteX78" fmla="*/ 8754 w 10000"/>
                <a:gd name="connsiteY78" fmla="*/ 4565 h 10093"/>
                <a:gd name="connsiteX79" fmla="*/ 8877 w 10000"/>
                <a:gd name="connsiteY79" fmla="*/ 4348 h 10093"/>
                <a:gd name="connsiteX80" fmla="*/ 9003 w 10000"/>
                <a:gd name="connsiteY80" fmla="*/ 4129 h 10093"/>
                <a:gd name="connsiteX81" fmla="*/ 9120 w 10000"/>
                <a:gd name="connsiteY81" fmla="*/ 3907 h 10093"/>
                <a:gd name="connsiteX82" fmla="*/ 9224 w 10000"/>
                <a:gd name="connsiteY82" fmla="*/ 3683 h 10093"/>
                <a:gd name="connsiteX83" fmla="*/ 9330 w 10000"/>
                <a:gd name="connsiteY83" fmla="*/ 3455 h 10093"/>
                <a:gd name="connsiteX84" fmla="*/ 9425 w 10000"/>
                <a:gd name="connsiteY84" fmla="*/ 3223 h 10093"/>
                <a:gd name="connsiteX85" fmla="*/ 9520 w 10000"/>
                <a:gd name="connsiteY85" fmla="*/ 2992 h 10093"/>
                <a:gd name="connsiteX86" fmla="*/ 9604 w 10000"/>
                <a:gd name="connsiteY86" fmla="*/ 2756 h 10093"/>
                <a:gd name="connsiteX87" fmla="*/ 9684 w 10000"/>
                <a:gd name="connsiteY87" fmla="*/ 2517 h 10093"/>
                <a:gd name="connsiteX88" fmla="*/ 9758 w 10000"/>
                <a:gd name="connsiteY88" fmla="*/ 2276 h 10093"/>
                <a:gd name="connsiteX89" fmla="*/ 9831 w 10000"/>
                <a:gd name="connsiteY89" fmla="*/ 2038 h 10093"/>
                <a:gd name="connsiteX90" fmla="*/ 9892 w 10000"/>
                <a:gd name="connsiteY90" fmla="*/ 1796 h 10093"/>
                <a:gd name="connsiteX91" fmla="*/ 9951 w 10000"/>
                <a:gd name="connsiteY91" fmla="*/ 1550 h 10093"/>
                <a:gd name="connsiteX92" fmla="*/ 10000 w 10000"/>
                <a:gd name="connsiteY92" fmla="*/ 1300 h 10093"/>
                <a:gd name="connsiteX93" fmla="*/ 6011 w 10000"/>
                <a:gd name="connsiteY93" fmla="*/ 1995 h 10093"/>
                <a:gd name="connsiteX94" fmla="*/ 2680 w 10000"/>
                <a:gd name="connsiteY94" fmla="*/ 0 h 10093"/>
                <a:gd name="connsiteX0" fmla="*/ 2680 w 10000"/>
                <a:gd name="connsiteY0" fmla="*/ 0 h 9916"/>
                <a:gd name="connsiteX1" fmla="*/ 2680 w 10000"/>
                <a:gd name="connsiteY1" fmla="*/ 0 h 9916"/>
                <a:gd name="connsiteX2" fmla="*/ 2665 w 10000"/>
                <a:gd name="connsiteY2" fmla="*/ 106 h 9916"/>
                <a:gd name="connsiteX3" fmla="*/ 2642 w 10000"/>
                <a:gd name="connsiteY3" fmla="*/ 212 h 9916"/>
                <a:gd name="connsiteX4" fmla="*/ 2621 w 10000"/>
                <a:gd name="connsiteY4" fmla="*/ 318 h 9916"/>
                <a:gd name="connsiteX5" fmla="*/ 2594 w 10000"/>
                <a:gd name="connsiteY5" fmla="*/ 418 h 9916"/>
                <a:gd name="connsiteX6" fmla="*/ 2561 w 10000"/>
                <a:gd name="connsiteY6" fmla="*/ 521 h 9916"/>
                <a:gd name="connsiteX7" fmla="*/ 2530 w 10000"/>
                <a:gd name="connsiteY7" fmla="*/ 625 h 9916"/>
                <a:gd name="connsiteX8" fmla="*/ 2502 w 10000"/>
                <a:gd name="connsiteY8" fmla="*/ 724 h 9916"/>
                <a:gd name="connsiteX9" fmla="*/ 2468 w 10000"/>
                <a:gd name="connsiteY9" fmla="*/ 826 h 9916"/>
                <a:gd name="connsiteX10" fmla="*/ 2428 w 10000"/>
                <a:gd name="connsiteY10" fmla="*/ 925 h 9916"/>
                <a:gd name="connsiteX11" fmla="*/ 2386 w 10000"/>
                <a:gd name="connsiteY11" fmla="*/ 1021 h 9916"/>
                <a:gd name="connsiteX12" fmla="*/ 2347 w 10000"/>
                <a:gd name="connsiteY12" fmla="*/ 1121 h 9916"/>
                <a:gd name="connsiteX13" fmla="*/ 2299 w 10000"/>
                <a:gd name="connsiteY13" fmla="*/ 1219 h 9916"/>
                <a:gd name="connsiteX14" fmla="*/ 2248 w 10000"/>
                <a:gd name="connsiteY14" fmla="*/ 1309 h 9916"/>
                <a:gd name="connsiteX15" fmla="*/ 2200 w 10000"/>
                <a:gd name="connsiteY15" fmla="*/ 1403 h 9916"/>
                <a:gd name="connsiteX16" fmla="*/ 2149 w 10000"/>
                <a:gd name="connsiteY16" fmla="*/ 1495 h 9916"/>
                <a:gd name="connsiteX17" fmla="*/ 2092 w 10000"/>
                <a:gd name="connsiteY17" fmla="*/ 1589 h 9916"/>
                <a:gd name="connsiteX18" fmla="*/ 2041 w 10000"/>
                <a:gd name="connsiteY18" fmla="*/ 1681 h 9916"/>
                <a:gd name="connsiteX19" fmla="*/ 1981 w 10000"/>
                <a:gd name="connsiteY19" fmla="*/ 1769 h 9916"/>
                <a:gd name="connsiteX20" fmla="*/ 1919 w 10000"/>
                <a:gd name="connsiteY20" fmla="*/ 1851 h 9916"/>
                <a:gd name="connsiteX21" fmla="*/ 1854 w 10000"/>
                <a:gd name="connsiteY21" fmla="*/ 1937 h 9916"/>
                <a:gd name="connsiteX22" fmla="*/ 1794 w 10000"/>
                <a:gd name="connsiteY22" fmla="*/ 2021 h 9916"/>
                <a:gd name="connsiteX23" fmla="*/ 1725 w 10000"/>
                <a:gd name="connsiteY23" fmla="*/ 2111 h 9916"/>
                <a:gd name="connsiteX24" fmla="*/ 1656 w 10000"/>
                <a:gd name="connsiteY24" fmla="*/ 2190 h 9916"/>
                <a:gd name="connsiteX25" fmla="*/ 1583 w 10000"/>
                <a:gd name="connsiteY25" fmla="*/ 2266 h 9916"/>
                <a:gd name="connsiteX26" fmla="*/ 1509 w 10000"/>
                <a:gd name="connsiteY26" fmla="*/ 2349 h 9916"/>
                <a:gd name="connsiteX27" fmla="*/ 1435 w 10000"/>
                <a:gd name="connsiteY27" fmla="*/ 2426 h 9916"/>
                <a:gd name="connsiteX28" fmla="*/ 1356 w 10000"/>
                <a:gd name="connsiteY28" fmla="*/ 2501 h 9916"/>
                <a:gd name="connsiteX29" fmla="*/ 1279 w 10000"/>
                <a:gd name="connsiteY29" fmla="*/ 2580 h 9916"/>
                <a:gd name="connsiteX30" fmla="*/ 1200 w 10000"/>
                <a:gd name="connsiteY30" fmla="*/ 2652 h 9916"/>
                <a:gd name="connsiteX31" fmla="*/ 1113 w 10000"/>
                <a:gd name="connsiteY31" fmla="*/ 2724 h 9916"/>
                <a:gd name="connsiteX32" fmla="*/ 1033 w 10000"/>
                <a:gd name="connsiteY32" fmla="*/ 2792 h 9916"/>
                <a:gd name="connsiteX33" fmla="*/ 946 w 10000"/>
                <a:gd name="connsiteY33" fmla="*/ 2862 h 9916"/>
                <a:gd name="connsiteX34" fmla="*/ 862 w 10000"/>
                <a:gd name="connsiteY34" fmla="*/ 2927 h 9916"/>
                <a:gd name="connsiteX35" fmla="*/ 767 w 10000"/>
                <a:gd name="connsiteY35" fmla="*/ 2994 h 9916"/>
                <a:gd name="connsiteX36" fmla="*/ 679 w 10000"/>
                <a:gd name="connsiteY36" fmla="*/ 3055 h 9916"/>
                <a:gd name="connsiteX37" fmla="*/ 586 w 10000"/>
                <a:gd name="connsiteY37" fmla="*/ 3119 h 9916"/>
                <a:gd name="connsiteX38" fmla="*/ 492 w 10000"/>
                <a:gd name="connsiteY38" fmla="*/ 3177 h 9916"/>
                <a:gd name="connsiteX39" fmla="*/ 394 w 10000"/>
                <a:gd name="connsiteY39" fmla="*/ 3234 h 9916"/>
                <a:gd name="connsiteX40" fmla="*/ 298 w 10000"/>
                <a:gd name="connsiteY40" fmla="*/ 3293 h 9916"/>
                <a:gd name="connsiteX41" fmla="*/ 203 w 10000"/>
                <a:gd name="connsiteY41" fmla="*/ 3347 h 9916"/>
                <a:gd name="connsiteX42" fmla="*/ 101 w 10000"/>
                <a:gd name="connsiteY42" fmla="*/ 3399 h 9916"/>
                <a:gd name="connsiteX43" fmla="*/ 0 w 10000"/>
                <a:gd name="connsiteY43" fmla="*/ 3448 h 9916"/>
                <a:gd name="connsiteX44" fmla="*/ 187 w 10000"/>
                <a:gd name="connsiteY44" fmla="*/ 6991 h 9916"/>
                <a:gd name="connsiteX45" fmla="*/ 2457 w 10000"/>
                <a:gd name="connsiteY45" fmla="*/ 9738 h 9916"/>
                <a:gd name="connsiteX46" fmla="*/ 2705 w 10000"/>
                <a:gd name="connsiteY46" fmla="*/ 9636 h 9916"/>
                <a:gd name="connsiteX47" fmla="*/ 2955 w 10000"/>
                <a:gd name="connsiteY47" fmla="*/ 9533 h 9916"/>
                <a:gd name="connsiteX48" fmla="*/ 3206 w 10000"/>
                <a:gd name="connsiteY48" fmla="*/ 9423 h 9916"/>
                <a:gd name="connsiteX49" fmla="*/ 3449 w 10000"/>
                <a:gd name="connsiteY49" fmla="*/ 9311 h 9916"/>
                <a:gd name="connsiteX50" fmla="*/ 3689 w 10000"/>
                <a:gd name="connsiteY50" fmla="*/ 9199 h 9916"/>
                <a:gd name="connsiteX51" fmla="*/ 3930 w 10000"/>
                <a:gd name="connsiteY51" fmla="*/ 9073 h 9916"/>
                <a:gd name="connsiteX52" fmla="*/ 4165 w 10000"/>
                <a:gd name="connsiteY52" fmla="*/ 8950 h 9916"/>
                <a:gd name="connsiteX53" fmla="*/ 4397 w 10000"/>
                <a:gd name="connsiteY53" fmla="*/ 8819 h 9916"/>
                <a:gd name="connsiteX54" fmla="*/ 4628 w 10000"/>
                <a:gd name="connsiteY54" fmla="*/ 8684 h 9916"/>
                <a:gd name="connsiteX55" fmla="*/ 4845 w 10000"/>
                <a:gd name="connsiteY55" fmla="*/ 8549 h 9916"/>
                <a:gd name="connsiteX56" fmla="*/ 5065 w 10000"/>
                <a:gd name="connsiteY56" fmla="*/ 8402 h 9916"/>
                <a:gd name="connsiteX57" fmla="*/ 5285 w 10000"/>
                <a:gd name="connsiteY57" fmla="*/ 8258 h 9916"/>
                <a:gd name="connsiteX58" fmla="*/ 5494 w 10000"/>
                <a:gd name="connsiteY58" fmla="*/ 8108 h 9916"/>
                <a:gd name="connsiteX59" fmla="*/ 5708 w 10000"/>
                <a:gd name="connsiteY59" fmla="*/ 7953 h 9916"/>
                <a:gd name="connsiteX60" fmla="*/ 5911 w 10000"/>
                <a:gd name="connsiteY60" fmla="*/ 7791 h 9916"/>
                <a:gd name="connsiteX61" fmla="*/ 6115 w 10000"/>
                <a:gd name="connsiteY61" fmla="*/ 7631 h 9916"/>
                <a:gd name="connsiteX62" fmla="*/ 6310 w 10000"/>
                <a:gd name="connsiteY62" fmla="*/ 7468 h 9916"/>
                <a:gd name="connsiteX63" fmla="*/ 6508 w 10000"/>
                <a:gd name="connsiteY63" fmla="*/ 7295 h 9916"/>
                <a:gd name="connsiteX64" fmla="*/ 6698 w 10000"/>
                <a:gd name="connsiteY64" fmla="*/ 7118 h 9916"/>
                <a:gd name="connsiteX65" fmla="*/ 6882 w 10000"/>
                <a:gd name="connsiteY65" fmla="*/ 6947 h 9916"/>
                <a:gd name="connsiteX66" fmla="*/ 7064 w 10000"/>
                <a:gd name="connsiteY66" fmla="*/ 6766 h 9916"/>
                <a:gd name="connsiteX67" fmla="*/ 7239 w 10000"/>
                <a:gd name="connsiteY67" fmla="*/ 6580 h 9916"/>
                <a:gd name="connsiteX68" fmla="*/ 7414 w 10000"/>
                <a:gd name="connsiteY68" fmla="*/ 6395 h 9916"/>
                <a:gd name="connsiteX69" fmla="*/ 7582 w 10000"/>
                <a:gd name="connsiteY69" fmla="*/ 6205 h 9916"/>
                <a:gd name="connsiteX70" fmla="*/ 7750 w 10000"/>
                <a:gd name="connsiteY70" fmla="*/ 6009 h 9916"/>
                <a:gd name="connsiteX71" fmla="*/ 7905 w 10000"/>
                <a:gd name="connsiteY71" fmla="*/ 5812 h 9916"/>
                <a:gd name="connsiteX72" fmla="*/ 8057 w 10000"/>
                <a:gd name="connsiteY72" fmla="*/ 5611 h 9916"/>
                <a:gd name="connsiteX73" fmla="*/ 8211 w 10000"/>
                <a:gd name="connsiteY73" fmla="*/ 5411 h 9916"/>
                <a:gd name="connsiteX74" fmla="*/ 8354 w 10000"/>
                <a:gd name="connsiteY74" fmla="*/ 5202 h 9916"/>
                <a:gd name="connsiteX75" fmla="*/ 8493 w 10000"/>
                <a:gd name="connsiteY75" fmla="*/ 4996 h 9916"/>
                <a:gd name="connsiteX76" fmla="*/ 8628 w 10000"/>
                <a:gd name="connsiteY76" fmla="*/ 4783 h 9916"/>
                <a:gd name="connsiteX77" fmla="*/ 8754 w 10000"/>
                <a:gd name="connsiteY77" fmla="*/ 4565 h 9916"/>
                <a:gd name="connsiteX78" fmla="*/ 8877 w 10000"/>
                <a:gd name="connsiteY78" fmla="*/ 4348 h 9916"/>
                <a:gd name="connsiteX79" fmla="*/ 9003 w 10000"/>
                <a:gd name="connsiteY79" fmla="*/ 4129 h 9916"/>
                <a:gd name="connsiteX80" fmla="*/ 9120 w 10000"/>
                <a:gd name="connsiteY80" fmla="*/ 3907 h 9916"/>
                <a:gd name="connsiteX81" fmla="*/ 9224 w 10000"/>
                <a:gd name="connsiteY81" fmla="*/ 3683 h 9916"/>
                <a:gd name="connsiteX82" fmla="*/ 9330 w 10000"/>
                <a:gd name="connsiteY82" fmla="*/ 3455 h 9916"/>
                <a:gd name="connsiteX83" fmla="*/ 9425 w 10000"/>
                <a:gd name="connsiteY83" fmla="*/ 3223 h 9916"/>
                <a:gd name="connsiteX84" fmla="*/ 9520 w 10000"/>
                <a:gd name="connsiteY84" fmla="*/ 2992 h 9916"/>
                <a:gd name="connsiteX85" fmla="*/ 9604 w 10000"/>
                <a:gd name="connsiteY85" fmla="*/ 2756 h 9916"/>
                <a:gd name="connsiteX86" fmla="*/ 9684 w 10000"/>
                <a:gd name="connsiteY86" fmla="*/ 2517 h 9916"/>
                <a:gd name="connsiteX87" fmla="*/ 9758 w 10000"/>
                <a:gd name="connsiteY87" fmla="*/ 2276 h 9916"/>
                <a:gd name="connsiteX88" fmla="*/ 9831 w 10000"/>
                <a:gd name="connsiteY88" fmla="*/ 2038 h 9916"/>
                <a:gd name="connsiteX89" fmla="*/ 9892 w 10000"/>
                <a:gd name="connsiteY89" fmla="*/ 1796 h 9916"/>
                <a:gd name="connsiteX90" fmla="*/ 9951 w 10000"/>
                <a:gd name="connsiteY90" fmla="*/ 1550 h 9916"/>
                <a:gd name="connsiteX91" fmla="*/ 10000 w 10000"/>
                <a:gd name="connsiteY91" fmla="*/ 1300 h 9916"/>
                <a:gd name="connsiteX92" fmla="*/ 6011 w 10000"/>
                <a:gd name="connsiteY92" fmla="*/ 1995 h 9916"/>
                <a:gd name="connsiteX93" fmla="*/ 2680 w 10000"/>
                <a:gd name="connsiteY93" fmla="*/ 0 h 9916"/>
                <a:gd name="connsiteX0" fmla="*/ 2680 w 10000"/>
                <a:gd name="connsiteY0" fmla="*/ 0 h 9890"/>
                <a:gd name="connsiteX1" fmla="*/ 2680 w 10000"/>
                <a:gd name="connsiteY1" fmla="*/ 0 h 9890"/>
                <a:gd name="connsiteX2" fmla="*/ 2665 w 10000"/>
                <a:gd name="connsiteY2" fmla="*/ 107 h 9890"/>
                <a:gd name="connsiteX3" fmla="*/ 2642 w 10000"/>
                <a:gd name="connsiteY3" fmla="*/ 214 h 9890"/>
                <a:gd name="connsiteX4" fmla="*/ 2621 w 10000"/>
                <a:gd name="connsiteY4" fmla="*/ 321 h 9890"/>
                <a:gd name="connsiteX5" fmla="*/ 2594 w 10000"/>
                <a:gd name="connsiteY5" fmla="*/ 422 h 9890"/>
                <a:gd name="connsiteX6" fmla="*/ 2561 w 10000"/>
                <a:gd name="connsiteY6" fmla="*/ 525 h 9890"/>
                <a:gd name="connsiteX7" fmla="*/ 2530 w 10000"/>
                <a:gd name="connsiteY7" fmla="*/ 630 h 9890"/>
                <a:gd name="connsiteX8" fmla="*/ 2502 w 10000"/>
                <a:gd name="connsiteY8" fmla="*/ 730 h 9890"/>
                <a:gd name="connsiteX9" fmla="*/ 2468 w 10000"/>
                <a:gd name="connsiteY9" fmla="*/ 833 h 9890"/>
                <a:gd name="connsiteX10" fmla="*/ 2428 w 10000"/>
                <a:gd name="connsiteY10" fmla="*/ 933 h 9890"/>
                <a:gd name="connsiteX11" fmla="*/ 2386 w 10000"/>
                <a:gd name="connsiteY11" fmla="*/ 1030 h 9890"/>
                <a:gd name="connsiteX12" fmla="*/ 2347 w 10000"/>
                <a:gd name="connsiteY12" fmla="*/ 1130 h 9890"/>
                <a:gd name="connsiteX13" fmla="*/ 2299 w 10000"/>
                <a:gd name="connsiteY13" fmla="*/ 1229 h 9890"/>
                <a:gd name="connsiteX14" fmla="*/ 2248 w 10000"/>
                <a:gd name="connsiteY14" fmla="*/ 1320 h 9890"/>
                <a:gd name="connsiteX15" fmla="*/ 2200 w 10000"/>
                <a:gd name="connsiteY15" fmla="*/ 1415 h 9890"/>
                <a:gd name="connsiteX16" fmla="*/ 2149 w 10000"/>
                <a:gd name="connsiteY16" fmla="*/ 1508 h 9890"/>
                <a:gd name="connsiteX17" fmla="*/ 2092 w 10000"/>
                <a:gd name="connsiteY17" fmla="*/ 1602 h 9890"/>
                <a:gd name="connsiteX18" fmla="*/ 2041 w 10000"/>
                <a:gd name="connsiteY18" fmla="*/ 1695 h 9890"/>
                <a:gd name="connsiteX19" fmla="*/ 1981 w 10000"/>
                <a:gd name="connsiteY19" fmla="*/ 1784 h 9890"/>
                <a:gd name="connsiteX20" fmla="*/ 1919 w 10000"/>
                <a:gd name="connsiteY20" fmla="*/ 1867 h 9890"/>
                <a:gd name="connsiteX21" fmla="*/ 1854 w 10000"/>
                <a:gd name="connsiteY21" fmla="*/ 1953 h 9890"/>
                <a:gd name="connsiteX22" fmla="*/ 1794 w 10000"/>
                <a:gd name="connsiteY22" fmla="*/ 2038 h 9890"/>
                <a:gd name="connsiteX23" fmla="*/ 1725 w 10000"/>
                <a:gd name="connsiteY23" fmla="*/ 2129 h 9890"/>
                <a:gd name="connsiteX24" fmla="*/ 1656 w 10000"/>
                <a:gd name="connsiteY24" fmla="*/ 2209 h 9890"/>
                <a:gd name="connsiteX25" fmla="*/ 1583 w 10000"/>
                <a:gd name="connsiteY25" fmla="*/ 2285 h 9890"/>
                <a:gd name="connsiteX26" fmla="*/ 1509 w 10000"/>
                <a:gd name="connsiteY26" fmla="*/ 2369 h 9890"/>
                <a:gd name="connsiteX27" fmla="*/ 1435 w 10000"/>
                <a:gd name="connsiteY27" fmla="*/ 2447 h 9890"/>
                <a:gd name="connsiteX28" fmla="*/ 1356 w 10000"/>
                <a:gd name="connsiteY28" fmla="*/ 2522 h 9890"/>
                <a:gd name="connsiteX29" fmla="*/ 1279 w 10000"/>
                <a:gd name="connsiteY29" fmla="*/ 2602 h 9890"/>
                <a:gd name="connsiteX30" fmla="*/ 1200 w 10000"/>
                <a:gd name="connsiteY30" fmla="*/ 2674 h 9890"/>
                <a:gd name="connsiteX31" fmla="*/ 1113 w 10000"/>
                <a:gd name="connsiteY31" fmla="*/ 2747 h 9890"/>
                <a:gd name="connsiteX32" fmla="*/ 1033 w 10000"/>
                <a:gd name="connsiteY32" fmla="*/ 2816 h 9890"/>
                <a:gd name="connsiteX33" fmla="*/ 946 w 10000"/>
                <a:gd name="connsiteY33" fmla="*/ 2886 h 9890"/>
                <a:gd name="connsiteX34" fmla="*/ 862 w 10000"/>
                <a:gd name="connsiteY34" fmla="*/ 2952 h 9890"/>
                <a:gd name="connsiteX35" fmla="*/ 767 w 10000"/>
                <a:gd name="connsiteY35" fmla="*/ 3019 h 9890"/>
                <a:gd name="connsiteX36" fmla="*/ 679 w 10000"/>
                <a:gd name="connsiteY36" fmla="*/ 3081 h 9890"/>
                <a:gd name="connsiteX37" fmla="*/ 586 w 10000"/>
                <a:gd name="connsiteY37" fmla="*/ 3145 h 9890"/>
                <a:gd name="connsiteX38" fmla="*/ 492 w 10000"/>
                <a:gd name="connsiteY38" fmla="*/ 3204 h 9890"/>
                <a:gd name="connsiteX39" fmla="*/ 394 w 10000"/>
                <a:gd name="connsiteY39" fmla="*/ 3261 h 9890"/>
                <a:gd name="connsiteX40" fmla="*/ 298 w 10000"/>
                <a:gd name="connsiteY40" fmla="*/ 3321 h 9890"/>
                <a:gd name="connsiteX41" fmla="*/ 203 w 10000"/>
                <a:gd name="connsiteY41" fmla="*/ 3375 h 9890"/>
                <a:gd name="connsiteX42" fmla="*/ 101 w 10000"/>
                <a:gd name="connsiteY42" fmla="*/ 3428 h 9890"/>
                <a:gd name="connsiteX43" fmla="*/ 0 w 10000"/>
                <a:gd name="connsiteY43" fmla="*/ 3477 h 9890"/>
                <a:gd name="connsiteX44" fmla="*/ 187 w 10000"/>
                <a:gd name="connsiteY44" fmla="*/ 7050 h 9890"/>
                <a:gd name="connsiteX45" fmla="*/ 2705 w 10000"/>
                <a:gd name="connsiteY45" fmla="*/ 9718 h 9890"/>
                <a:gd name="connsiteX46" fmla="*/ 2955 w 10000"/>
                <a:gd name="connsiteY46" fmla="*/ 9614 h 9890"/>
                <a:gd name="connsiteX47" fmla="*/ 3206 w 10000"/>
                <a:gd name="connsiteY47" fmla="*/ 9503 h 9890"/>
                <a:gd name="connsiteX48" fmla="*/ 3449 w 10000"/>
                <a:gd name="connsiteY48" fmla="*/ 9390 h 9890"/>
                <a:gd name="connsiteX49" fmla="*/ 3689 w 10000"/>
                <a:gd name="connsiteY49" fmla="*/ 9277 h 9890"/>
                <a:gd name="connsiteX50" fmla="*/ 3930 w 10000"/>
                <a:gd name="connsiteY50" fmla="*/ 9150 h 9890"/>
                <a:gd name="connsiteX51" fmla="*/ 4165 w 10000"/>
                <a:gd name="connsiteY51" fmla="*/ 9026 h 9890"/>
                <a:gd name="connsiteX52" fmla="*/ 4397 w 10000"/>
                <a:gd name="connsiteY52" fmla="*/ 8894 h 9890"/>
                <a:gd name="connsiteX53" fmla="*/ 4628 w 10000"/>
                <a:gd name="connsiteY53" fmla="*/ 8758 h 9890"/>
                <a:gd name="connsiteX54" fmla="*/ 4845 w 10000"/>
                <a:gd name="connsiteY54" fmla="*/ 8621 h 9890"/>
                <a:gd name="connsiteX55" fmla="*/ 5065 w 10000"/>
                <a:gd name="connsiteY55" fmla="*/ 8473 h 9890"/>
                <a:gd name="connsiteX56" fmla="*/ 5285 w 10000"/>
                <a:gd name="connsiteY56" fmla="*/ 8328 h 9890"/>
                <a:gd name="connsiteX57" fmla="*/ 5494 w 10000"/>
                <a:gd name="connsiteY57" fmla="*/ 8177 h 9890"/>
                <a:gd name="connsiteX58" fmla="*/ 5708 w 10000"/>
                <a:gd name="connsiteY58" fmla="*/ 8020 h 9890"/>
                <a:gd name="connsiteX59" fmla="*/ 5911 w 10000"/>
                <a:gd name="connsiteY59" fmla="*/ 7857 h 9890"/>
                <a:gd name="connsiteX60" fmla="*/ 6115 w 10000"/>
                <a:gd name="connsiteY60" fmla="*/ 7696 h 9890"/>
                <a:gd name="connsiteX61" fmla="*/ 6310 w 10000"/>
                <a:gd name="connsiteY61" fmla="*/ 7531 h 9890"/>
                <a:gd name="connsiteX62" fmla="*/ 6508 w 10000"/>
                <a:gd name="connsiteY62" fmla="*/ 7357 h 9890"/>
                <a:gd name="connsiteX63" fmla="*/ 6698 w 10000"/>
                <a:gd name="connsiteY63" fmla="*/ 7178 h 9890"/>
                <a:gd name="connsiteX64" fmla="*/ 6882 w 10000"/>
                <a:gd name="connsiteY64" fmla="*/ 7006 h 9890"/>
                <a:gd name="connsiteX65" fmla="*/ 7064 w 10000"/>
                <a:gd name="connsiteY65" fmla="*/ 6823 h 9890"/>
                <a:gd name="connsiteX66" fmla="*/ 7239 w 10000"/>
                <a:gd name="connsiteY66" fmla="*/ 6636 h 9890"/>
                <a:gd name="connsiteX67" fmla="*/ 7414 w 10000"/>
                <a:gd name="connsiteY67" fmla="*/ 6449 h 9890"/>
                <a:gd name="connsiteX68" fmla="*/ 7582 w 10000"/>
                <a:gd name="connsiteY68" fmla="*/ 6258 h 9890"/>
                <a:gd name="connsiteX69" fmla="*/ 7750 w 10000"/>
                <a:gd name="connsiteY69" fmla="*/ 6060 h 9890"/>
                <a:gd name="connsiteX70" fmla="*/ 7905 w 10000"/>
                <a:gd name="connsiteY70" fmla="*/ 5861 h 9890"/>
                <a:gd name="connsiteX71" fmla="*/ 8057 w 10000"/>
                <a:gd name="connsiteY71" fmla="*/ 5659 h 9890"/>
                <a:gd name="connsiteX72" fmla="*/ 8211 w 10000"/>
                <a:gd name="connsiteY72" fmla="*/ 5457 h 9890"/>
                <a:gd name="connsiteX73" fmla="*/ 8354 w 10000"/>
                <a:gd name="connsiteY73" fmla="*/ 5246 h 9890"/>
                <a:gd name="connsiteX74" fmla="*/ 8493 w 10000"/>
                <a:gd name="connsiteY74" fmla="*/ 5038 h 9890"/>
                <a:gd name="connsiteX75" fmla="*/ 8628 w 10000"/>
                <a:gd name="connsiteY75" fmla="*/ 4824 h 9890"/>
                <a:gd name="connsiteX76" fmla="*/ 8754 w 10000"/>
                <a:gd name="connsiteY76" fmla="*/ 4604 h 9890"/>
                <a:gd name="connsiteX77" fmla="*/ 8877 w 10000"/>
                <a:gd name="connsiteY77" fmla="*/ 4385 h 9890"/>
                <a:gd name="connsiteX78" fmla="*/ 9003 w 10000"/>
                <a:gd name="connsiteY78" fmla="*/ 4164 h 9890"/>
                <a:gd name="connsiteX79" fmla="*/ 9120 w 10000"/>
                <a:gd name="connsiteY79" fmla="*/ 3940 h 9890"/>
                <a:gd name="connsiteX80" fmla="*/ 9224 w 10000"/>
                <a:gd name="connsiteY80" fmla="*/ 3714 h 9890"/>
                <a:gd name="connsiteX81" fmla="*/ 9330 w 10000"/>
                <a:gd name="connsiteY81" fmla="*/ 3484 h 9890"/>
                <a:gd name="connsiteX82" fmla="*/ 9425 w 10000"/>
                <a:gd name="connsiteY82" fmla="*/ 3250 h 9890"/>
                <a:gd name="connsiteX83" fmla="*/ 9520 w 10000"/>
                <a:gd name="connsiteY83" fmla="*/ 3017 h 9890"/>
                <a:gd name="connsiteX84" fmla="*/ 9604 w 10000"/>
                <a:gd name="connsiteY84" fmla="*/ 2779 h 9890"/>
                <a:gd name="connsiteX85" fmla="*/ 9684 w 10000"/>
                <a:gd name="connsiteY85" fmla="*/ 2538 h 9890"/>
                <a:gd name="connsiteX86" fmla="*/ 9758 w 10000"/>
                <a:gd name="connsiteY86" fmla="*/ 2295 h 9890"/>
                <a:gd name="connsiteX87" fmla="*/ 9831 w 10000"/>
                <a:gd name="connsiteY87" fmla="*/ 2055 h 9890"/>
                <a:gd name="connsiteX88" fmla="*/ 9892 w 10000"/>
                <a:gd name="connsiteY88" fmla="*/ 1811 h 9890"/>
                <a:gd name="connsiteX89" fmla="*/ 9951 w 10000"/>
                <a:gd name="connsiteY89" fmla="*/ 1563 h 9890"/>
                <a:gd name="connsiteX90" fmla="*/ 10000 w 10000"/>
                <a:gd name="connsiteY90" fmla="*/ 1311 h 9890"/>
                <a:gd name="connsiteX91" fmla="*/ 6011 w 10000"/>
                <a:gd name="connsiteY91" fmla="*/ 2012 h 9890"/>
                <a:gd name="connsiteX92" fmla="*/ 2680 w 10000"/>
                <a:gd name="connsiteY92" fmla="*/ 0 h 9890"/>
                <a:gd name="connsiteX0" fmla="*/ 2680 w 10000"/>
                <a:gd name="connsiteY0" fmla="*/ 0 h 9721"/>
                <a:gd name="connsiteX1" fmla="*/ 2680 w 10000"/>
                <a:gd name="connsiteY1" fmla="*/ 0 h 9721"/>
                <a:gd name="connsiteX2" fmla="*/ 2665 w 10000"/>
                <a:gd name="connsiteY2" fmla="*/ 108 h 9721"/>
                <a:gd name="connsiteX3" fmla="*/ 2642 w 10000"/>
                <a:gd name="connsiteY3" fmla="*/ 216 h 9721"/>
                <a:gd name="connsiteX4" fmla="*/ 2621 w 10000"/>
                <a:gd name="connsiteY4" fmla="*/ 325 h 9721"/>
                <a:gd name="connsiteX5" fmla="*/ 2594 w 10000"/>
                <a:gd name="connsiteY5" fmla="*/ 427 h 9721"/>
                <a:gd name="connsiteX6" fmla="*/ 2561 w 10000"/>
                <a:gd name="connsiteY6" fmla="*/ 531 h 9721"/>
                <a:gd name="connsiteX7" fmla="*/ 2530 w 10000"/>
                <a:gd name="connsiteY7" fmla="*/ 637 h 9721"/>
                <a:gd name="connsiteX8" fmla="*/ 2502 w 10000"/>
                <a:gd name="connsiteY8" fmla="*/ 738 h 9721"/>
                <a:gd name="connsiteX9" fmla="*/ 2468 w 10000"/>
                <a:gd name="connsiteY9" fmla="*/ 842 h 9721"/>
                <a:gd name="connsiteX10" fmla="*/ 2428 w 10000"/>
                <a:gd name="connsiteY10" fmla="*/ 943 h 9721"/>
                <a:gd name="connsiteX11" fmla="*/ 2386 w 10000"/>
                <a:gd name="connsiteY11" fmla="*/ 1041 h 9721"/>
                <a:gd name="connsiteX12" fmla="*/ 2347 w 10000"/>
                <a:gd name="connsiteY12" fmla="*/ 1143 h 9721"/>
                <a:gd name="connsiteX13" fmla="*/ 2299 w 10000"/>
                <a:gd name="connsiteY13" fmla="*/ 1243 h 9721"/>
                <a:gd name="connsiteX14" fmla="*/ 2248 w 10000"/>
                <a:gd name="connsiteY14" fmla="*/ 1335 h 9721"/>
                <a:gd name="connsiteX15" fmla="*/ 2200 w 10000"/>
                <a:gd name="connsiteY15" fmla="*/ 1431 h 9721"/>
                <a:gd name="connsiteX16" fmla="*/ 2149 w 10000"/>
                <a:gd name="connsiteY16" fmla="*/ 1525 h 9721"/>
                <a:gd name="connsiteX17" fmla="*/ 2092 w 10000"/>
                <a:gd name="connsiteY17" fmla="*/ 1620 h 9721"/>
                <a:gd name="connsiteX18" fmla="*/ 2041 w 10000"/>
                <a:gd name="connsiteY18" fmla="*/ 1714 h 9721"/>
                <a:gd name="connsiteX19" fmla="*/ 1981 w 10000"/>
                <a:gd name="connsiteY19" fmla="*/ 1804 h 9721"/>
                <a:gd name="connsiteX20" fmla="*/ 1919 w 10000"/>
                <a:gd name="connsiteY20" fmla="*/ 1888 h 9721"/>
                <a:gd name="connsiteX21" fmla="*/ 1854 w 10000"/>
                <a:gd name="connsiteY21" fmla="*/ 1975 h 9721"/>
                <a:gd name="connsiteX22" fmla="*/ 1794 w 10000"/>
                <a:gd name="connsiteY22" fmla="*/ 2061 h 9721"/>
                <a:gd name="connsiteX23" fmla="*/ 1725 w 10000"/>
                <a:gd name="connsiteY23" fmla="*/ 2153 h 9721"/>
                <a:gd name="connsiteX24" fmla="*/ 1656 w 10000"/>
                <a:gd name="connsiteY24" fmla="*/ 2234 h 9721"/>
                <a:gd name="connsiteX25" fmla="*/ 1583 w 10000"/>
                <a:gd name="connsiteY25" fmla="*/ 2310 h 9721"/>
                <a:gd name="connsiteX26" fmla="*/ 1509 w 10000"/>
                <a:gd name="connsiteY26" fmla="*/ 2395 h 9721"/>
                <a:gd name="connsiteX27" fmla="*/ 1435 w 10000"/>
                <a:gd name="connsiteY27" fmla="*/ 2474 h 9721"/>
                <a:gd name="connsiteX28" fmla="*/ 1356 w 10000"/>
                <a:gd name="connsiteY28" fmla="*/ 2550 h 9721"/>
                <a:gd name="connsiteX29" fmla="*/ 1279 w 10000"/>
                <a:gd name="connsiteY29" fmla="*/ 2631 h 9721"/>
                <a:gd name="connsiteX30" fmla="*/ 1200 w 10000"/>
                <a:gd name="connsiteY30" fmla="*/ 2704 h 9721"/>
                <a:gd name="connsiteX31" fmla="*/ 1113 w 10000"/>
                <a:gd name="connsiteY31" fmla="*/ 2778 h 9721"/>
                <a:gd name="connsiteX32" fmla="*/ 1033 w 10000"/>
                <a:gd name="connsiteY32" fmla="*/ 2847 h 9721"/>
                <a:gd name="connsiteX33" fmla="*/ 946 w 10000"/>
                <a:gd name="connsiteY33" fmla="*/ 2918 h 9721"/>
                <a:gd name="connsiteX34" fmla="*/ 862 w 10000"/>
                <a:gd name="connsiteY34" fmla="*/ 2985 h 9721"/>
                <a:gd name="connsiteX35" fmla="*/ 767 w 10000"/>
                <a:gd name="connsiteY35" fmla="*/ 3053 h 9721"/>
                <a:gd name="connsiteX36" fmla="*/ 679 w 10000"/>
                <a:gd name="connsiteY36" fmla="*/ 3115 h 9721"/>
                <a:gd name="connsiteX37" fmla="*/ 586 w 10000"/>
                <a:gd name="connsiteY37" fmla="*/ 3180 h 9721"/>
                <a:gd name="connsiteX38" fmla="*/ 492 w 10000"/>
                <a:gd name="connsiteY38" fmla="*/ 3240 h 9721"/>
                <a:gd name="connsiteX39" fmla="*/ 394 w 10000"/>
                <a:gd name="connsiteY39" fmla="*/ 3297 h 9721"/>
                <a:gd name="connsiteX40" fmla="*/ 298 w 10000"/>
                <a:gd name="connsiteY40" fmla="*/ 3358 h 9721"/>
                <a:gd name="connsiteX41" fmla="*/ 203 w 10000"/>
                <a:gd name="connsiteY41" fmla="*/ 3413 h 9721"/>
                <a:gd name="connsiteX42" fmla="*/ 101 w 10000"/>
                <a:gd name="connsiteY42" fmla="*/ 3466 h 9721"/>
                <a:gd name="connsiteX43" fmla="*/ 0 w 10000"/>
                <a:gd name="connsiteY43" fmla="*/ 3516 h 9721"/>
                <a:gd name="connsiteX44" fmla="*/ 187 w 10000"/>
                <a:gd name="connsiteY44" fmla="*/ 7128 h 9721"/>
                <a:gd name="connsiteX45" fmla="*/ 2955 w 10000"/>
                <a:gd name="connsiteY45" fmla="*/ 9721 h 9721"/>
                <a:gd name="connsiteX46" fmla="*/ 3206 w 10000"/>
                <a:gd name="connsiteY46" fmla="*/ 9609 h 9721"/>
                <a:gd name="connsiteX47" fmla="*/ 3449 w 10000"/>
                <a:gd name="connsiteY47" fmla="*/ 9494 h 9721"/>
                <a:gd name="connsiteX48" fmla="*/ 3689 w 10000"/>
                <a:gd name="connsiteY48" fmla="*/ 9380 h 9721"/>
                <a:gd name="connsiteX49" fmla="*/ 3930 w 10000"/>
                <a:gd name="connsiteY49" fmla="*/ 9252 h 9721"/>
                <a:gd name="connsiteX50" fmla="*/ 4165 w 10000"/>
                <a:gd name="connsiteY50" fmla="*/ 9126 h 9721"/>
                <a:gd name="connsiteX51" fmla="*/ 4397 w 10000"/>
                <a:gd name="connsiteY51" fmla="*/ 8993 h 9721"/>
                <a:gd name="connsiteX52" fmla="*/ 4628 w 10000"/>
                <a:gd name="connsiteY52" fmla="*/ 8855 h 9721"/>
                <a:gd name="connsiteX53" fmla="*/ 4845 w 10000"/>
                <a:gd name="connsiteY53" fmla="*/ 8717 h 9721"/>
                <a:gd name="connsiteX54" fmla="*/ 5065 w 10000"/>
                <a:gd name="connsiteY54" fmla="*/ 8567 h 9721"/>
                <a:gd name="connsiteX55" fmla="*/ 5285 w 10000"/>
                <a:gd name="connsiteY55" fmla="*/ 8421 h 9721"/>
                <a:gd name="connsiteX56" fmla="*/ 5494 w 10000"/>
                <a:gd name="connsiteY56" fmla="*/ 8268 h 9721"/>
                <a:gd name="connsiteX57" fmla="*/ 5708 w 10000"/>
                <a:gd name="connsiteY57" fmla="*/ 8109 h 9721"/>
                <a:gd name="connsiteX58" fmla="*/ 5911 w 10000"/>
                <a:gd name="connsiteY58" fmla="*/ 7944 h 9721"/>
                <a:gd name="connsiteX59" fmla="*/ 6115 w 10000"/>
                <a:gd name="connsiteY59" fmla="*/ 7782 h 9721"/>
                <a:gd name="connsiteX60" fmla="*/ 6310 w 10000"/>
                <a:gd name="connsiteY60" fmla="*/ 7615 h 9721"/>
                <a:gd name="connsiteX61" fmla="*/ 6508 w 10000"/>
                <a:gd name="connsiteY61" fmla="*/ 7439 h 9721"/>
                <a:gd name="connsiteX62" fmla="*/ 6698 w 10000"/>
                <a:gd name="connsiteY62" fmla="*/ 7258 h 9721"/>
                <a:gd name="connsiteX63" fmla="*/ 6882 w 10000"/>
                <a:gd name="connsiteY63" fmla="*/ 7084 h 9721"/>
                <a:gd name="connsiteX64" fmla="*/ 7064 w 10000"/>
                <a:gd name="connsiteY64" fmla="*/ 6899 h 9721"/>
                <a:gd name="connsiteX65" fmla="*/ 7239 w 10000"/>
                <a:gd name="connsiteY65" fmla="*/ 6710 h 9721"/>
                <a:gd name="connsiteX66" fmla="*/ 7414 w 10000"/>
                <a:gd name="connsiteY66" fmla="*/ 6521 h 9721"/>
                <a:gd name="connsiteX67" fmla="*/ 7582 w 10000"/>
                <a:gd name="connsiteY67" fmla="*/ 6328 h 9721"/>
                <a:gd name="connsiteX68" fmla="*/ 7750 w 10000"/>
                <a:gd name="connsiteY68" fmla="*/ 6127 h 9721"/>
                <a:gd name="connsiteX69" fmla="*/ 7905 w 10000"/>
                <a:gd name="connsiteY69" fmla="*/ 5926 h 9721"/>
                <a:gd name="connsiteX70" fmla="*/ 8057 w 10000"/>
                <a:gd name="connsiteY70" fmla="*/ 5722 h 9721"/>
                <a:gd name="connsiteX71" fmla="*/ 8211 w 10000"/>
                <a:gd name="connsiteY71" fmla="*/ 5518 h 9721"/>
                <a:gd name="connsiteX72" fmla="*/ 8354 w 10000"/>
                <a:gd name="connsiteY72" fmla="*/ 5304 h 9721"/>
                <a:gd name="connsiteX73" fmla="*/ 8493 w 10000"/>
                <a:gd name="connsiteY73" fmla="*/ 5094 h 9721"/>
                <a:gd name="connsiteX74" fmla="*/ 8628 w 10000"/>
                <a:gd name="connsiteY74" fmla="*/ 4878 h 9721"/>
                <a:gd name="connsiteX75" fmla="*/ 8754 w 10000"/>
                <a:gd name="connsiteY75" fmla="*/ 4655 h 9721"/>
                <a:gd name="connsiteX76" fmla="*/ 8877 w 10000"/>
                <a:gd name="connsiteY76" fmla="*/ 4434 h 9721"/>
                <a:gd name="connsiteX77" fmla="*/ 9003 w 10000"/>
                <a:gd name="connsiteY77" fmla="*/ 4210 h 9721"/>
                <a:gd name="connsiteX78" fmla="*/ 9120 w 10000"/>
                <a:gd name="connsiteY78" fmla="*/ 3984 h 9721"/>
                <a:gd name="connsiteX79" fmla="*/ 9224 w 10000"/>
                <a:gd name="connsiteY79" fmla="*/ 3755 h 9721"/>
                <a:gd name="connsiteX80" fmla="*/ 9330 w 10000"/>
                <a:gd name="connsiteY80" fmla="*/ 3523 h 9721"/>
                <a:gd name="connsiteX81" fmla="*/ 9425 w 10000"/>
                <a:gd name="connsiteY81" fmla="*/ 3286 h 9721"/>
                <a:gd name="connsiteX82" fmla="*/ 9520 w 10000"/>
                <a:gd name="connsiteY82" fmla="*/ 3051 h 9721"/>
                <a:gd name="connsiteX83" fmla="*/ 9604 w 10000"/>
                <a:gd name="connsiteY83" fmla="*/ 2810 h 9721"/>
                <a:gd name="connsiteX84" fmla="*/ 9684 w 10000"/>
                <a:gd name="connsiteY84" fmla="*/ 2566 h 9721"/>
                <a:gd name="connsiteX85" fmla="*/ 9758 w 10000"/>
                <a:gd name="connsiteY85" fmla="*/ 2321 h 9721"/>
                <a:gd name="connsiteX86" fmla="*/ 9831 w 10000"/>
                <a:gd name="connsiteY86" fmla="*/ 2078 h 9721"/>
                <a:gd name="connsiteX87" fmla="*/ 9892 w 10000"/>
                <a:gd name="connsiteY87" fmla="*/ 1831 h 9721"/>
                <a:gd name="connsiteX88" fmla="*/ 9951 w 10000"/>
                <a:gd name="connsiteY88" fmla="*/ 1580 h 9721"/>
                <a:gd name="connsiteX89" fmla="*/ 10000 w 10000"/>
                <a:gd name="connsiteY89" fmla="*/ 1326 h 9721"/>
                <a:gd name="connsiteX90" fmla="*/ 6011 w 10000"/>
                <a:gd name="connsiteY90" fmla="*/ 2034 h 9721"/>
                <a:gd name="connsiteX91" fmla="*/ 2680 w 10000"/>
                <a:gd name="connsiteY91" fmla="*/ 0 h 9721"/>
                <a:gd name="connsiteX0" fmla="*/ 2680 w 10000"/>
                <a:gd name="connsiteY0" fmla="*/ 0 h 10045"/>
                <a:gd name="connsiteX1" fmla="*/ 2680 w 10000"/>
                <a:gd name="connsiteY1" fmla="*/ 0 h 10045"/>
                <a:gd name="connsiteX2" fmla="*/ 2665 w 10000"/>
                <a:gd name="connsiteY2" fmla="*/ 111 h 10045"/>
                <a:gd name="connsiteX3" fmla="*/ 2642 w 10000"/>
                <a:gd name="connsiteY3" fmla="*/ 222 h 10045"/>
                <a:gd name="connsiteX4" fmla="*/ 2621 w 10000"/>
                <a:gd name="connsiteY4" fmla="*/ 334 h 10045"/>
                <a:gd name="connsiteX5" fmla="*/ 2594 w 10000"/>
                <a:gd name="connsiteY5" fmla="*/ 439 h 10045"/>
                <a:gd name="connsiteX6" fmla="*/ 2561 w 10000"/>
                <a:gd name="connsiteY6" fmla="*/ 546 h 10045"/>
                <a:gd name="connsiteX7" fmla="*/ 2530 w 10000"/>
                <a:gd name="connsiteY7" fmla="*/ 655 h 10045"/>
                <a:gd name="connsiteX8" fmla="*/ 2502 w 10000"/>
                <a:gd name="connsiteY8" fmla="*/ 759 h 10045"/>
                <a:gd name="connsiteX9" fmla="*/ 2468 w 10000"/>
                <a:gd name="connsiteY9" fmla="*/ 866 h 10045"/>
                <a:gd name="connsiteX10" fmla="*/ 2428 w 10000"/>
                <a:gd name="connsiteY10" fmla="*/ 970 h 10045"/>
                <a:gd name="connsiteX11" fmla="*/ 2386 w 10000"/>
                <a:gd name="connsiteY11" fmla="*/ 1071 h 10045"/>
                <a:gd name="connsiteX12" fmla="*/ 2347 w 10000"/>
                <a:gd name="connsiteY12" fmla="*/ 1176 h 10045"/>
                <a:gd name="connsiteX13" fmla="*/ 2299 w 10000"/>
                <a:gd name="connsiteY13" fmla="*/ 1279 h 10045"/>
                <a:gd name="connsiteX14" fmla="*/ 2248 w 10000"/>
                <a:gd name="connsiteY14" fmla="*/ 1373 h 10045"/>
                <a:gd name="connsiteX15" fmla="*/ 2200 w 10000"/>
                <a:gd name="connsiteY15" fmla="*/ 1472 h 10045"/>
                <a:gd name="connsiteX16" fmla="*/ 2149 w 10000"/>
                <a:gd name="connsiteY16" fmla="*/ 1569 h 10045"/>
                <a:gd name="connsiteX17" fmla="*/ 2092 w 10000"/>
                <a:gd name="connsiteY17" fmla="*/ 1666 h 10045"/>
                <a:gd name="connsiteX18" fmla="*/ 2041 w 10000"/>
                <a:gd name="connsiteY18" fmla="*/ 1763 h 10045"/>
                <a:gd name="connsiteX19" fmla="*/ 1981 w 10000"/>
                <a:gd name="connsiteY19" fmla="*/ 1856 h 10045"/>
                <a:gd name="connsiteX20" fmla="*/ 1919 w 10000"/>
                <a:gd name="connsiteY20" fmla="*/ 1942 h 10045"/>
                <a:gd name="connsiteX21" fmla="*/ 1854 w 10000"/>
                <a:gd name="connsiteY21" fmla="*/ 2032 h 10045"/>
                <a:gd name="connsiteX22" fmla="*/ 1794 w 10000"/>
                <a:gd name="connsiteY22" fmla="*/ 2120 h 10045"/>
                <a:gd name="connsiteX23" fmla="*/ 1725 w 10000"/>
                <a:gd name="connsiteY23" fmla="*/ 2215 h 10045"/>
                <a:gd name="connsiteX24" fmla="*/ 1656 w 10000"/>
                <a:gd name="connsiteY24" fmla="*/ 2298 h 10045"/>
                <a:gd name="connsiteX25" fmla="*/ 1583 w 10000"/>
                <a:gd name="connsiteY25" fmla="*/ 2376 h 10045"/>
                <a:gd name="connsiteX26" fmla="*/ 1509 w 10000"/>
                <a:gd name="connsiteY26" fmla="*/ 2464 h 10045"/>
                <a:gd name="connsiteX27" fmla="*/ 1435 w 10000"/>
                <a:gd name="connsiteY27" fmla="*/ 2545 h 10045"/>
                <a:gd name="connsiteX28" fmla="*/ 1356 w 10000"/>
                <a:gd name="connsiteY28" fmla="*/ 2623 h 10045"/>
                <a:gd name="connsiteX29" fmla="*/ 1279 w 10000"/>
                <a:gd name="connsiteY29" fmla="*/ 2707 h 10045"/>
                <a:gd name="connsiteX30" fmla="*/ 1200 w 10000"/>
                <a:gd name="connsiteY30" fmla="*/ 2782 h 10045"/>
                <a:gd name="connsiteX31" fmla="*/ 1113 w 10000"/>
                <a:gd name="connsiteY31" fmla="*/ 2858 h 10045"/>
                <a:gd name="connsiteX32" fmla="*/ 1033 w 10000"/>
                <a:gd name="connsiteY32" fmla="*/ 2929 h 10045"/>
                <a:gd name="connsiteX33" fmla="*/ 946 w 10000"/>
                <a:gd name="connsiteY33" fmla="*/ 3002 h 10045"/>
                <a:gd name="connsiteX34" fmla="*/ 862 w 10000"/>
                <a:gd name="connsiteY34" fmla="*/ 3071 h 10045"/>
                <a:gd name="connsiteX35" fmla="*/ 767 w 10000"/>
                <a:gd name="connsiteY35" fmla="*/ 3141 h 10045"/>
                <a:gd name="connsiteX36" fmla="*/ 679 w 10000"/>
                <a:gd name="connsiteY36" fmla="*/ 3204 h 10045"/>
                <a:gd name="connsiteX37" fmla="*/ 586 w 10000"/>
                <a:gd name="connsiteY37" fmla="*/ 3271 h 10045"/>
                <a:gd name="connsiteX38" fmla="*/ 492 w 10000"/>
                <a:gd name="connsiteY38" fmla="*/ 3333 h 10045"/>
                <a:gd name="connsiteX39" fmla="*/ 394 w 10000"/>
                <a:gd name="connsiteY39" fmla="*/ 3392 h 10045"/>
                <a:gd name="connsiteX40" fmla="*/ 298 w 10000"/>
                <a:gd name="connsiteY40" fmla="*/ 3454 h 10045"/>
                <a:gd name="connsiteX41" fmla="*/ 203 w 10000"/>
                <a:gd name="connsiteY41" fmla="*/ 3511 h 10045"/>
                <a:gd name="connsiteX42" fmla="*/ 101 w 10000"/>
                <a:gd name="connsiteY42" fmla="*/ 3565 h 10045"/>
                <a:gd name="connsiteX43" fmla="*/ 0 w 10000"/>
                <a:gd name="connsiteY43" fmla="*/ 3617 h 10045"/>
                <a:gd name="connsiteX44" fmla="*/ 187 w 10000"/>
                <a:gd name="connsiteY44" fmla="*/ 7333 h 10045"/>
                <a:gd name="connsiteX45" fmla="*/ 3206 w 10000"/>
                <a:gd name="connsiteY45" fmla="*/ 9885 h 10045"/>
                <a:gd name="connsiteX46" fmla="*/ 3449 w 10000"/>
                <a:gd name="connsiteY46" fmla="*/ 9766 h 10045"/>
                <a:gd name="connsiteX47" fmla="*/ 3689 w 10000"/>
                <a:gd name="connsiteY47" fmla="*/ 9649 h 10045"/>
                <a:gd name="connsiteX48" fmla="*/ 3930 w 10000"/>
                <a:gd name="connsiteY48" fmla="*/ 9518 h 10045"/>
                <a:gd name="connsiteX49" fmla="*/ 4165 w 10000"/>
                <a:gd name="connsiteY49" fmla="*/ 9388 h 10045"/>
                <a:gd name="connsiteX50" fmla="*/ 4397 w 10000"/>
                <a:gd name="connsiteY50" fmla="*/ 9251 h 10045"/>
                <a:gd name="connsiteX51" fmla="*/ 4628 w 10000"/>
                <a:gd name="connsiteY51" fmla="*/ 9109 h 10045"/>
                <a:gd name="connsiteX52" fmla="*/ 4845 w 10000"/>
                <a:gd name="connsiteY52" fmla="*/ 8967 h 10045"/>
                <a:gd name="connsiteX53" fmla="*/ 5065 w 10000"/>
                <a:gd name="connsiteY53" fmla="*/ 8813 h 10045"/>
                <a:gd name="connsiteX54" fmla="*/ 5285 w 10000"/>
                <a:gd name="connsiteY54" fmla="*/ 8663 h 10045"/>
                <a:gd name="connsiteX55" fmla="*/ 5494 w 10000"/>
                <a:gd name="connsiteY55" fmla="*/ 8505 h 10045"/>
                <a:gd name="connsiteX56" fmla="*/ 5708 w 10000"/>
                <a:gd name="connsiteY56" fmla="*/ 8342 h 10045"/>
                <a:gd name="connsiteX57" fmla="*/ 5911 w 10000"/>
                <a:gd name="connsiteY57" fmla="*/ 8172 h 10045"/>
                <a:gd name="connsiteX58" fmla="*/ 6115 w 10000"/>
                <a:gd name="connsiteY58" fmla="*/ 8005 h 10045"/>
                <a:gd name="connsiteX59" fmla="*/ 6310 w 10000"/>
                <a:gd name="connsiteY59" fmla="*/ 7834 h 10045"/>
                <a:gd name="connsiteX60" fmla="*/ 6508 w 10000"/>
                <a:gd name="connsiteY60" fmla="*/ 7653 h 10045"/>
                <a:gd name="connsiteX61" fmla="*/ 6698 w 10000"/>
                <a:gd name="connsiteY61" fmla="*/ 7466 h 10045"/>
                <a:gd name="connsiteX62" fmla="*/ 6882 w 10000"/>
                <a:gd name="connsiteY62" fmla="*/ 7287 h 10045"/>
                <a:gd name="connsiteX63" fmla="*/ 7064 w 10000"/>
                <a:gd name="connsiteY63" fmla="*/ 7097 h 10045"/>
                <a:gd name="connsiteX64" fmla="*/ 7239 w 10000"/>
                <a:gd name="connsiteY64" fmla="*/ 6903 h 10045"/>
                <a:gd name="connsiteX65" fmla="*/ 7414 w 10000"/>
                <a:gd name="connsiteY65" fmla="*/ 6708 h 10045"/>
                <a:gd name="connsiteX66" fmla="*/ 7582 w 10000"/>
                <a:gd name="connsiteY66" fmla="*/ 6510 h 10045"/>
                <a:gd name="connsiteX67" fmla="*/ 7750 w 10000"/>
                <a:gd name="connsiteY67" fmla="*/ 6303 h 10045"/>
                <a:gd name="connsiteX68" fmla="*/ 7905 w 10000"/>
                <a:gd name="connsiteY68" fmla="*/ 6096 h 10045"/>
                <a:gd name="connsiteX69" fmla="*/ 8057 w 10000"/>
                <a:gd name="connsiteY69" fmla="*/ 5886 h 10045"/>
                <a:gd name="connsiteX70" fmla="*/ 8211 w 10000"/>
                <a:gd name="connsiteY70" fmla="*/ 5676 h 10045"/>
                <a:gd name="connsiteX71" fmla="*/ 8354 w 10000"/>
                <a:gd name="connsiteY71" fmla="*/ 5456 h 10045"/>
                <a:gd name="connsiteX72" fmla="*/ 8493 w 10000"/>
                <a:gd name="connsiteY72" fmla="*/ 5240 h 10045"/>
                <a:gd name="connsiteX73" fmla="*/ 8628 w 10000"/>
                <a:gd name="connsiteY73" fmla="*/ 5018 h 10045"/>
                <a:gd name="connsiteX74" fmla="*/ 8754 w 10000"/>
                <a:gd name="connsiteY74" fmla="*/ 4789 h 10045"/>
                <a:gd name="connsiteX75" fmla="*/ 8877 w 10000"/>
                <a:gd name="connsiteY75" fmla="*/ 4561 h 10045"/>
                <a:gd name="connsiteX76" fmla="*/ 9003 w 10000"/>
                <a:gd name="connsiteY76" fmla="*/ 4331 h 10045"/>
                <a:gd name="connsiteX77" fmla="*/ 9120 w 10000"/>
                <a:gd name="connsiteY77" fmla="*/ 4098 h 10045"/>
                <a:gd name="connsiteX78" fmla="*/ 9224 w 10000"/>
                <a:gd name="connsiteY78" fmla="*/ 3863 h 10045"/>
                <a:gd name="connsiteX79" fmla="*/ 9330 w 10000"/>
                <a:gd name="connsiteY79" fmla="*/ 3624 h 10045"/>
                <a:gd name="connsiteX80" fmla="*/ 9425 w 10000"/>
                <a:gd name="connsiteY80" fmla="*/ 3380 h 10045"/>
                <a:gd name="connsiteX81" fmla="*/ 9520 w 10000"/>
                <a:gd name="connsiteY81" fmla="*/ 3139 h 10045"/>
                <a:gd name="connsiteX82" fmla="*/ 9604 w 10000"/>
                <a:gd name="connsiteY82" fmla="*/ 2891 h 10045"/>
                <a:gd name="connsiteX83" fmla="*/ 9684 w 10000"/>
                <a:gd name="connsiteY83" fmla="*/ 2640 h 10045"/>
                <a:gd name="connsiteX84" fmla="*/ 9758 w 10000"/>
                <a:gd name="connsiteY84" fmla="*/ 2388 h 10045"/>
                <a:gd name="connsiteX85" fmla="*/ 9831 w 10000"/>
                <a:gd name="connsiteY85" fmla="*/ 2138 h 10045"/>
                <a:gd name="connsiteX86" fmla="*/ 9892 w 10000"/>
                <a:gd name="connsiteY86" fmla="*/ 1884 h 10045"/>
                <a:gd name="connsiteX87" fmla="*/ 9951 w 10000"/>
                <a:gd name="connsiteY87" fmla="*/ 1625 h 10045"/>
                <a:gd name="connsiteX88" fmla="*/ 10000 w 10000"/>
                <a:gd name="connsiteY88" fmla="*/ 1364 h 10045"/>
                <a:gd name="connsiteX89" fmla="*/ 6011 w 10000"/>
                <a:gd name="connsiteY89" fmla="*/ 2092 h 10045"/>
                <a:gd name="connsiteX90" fmla="*/ 2680 w 10000"/>
                <a:gd name="connsiteY90" fmla="*/ 0 h 10045"/>
                <a:gd name="connsiteX0" fmla="*/ 2680 w 10000"/>
                <a:gd name="connsiteY0" fmla="*/ 0 h 9766"/>
                <a:gd name="connsiteX1" fmla="*/ 2680 w 10000"/>
                <a:gd name="connsiteY1" fmla="*/ 0 h 9766"/>
                <a:gd name="connsiteX2" fmla="*/ 2665 w 10000"/>
                <a:gd name="connsiteY2" fmla="*/ 111 h 9766"/>
                <a:gd name="connsiteX3" fmla="*/ 2642 w 10000"/>
                <a:gd name="connsiteY3" fmla="*/ 222 h 9766"/>
                <a:gd name="connsiteX4" fmla="*/ 2621 w 10000"/>
                <a:gd name="connsiteY4" fmla="*/ 334 h 9766"/>
                <a:gd name="connsiteX5" fmla="*/ 2594 w 10000"/>
                <a:gd name="connsiteY5" fmla="*/ 439 h 9766"/>
                <a:gd name="connsiteX6" fmla="*/ 2561 w 10000"/>
                <a:gd name="connsiteY6" fmla="*/ 546 h 9766"/>
                <a:gd name="connsiteX7" fmla="*/ 2530 w 10000"/>
                <a:gd name="connsiteY7" fmla="*/ 655 h 9766"/>
                <a:gd name="connsiteX8" fmla="*/ 2502 w 10000"/>
                <a:gd name="connsiteY8" fmla="*/ 759 h 9766"/>
                <a:gd name="connsiteX9" fmla="*/ 2468 w 10000"/>
                <a:gd name="connsiteY9" fmla="*/ 866 h 9766"/>
                <a:gd name="connsiteX10" fmla="*/ 2428 w 10000"/>
                <a:gd name="connsiteY10" fmla="*/ 970 h 9766"/>
                <a:gd name="connsiteX11" fmla="*/ 2386 w 10000"/>
                <a:gd name="connsiteY11" fmla="*/ 1071 h 9766"/>
                <a:gd name="connsiteX12" fmla="*/ 2347 w 10000"/>
                <a:gd name="connsiteY12" fmla="*/ 1176 h 9766"/>
                <a:gd name="connsiteX13" fmla="*/ 2299 w 10000"/>
                <a:gd name="connsiteY13" fmla="*/ 1279 h 9766"/>
                <a:gd name="connsiteX14" fmla="*/ 2248 w 10000"/>
                <a:gd name="connsiteY14" fmla="*/ 1373 h 9766"/>
                <a:gd name="connsiteX15" fmla="*/ 2200 w 10000"/>
                <a:gd name="connsiteY15" fmla="*/ 1472 h 9766"/>
                <a:gd name="connsiteX16" fmla="*/ 2149 w 10000"/>
                <a:gd name="connsiteY16" fmla="*/ 1569 h 9766"/>
                <a:gd name="connsiteX17" fmla="*/ 2092 w 10000"/>
                <a:gd name="connsiteY17" fmla="*/ 1666 h 9766"/>
                <a:gd name="connsiteX18" fmla="*/ 2041 w 10000"/>
                <a:gd name="connsiteY18" fmla="*/ 1763 h 9766"/>
                <a:gd name="connsiteX19" fmla="*/ 1981 w 10000"/>
                <a:gd name="connsiteY19" fmla="*/ 1856 h 9766"/>
                <a:gd name="connsiteX20" fmla="*/ 1919 w 10000"/>
                <a:gd name="connsiteY20" fmla="*/ 1942 h 9766"/>
                <a:gd name="connsiteX21" fmla="*/ 1854 w 10000"/>
                <a:gd name="connsiteY21" fmla="*/ 2032 h 9766"/>
                <a:gd name="connsiteX22" fmla="*/ 1794 w 10000"/>
                <a:gd name="connsiteY22" fmla="*/ 2120 h 9766"/>
                <a:gd name="connsiteX23" fmla="*/ 1725 w 10000"/>
                <a:gd name="connsiteY23" fmla="*/ 2215 h 9766"/>
                <a:gd name="connsiteX24" fmla="*/ 1656 w 10000"/>
                <a:gd name="connsiteY24" fmla="*/ 2298 h 9766"/>
                <a:gd name="connsiteX25" fmla="*/ 1583 w 10000"/>
                <a:gd name="connsiteY25" fmla="*/ 2376 h 9766"/>
                <a:gd name="connsiteX26" fmla="*/ 1509 w 10000"/>
                <a:gd name="connsiteY26" fmla="*/ 2464 h 9766"/>
                <a:gd name="connsiteX27" fmla="*/ 1435 w 10000"/>
                <a:gd name="connsiteY27" fmla="*/ 2545 h 9766"/>
                <a:gd name="connsiteX28" fmla="*/ 1356 w 10000"/>
                <a:gd name="connsiteY28" fmla="*/ 2623 h 9766"/>
                <a:gd name="connsiteX29" fmla="*/ 1279 w 10000"/>
                <a:gd name="connsiteY29" fmla="*/ 2707 h 9766"/>
                <a:gd name="connsiteX30" fmla="*/ 1200 w 10000"/>
                <a:gd name="connsiteY30" fmla="*/ 2782 h 9766"/>
                <a:gd name="connsiteX31" fmla="*/ 1113 w 10000"/>
                <a:gd name="connsiteY31" fmla="*/ 2858 h 9766"/>
                <a:gd name="connsiteX32" fmla="*/ 1033 w 10000"/>
                <a:gd name="connsiteY32" fmla="*/ 2929 h 9766"/>
                <a:gd name="connsiteX33" fmla="*/ 946 w 10000"/>
                <a:gd name="connsiteY33" fmla="*/ 3002 h 9766"/>
                <a:gd name="connsiteX34" fmla="*/ 862 w 10000"/>
                <a:gd name="connsiteY34" fmla="*/ 3071 h 9766"/>
                <a:gd name="connsiteX35" fmla="*/ 767 w 10000"/>
                <a:gd name="connsiteY35" fmla="*/ 3141 h 9766"/>
                <a:gd name="connsiteX36" fmla="*/ 679 w 10000"/>
                <a:gd name="connsiteY36" fmla="*/ 3204 h 9766"/>
                <a:gd name="connsiteX37" fmla="*/ 586 w 10000"/>
                <a:gd name="connsiteY37" fmla="*/ 3271 h 9766"/>
                <a:gd name="connsiteX38" fmla="*/ 492 w 10000"/>
                <a:gd name="connsiteY38" fmla="*/ 3333 h 9766"/>
                <a:gd name="connsiteX39" fmla="*/ 394 w 10000"/>
                <a:gd name="connsiteY39" fmla="*/ 3392 h 9766"/>
                <a:gd name="connsiteX40" fmla="*/ 298 w 10000"/>
                <a:gd name="connsiteY40" fmla="*/ 3454 h 9766"/>
                <a:gd name="connsiteX41" fmla="*/ 203 w 10000"/>
                <a:gd name="connsiteY41" fmla="*/ 3511 h 9766"/>
                <a:gd name="connsiteX42" fmla="*/ 101 w 10000"/>
                <a:gd name="connsiteY42" fmla="*/ 3565 h 9766"/>
                <a:gd name="connsiteX43" fmla="*/ 0 w 10000"/>
                <a:gd name="connsiteY43" fmla="*/ 3617 h 9766"/>
                <a:gd name="connsiteX44" fmla="*/ 187 w 10000"/>
                <a:gd name="connsiteY44" fmla="*/ 7333 h 9766"/>
                <a:gd name="connsiteX45" fmla="*/ 3449 w 10000"/>
                <a:gd name="connsiteY45" fmla="*/ 9766 h 9766"/>
                <a:gd name="connsiteX46" fmla="*/ 3689 w 10000"/>
                <a:gd name="connsiteY46" fmla="*/ 9649 h 9766"/>
                <a:gd name="connsiteX47" fmla="*/ 3930 w 10000"/>
                <a:gd name="connsiteY47" fmla="*/ 9518 h 9766"/>
                <a:gd name="connsiteX48" fmla="*/ 4165 w 10000"/>
                <a:gd name="connsiteY48" fmla="*/ 9388 h 9766"/>
                <a:gd name="connsiteX49" fmla="*/ 4397 w 10000"/>
                <a:gd name="connsiteY49" fmla="*/ 9251 h 9766"/>
                <a:gd name="connsiteX50" fmla="*/ 4628 w 10000"/>
                <a:gd name="connsiteY50" fmla="*/ 9109 h 9766"/>
                <a:gd name="connsiteX51" fmla="*/ 4845 w 10000"/>
                <a:gd name="connsiteY51" fmla="*/ 8967 h 9766"/>
                <a:gd name="connsiteX52" fmla="*/ 5065 w 10000"/>
                <a:gd name="connsiteY52" fmla="*/ 8813 h 9766"/>
                <a:gd name="connsiteX53" fmla="*/ 5285 w 10000"/>
                <a:gd name="connsiteY53" fmla="*/ 8663 h 9766"/>
                <a:gd name="connsiteX54" fmla="*/ 5494 w 10000"/>
                <a:gd name="connsiteY54" fmla="*/ 8505 h 9766"/>
                <a:gd name="connsiteX55" fmla="*/ 5708 w 10000"/>
                <a:gd name="connsiteY55" fmla="*/ 8342 h 9766"/>
                <a:gd name="connsiteX56" fmla="*/ 5911 w 10000"/>
                <a:gd name="connsiteY56" fmla="*/ 8172 h 9766"/>
                <a:gd name="connsiteX57" fmla="*/ 6115 w 10000"/>
                <a:gd name="connsiteY57" fmla="*/ 8005 h 9766"/>
                <a:gd name="connsiteX58" fmla="*/ 6310 w 10000"/>
                <a:gd name="connsiteY58" fmla="*/ 7834 h 9766"/>
                <a:gd name="connsiteX59" fmla="*/ 6508 w 10000"/>
                <a:gd name="connsiteY59" fmla="*/ 7653 h 9766"/>
                <a:gd name="connsiteX60" fmla="*/ 6698 w 10000"/>
                <a:gd name="connsiteY60" fmla="*/ 7466 h 9766"/>
                <a:gd name="connsiteX61" fmla="*/ 6882 w 10000"/>
                <a:gd name="connsiteY61" fmla="*/ 7287 h 9766"/>
                <a:gd name="connsiteX62" fmla="*/ 7064 w 10000"/>
                <a:gd name="connsiteY62" fmla="*/ 7097 h 9766"/>
                <a:gd name="connsiteX63" fmla="*/ 7239 w 10000"/>
                <a:gd name="connsiteY63" fmla="*/ 6903 h 9766"/>
                <a:gd name="connsiteX64" fmla="*/ 7414 w 10000"/>
                <a:gd name="connsiteY64" fmla="*/ 6708 h 9766"/>
                <a:gd name="connsiteX65" fmla="*/ 7582 w 10000"/>
                <a:gd name="connsiteY65" fmla="*/ 6510 h 9766"/>
                <a:gd name="connsiteX66" fmla="*/ 7750 w 10000"/>
                <a:gd name="connsiteY66" fmla="*/ 6303 h 9766"/>
                <a:gd name="connsiteX67" fmla="*/ 7905 w 10000"/>
                <a:gd name="connsiteY67" fmla="*/ 6096 h 9766"/>
                <a:gd name="connsiteX68" fmla="*/ 8057 w 10000"/>
                <a:gd name="connsiteY68" fmla="*/ 5886 h 9766"/>
                <a:gd name="connsiteX69" fmla="*/ 8211 w 10000"/>
                <a:gd name="connsiteY69" fmla="*/ 5676 h 9766"/>
                <a:gd name="connsiteX70" fmla="*/ 8354 w 10000"/>
                <a:gd name="connsiteY70" fmla="*/ 5456 h 9766"/>
                <a:gd name="connsiteX71" fmla="*/ 8493 w 10000"/>
                <a:gd name="connsiteY71" fmla="*/ 5240 h 9766"/>
                <a:gd name="connsiteX72" fmla="*/ 8628 w 10000"/>
                <a:gd name="connsiteY72" fmla="*/ 5018 h 9766"/>
                <a:gd name="connsiteX73" fmla="*/ 8754 w 10000"/>
                <a:gd name="connsiteY73" fmla="*/ 4789 h 9766"/>
                <a:gd name="connsiteX74" fmla="*/ 8877 w 10000"/>
                <a:gd name="connsiteY74" fmla="*/ 4561 h 9766"/>
                <a:gd name="connsiteX75" fmla="*/ 9003 w 10000"/>
                <a:gd name="connsiteY75" fmla="*/ 4331 h 9766"/>
                <a:gd name="connsiteX76" fmla="*/ 9120 w 10000"/>
                <a:gd name="connsiteY76" fmla="*/ 4098 h 9766"/>
                <a:gd name="connsiteX77" fmla="*/ 9224 w 10000"/>
                <a:gd name="connsiteY77" fmla="*/ 3863 h 9766"/>
                <a:gd name="connsiteX78" fmla="*/ 9330 w 10000"/>
                <a:gd name="connsiteY78" fmla="*/ 3624 h 9766"/>
                <a:gd name="connsiteX79" fmla="*/ 9425 w 10000"/>
                <a:gd name="connsiteY79" fmla="*/ 3380 h 9766"/>
                <a:gd name="connsiteX80" fmla="*/ 9520 w 10000"/>
                <a:gd name="connsiteY80" fmla="*/ 3139 h 9766"/>
                <a:gd name="connsiteX81" fmla="*/ 9604 w 10000"/>
                <a:gd name="connsiteY81" fmla="*/ 2891 h 9766"/>
                <a:gd name="connsiteX82" fmla="*/ 9684 w 10000"/>
                <a:gd name="connsiteY82" fmla="*/ 2640 h 9766"/>
                <a:gd name="connsiteX83" fmla="*/ 9758 w 10000"/>
                <a:gd name="connsiteY83" fmla="*/ 2388 h 9766"/>
                <a:gd name="connsiteX84" fmla="*/ 9831 w 10000"/>
                <a:gd name="connsiteY84" fmla="*/ 2138 h 9766"/>
                <a:gd name="connsiteX85" fmla="*/ 9892 w 10000"/>
                <a:gd name="connsiteY85" fmla="*/ 1884 h 9766"/>
                <a:gd name="connsiteX86" fmla="*/ 9951 w 10000"/>
                <a:gd name="connsiteY86" fmla="*/ 1625 h 9766"/>
                <a:gd name="connsiteX87" fmla="*/ 10000 w 10000"/>
                <a:gd name="connsiteY87" fmla="*/ 1364 h 9766"/>
                <a:gd name="connsiteX88" fmla="*/ 6011 w 10000"/>
                <a:gd name="connsiteY88" fmla="*/ 2092 h 9766"/>
                <a:gd name="connsiteX89" fmla="*/ 2680 w 10000"/>
                <a:gd name="connsiteY89" fmla="*/ 0 h 9766"/>
                <a:gd name="connsiteX0" fmla="*/ 2680 w 10000"/>
                <a:gd name="connsiteY0" fmla="*/ 0 h 10000"/>
                <a:gd name="connsiteX1" fmla="*/ 2680 w 10000"/>
                <a:gd name="connsiteY1" fmla="*/ 0 h 10000"/>
                <a:gd name="connsiteX2" fmla="*/ 2665 w 10000"/>
                <a:gd name="connsiteY2" fmla="*/ 114 h 10000"/>
                <a:gd name="connsiteX3" fmla="*/ 2642 w 10000"/>
                <a:gd name="connsiteY3" fmla="*/ 227 h 10000"/>
                <a:gd name="connsiteX4" fmla="*/ 2621 w 10000"/>
                <a:gd name="connsiteY4" fmla="*/ 342 h 10000"/>
                <a:gd name="connsiteX5" fmla="*/ 2594 w 10000"/>
                <a:gd name="connsiteY5" fmla="*/ 450 h 10000"/>
                <a:gd name="connsiteX6" fmla="*/ 2561 w 10000"/>
                <a:gd name="connsiteY6" fmla="*/ 559 h 10000"/>
                <a:gd name="connsiteX7" fmla="*/ 2530 w 10000"/>
                <a:gd name="connsiteY7" fmla="*/ 671 h 10000"/>
                <a:gd name="connsiteX8" fmla="*/ 2502 w 10000"/>
                <a:gd name="connsiteY8" fmla="*/ 777 h 10000"/>
                <a:gd name="connsiteX9" fmla="*/ 2468 w 10000"/>
                <a:gd name="connsiteY9" fmla="*/ 887 h 10000"/>
                <a:gd name="connsiteX10" fmla="*/ 2428 w 10000"/>
                <a:gd name="connsiteY10" fmla="*/ 993 h 10000"/>
                <a:gd name="connsiteX11" fmla="*/ 2386 w 10000"/>
                <a:gd name="connsiteY11" fmla="*/ 1097 h 10000"/>
                <a:gd name="connsiteX12" fmla="*/ 2347 w 10000"/>
                <a:gd name="connsiteY12" fmla="*/ 1204 h 10000"/>
                <a:gd name="connsiteX13" fmla="*/ 2299 w 10000"/>
                <a:gd name="connsiteY13" fmla="*/ 1310 h 10000"/>
                <a:gd name="connsiteX14" fmla="*/ 2248 w 10000"/>
                <a:gd name="connsiteY14" fmla="*/ 1406 h 10000"/>
                <a:gd name="connsiteX15" fmla="*/ 2200 w 10000"/>
                <a:gd name="connsiteY15" fmla="*/ 1507 h 10000"/>
                <a:gd name="connsiteX16" fmla="*/ 2149 w 10000"/>
                <a:gd name="connsiteY16" fmla="*/ 1607 h 10000"/>
                <a:gd name="connsiteX17" fmla="*/ 2092 w 10000"/>
                <a:gd name="connsiteY17" fmla="*/ 1706 h 10000"/>
                <a:gd name="connsiteX18" fmla="*/ 2041 w 10000"/>
                <a:gd name="connsiteY18" fmla="*/ 1805 h 10000"/>
                <a:gd name="connsiteX19" fmla="*/ 1981 w 10000"/>
                <a:gd name="connsiteY19" fmla="*/ 1900 h 10000"/>
                <a:gd name="connsiteX20" fmla="*/ 1919 w 10000"/>
                <a:gd name="connsiteY20" fmla="*/ 1989 h 10000"/>
                <a:gd name="connsiteX21" fmla="*/ 1854 w 10000"/>
                <a:gd name="connsiteY21" fmla="*/ 2081 h 10000"/>
                <a:gd name="connsiteX22" fmla="*/ 1794 w 10000"/>
                <a:gd name="connsiteY22" fmla="*/ 2171 h 10000"/>
                <a:gd name="connsiteX23" fmla="*/ 1725 w 10000"/>
                <a:gd name="connsiteY23" fmla="*/ 2268 h 10000"/>
                <a:gd name="connsiteX24" fmla="*/ 1656 w 10000"/>
                <a:gd name="connsiteY24" fmla="*/ 2353 h 10000"/>
                <a:gd name="connsiteX25" fmla="*/ 1583 w 10000"/>
                <a:gd name="connsiteY25" fmla="*/ 2433 h 10000"/>
                <a:gd name="connsiteX26" fmla="*/ 1509 w 10000"/>
                <a:gd name="connsiteY26" fmla="*/ 2523 h 10000"/>
                <a:gd name="connsiteX27" fmla="*/ 1435 w 10000"/>
                <a:gd name="connsiteY27" fmla="*/ 2606 h 10000"/>
                <a:gd name="connsiteX28" fmla="*/ 1356 w 10000"/>
                <a:gd name="connsiteY28" fmla="*/ 2686 h 10000"/>
                <a:gd name="connsiteX29" fmla="*/ 1279 w 10000"/>
                <a:gd name="connsiteY29" fmla="*/ 2772 h 10000"/>
                <a:gd name="connsiteX30" fmla="*/ 1200 w 10000"/>
                <a:gd name="connsiteY30" fmla="*/ 2849 h 10000"/>
                <a:gd name="connsiteX31" fmla="*/ 1113 w 10000"/>
                <a:gd name="connsiteY31" fmla="*/ 2926 h 10000"/>
                <a:gd name="connsiteX32" fmla="*/ 1033 w 10000"/>
                <a:gd name="connsiteY32" fmla="*/ 2999 h 10000"/>
                <a:gd name="connsiteX33" fmla="*/ 946 w 10000"/>
                <a:gd name="connsiteY33" fmla="*/ 3074 h 10000"/>
                <a:gd name="connsiteX34" fmla="*/ 862 w 10000"/>
                <a:gd name="connsiteY34" fmla="*/ 3145 h 10000"/>
                <a:gd name="connsiteX35" fmla="*/ 767 w 10000"/>
                <a:gd name="connsiteY35" fmla="*/ 3216 h 10000"/>
                <a:gd name="connsiteX36" fmla="*/ 679 w 10000"/>
                <a:gd name="connsiteY36" fmla="*/ 3281 h 10000"/>
                <a:gd name="connsiteX37" fmla="*/ 586 w 10000"/>
                <a:gd name="connsiteY37" fmla="*/ 3349 h 10000"/>
                <a:gd name="connsiteX38" fmla="*/ 492 w 10000"/>
                <a:gd name="connsiteY38" fmla="*/ 3413 h 10000"/>
                <a:gd name="connsiteX39" fmla="*/ 394 w 10000"/>
                <a:gd name="connsiteY39" fmla="*/ 3473 h 10000"/>
                <a:gd name="connsiteX40" fmla="*/ 298 w 10000"/>
                <a:gd name="connsiteY40" fmla="*/ 3537 h 10000"/>
                <a:gd name="connsiteX41" fmla="*/ 203 w 10000"/>
                <a:gd name="connsiteY41" fmla="*/ 3595 h 10000"/>
                <a:gd name="connsiteX42" fmla="*/ 101 w 10000"/>
                <a:gd name="connsiteY42" fmla="*/ 3650 h 10000"/>
                <a:gd name="connsiteX43" fmla="*/ 0 w 10000"/>
                <a:gd name="connsiteY43" fmla="*/ 3704 h 10000"/>
                <a:gd name="connsiteX44" fmla="*/ 187 w 10000"/>
                <a:gd name="connsiteY44" fmla="*/ 7509 h 10000"/>
                <a:gd name="connsiteX45" fmla="*/ 3449 w 10000"/>
                <a:gd name="connsiteY45" fmla="*/ 10000 h 10000"/>
                <a:gd name="connsiteX46" fmla="*/ 3689 w 10000"/>
                <a:gd name="connsiteY46" fmla="*/ 9880 h 10000"/>
                <a:gd name="connsiteX47" fmla="*/ 3930 w 10000"/>
                <a:gd name="connsiteY47" fmla="*/ 9746 h 10000"/>
                <a:gd name="connsiteX48" fmla="*/ 4165 w 10000"/>
                <a:gd name="connsiteY48" fmla="*/ 9613 h 10000"/>
                <a:gd name="connsiteX49" fmla="*/ 4397 w 10000"/>
                <a:gd name="connsiteY49" fmla="*/ 9473 h 10000"/>
                <a:gd name="connsiteX50" fmla="*/ 4628 w 10000"/>
                <a:gd name="connsiteY50" fmla="*/ 9327 h 10000"/>
                <a:gd name="connsiteX51" fmla="*/ 4845 w 10000"/>
                <a:gd name="connsiteY51" fmla="*/ 9182 h 10000"/>
                <a:gd name="connsiteX52" fmla="*/ 5065 w 10000"/>
                <a:gd name="connsiteY52" fmla="*/ 9024 h 10000"/>
                <a:gd name="connsiteX53" fmla="*/ 5285 w 10000"/>
                <a:gd name="connsiteY53" fmla="*/ 8871 h 10000"/>
                <a:gd name="connsiteX54" fmla="*/ 5494 w 10000"/>
                <a:gd name="connsiteY54" fmla="*/ 8709 h 10000"/>
                <a:gd name="connsiteX55" fmla="*/ 5708 w 10000"/>
                <a:gd name="connsiteY55" fmla="*/ 8542 h 10000"/>
                <a:gd name="connsiteX56" fmla="*/ 5911 w 10000"/>
                <a:gd name="connsiteY56" fmla="*/ 8368 h 10000"/>
                <a:gd name="connsiteX57" fmla="*/ 6115 w 10000"/>
                <a:gd name="connsiteY57" fmla="*/ 8197 h 10000"/>
                <a:gd name="connsiteX58" fmla="*/ 6310 w 10000"/>
                <a:gd name="connsiteY58" fmla="*/ 8022 h 10000"/>
                <a:gd name="connsiteX59" fmla="*/ 6508 w 10000"/>
                <a:gd name="connsiteY59" fmla="*/ 7836 h 10000"/>
                <a:gd name="connsiteX60" fmla="*/ 6698 w 10000"/>
                <a:gd name="connsiteY60" fmla="*/ 7645 h 10000"/>
                <a:gd name="connsiteX61" fmla="*/ 6882 w 10000"/>
                <a:gd name="connsiteY61" fmla="*/ 7462 h 10000"/>
                <a:gd name="connsiteX62" fmla="*/ 7064 w 10000"/>
                <a:gd name="connsiteY62" fmla="*/ 7267 h 10000"/>
                <a:gd name="connsiteX63" fmla="*/ 7239 w 10000"/>
                <a:gd name="connsiteY63" fmla="*/ 7068 h 10000"/>
                <a:gd name="connsiteX64" fmla="*/ 7414 w 10000"/>
                <a:gd name="connsiteY64" fmla="*/ 6869 h 10000"/>
                <a:gd name="connsiteX65" fmla="*/ 7582 w 10000"/>
                <a:gd name="connsiteY65" fmla="*/ 6666 h 10000"/>
                <a:gd name="connsiteX66" fmla="*/ 7750 w 10000"/>
                <a:gd name="connsiteY66" fmla="*/ 6454 h 10000"/>
                <a:gd name="connsiteX67" fmla="*/ 7905 w 10000"/>
                <a:gd name="connsiteY67" fmla="*/ 6242 h 10000"/>
                <a:gd name="connsiteX68" fmla="*/ 8057 w 10000"/>
                <a:gd name="connsiteY68" fmla="*/ 6027 h 10000"/>
                <a:gd name="connsiteX69" fmla="*/ 8211 w 10000"/>
                <a:gd name="connsiteY69" fmla="*/ 5812 h 10000"/>
                <a:gd name="connsiteX70" fmla="*/ 8354 w 10000"/>
                <a:gd name="connsiteY70" fmla="*/ 5587 h 10000"/>
                <a:gd name="connsiteX71" fmla="*/ 8493 w 10000"/>
                <a:gd name="connsiteY71" fmla="*/ 5366 h 10000"/>
                <a:gd name="connsiteX72" fmla="*/ 8628 w 10000"/>
                <a:gd name="connsiteY72" fmla="*/ 5138 h 10000"/>
                <a:gd name="connsiteX73" fmla="*/ 8754 w 10000"/>
                <a:gd name="connsiteY73" fmla="*/ 4904 h 10000"/>
                <a:gd name="connsiteX74" fmla="*/ 8877 w 10000"/>
                <a:gd name="connsiteY74" fmla="*/ 4670 h 10000"/>
                <a:gd name="connsiteX75" fmla="*/ 9003 w 10000"/>
                <a:gd name="connsiteY75" fmla="*/ 4435 h 10000"/>
                <a:gd name="connsiteX76" fmla="*/ 9120 w 10000"/>
                <a:gd name="connsiteY76" fmla="*/ 4196 h 10000"/>
                <a:gd name="connsiteX77" fmla="*/ 9224 w 10000"/>
                <a:gd name="connsiteY77" fmla="*/ 3956 h 10000"/>
                <a:gd name="connsiteX78" fmla="*/ 9330 w 10000"/>
                <a:gd name="connsiteY78" fmla="*/ 3711 h 10000"/>
                <a:gd name="connsiteX79" fmla="*/ 9425 w 10000"/>
                <a:gd name="connsiteY79" fmla="*/ 3461 h 10000"/>
                <a:gd name="connsiteX80" fmla="*/ 9520 w 10000"/>
                <a:gd name="connsiteY80" fmla="*/ 3214 h 10000"/>
                <a:gd name="connsiteX81" fmla="*/ 9604 w 10000"/>
                <a:gd name="connsiteY81" fmla="*/ 2960 h 10000"/>
                <a:gd name="connsiteX82" fmla="*/ 9684 w 10000"/>
                <a:gd name="connsiteY82" fmla="*/ 2703 h 10000"/>
                <a:gd name="connsiteX83" fmla="*/ 9758 w 10000"/>
                <a:gd name="connsiteY83" fmla="*/ 2445 h 10000"/>
                <a:gd name="connsiteX84" fmla="*/ 9831 w 10000"/>
                <a:gd name="connsiteY84" fmla="*/ 2189 h 10000"/>
                <a:gd name="connsiteX85" fmla="*/ 9892 w 10000"/>
                <a:gd name="connsiteY85" fmla="*/ 1929 h 10000"/>
                <a:gd name="connsiteX86" fmla="*/ 9951 w 10000"/>
                <a:gd name="connsiteY86" fmla="*/ 1664 h 10000"/>
                <a:gd name="connsiteX87" fmla="*/ 10000 w 10000"/>
                <a:gd name="connsiteY87" fmla="*/ 1397 h 10000"/>
                <a:gd name="connsiteX88" fmla="*/ 6011 w 10000"/>
                <a:gd name="connsiteY88" fmla="*/ 2142 h 10000"/>
                <a:gd name="connsiteX89" fmla="*/ 2680 w 10000"/>
                <a:gd name="connsiteY89" fmla="*/ 0 h 10000"/>
                <a:gd name="connsiteX0" fmla="*/ 2680 w 10000"/>
                <a:gd name="connsiteY0" fmla="*/ 0 h 10084"/>
                <a:gd name="connsiteX1" fmla="*/ 2680 w 10000"/>
                <a:gd name="connsiteY1" fmla="*/ 0 h 10084"/>
                <a:gd name="connsiteX2" fmla="*/ 2665 w 10000"/>
                <a:gd name="connsiteY2" fmla="*/ 114 h 10084"/>
                <a:gd name="connsiteX3" fmla="*/ 2642 w 10000"/>
                <a:gd name="connsiteY3" fmla="*/ 227 h 10084"/>
                <a:gd name="connsiteX4" fmla="*/ 2621 w 10000"/>
                <a:gd name="connsiteY4" fmla="*/ 342 h 10084"/>
                <a:gd name="connsiteX5" fmla="*/ 2594 w 10000"/>
                <a:gd name="connsiteY5" fmla="*/ 450 h 10084"/>
                <a:gd name="connsiteX6" fmla="*/ 2561 w 10000"/>
                <a:gd name="connsiteY6" fmla="*/ 559 h 10084"/>
                <a:gd name="connsiteX7" fmla="*/ 2530 w 10000"/>
                <a:gd name="connsiteY7" fmla="*/ 671 h 10084"/>
                <a:gd name="connsiteX8" fmla="*/ 2502 w 10000"/>
                <a:gd name="connsiteY8" fmla="*/ 777 h 10084"/>
                <a:gd name="connsiteX9" fmla="*/ 2468 w 10000"/>
                <a:gd name="connsiteY9" fmla="*/ 887 h 10084"/>
                <a:gd name="connsiteX10" fmla="*/ 2428 w 10000"/>
                <a:gd name="connsiteY10" fmla="*/ 993 h 10084"/>
                <a:gd name="connsiteX11" fmla="*/ 2386 w 10000"/>
                <a:gd name="connsiteY11" fmla="*/ 1097 h 10084"/>
                <a:gd name="connsiteX12" fmla="*/ 2347 w 10000"/>
                <a:gd name="connsiteY12" fmla="*/ 1204 h 10084"/>
                <a:gd name="connsiteX13" fmla="*/ 2299 w 10000"/>
                <a:gd name="connsiteY13" fmla="*/ 1310 h 10084"/>
                <a:gd name="connsiteX14" fmla="*/ 2248 w 10000"/>
                <a:gd name="connsiteY14" fmla="*/ 1406 h 10084"/>
                <a:gd name="connsiteX15" fmla="*/ 2200 w 10000"/>
                <a:gd name="connsiteY15" fmla="*/ 1507 h 10084"/>
                <a:gd name="connsiteX16" fmla="*/ 2149 w 10000"/>
                <a:gd name="connsiteY16" fmla="*/ 1607 h 10084"/>
                <a:gd name="connsiteX17" fmla="*/ 2092 w 10000"/>
                <a:gd name="connsiteY17" fmla="*/ 1706 h 10084"/>
                <a:gd name="connsiteX18" fmla="*/ 2041 w 10000"/>
                <a:gd name="connsiteY18" fmla="*/ 1805 h 10084"/>
                <a:gd name="connsiteX19" fmla="*/ 1981 w 10000"/>
                <a:gd name="connsiteY19" fmla="*/ 1900 h 10084"/>
                <a:gd name="connsiteX20" fmla="*/ 1919 w 10000"/>
                <a:gd name="connsiteY20" fmla="*/ 1989 h 10084"/>
                <a:gd name="connsiteX21" fmla="*/ 1854 w 10000"/>
                <a:gd name="connsiteY21" fmla="*/ 2081 h 10084"/>
                <a:gd name="connsiteX22" fmla="*/ 1794 w 10000"/>
                <a:gd name="connsiteY22" fmla="*/ 2171 h 10084"/>
                <a:gd name="connsiteX23" fmla="*/ 1725 w 10000"/>
                <a:gd name="connsiteY23" fmla="*/ 2268 h 10084"/>
                <a:gd name="connsiteX24" fmla="*/ 1656 w 10000"/>
                <a:gd name="connsiteY24" fmla="*/ 2353 h 10084"/>
                <a:gd name="connsiteX25" fmla="*/ 1583 w 10000"/>
                <a:gd name="connsiteY25" fmla="*/ 2433 h 10084"/>
                <a:gd name="connsiteX26" fmla="*/ 1509 w 10000"/>
                <a:gd name="connsiteY26" fmla="*/ 2523 h 10084"/>
                <a:gd name="connsiteX27" fmla="*/ 1435 w 10000"/>
                <a:gd name="connsiteY27" fmla="*/ 2606 h 10084"/>
                <a:gd name="connsiteX28" fmla="*/ 1356 w 10000"/>
                <a:gd name="connsiteY28" fmla="*/ 2686 h 10084"/>
                <a:gd name="connsiteX29" fmla="*/ 1279 w 10000"/>
                <a:gd name="connsiteY29" fmla="*/ 2772 h 10084"/>
                <a:gd name="connsiteX30" fmla="*/ 1200 w 10000"/>
                <a:gd name="connsiteY30" fmla="*/ 2849 h 10084"/>
                <a:gd name="connsiteX31" fmla="*/ 1113 w 10000"/>
                <a:gd name="connsiteY31" fmla="*/ 2926 h 10084"/>
                <a:gd name="connsiteX32" fmla="*/ 1033 w 10000"/>
                <a:gd name="connsiteY32" fmla="*/ 2999 h 10084"/>
                <a:gd name="connsiteX33" fmla="*/ 946 w 10000"/>
                <a:gd name="connsiteY33" fmla="*/ 3074 h 10084"/>
                <a:gd name="connsiteX34" fmla="*/ 862 w 10000"/>
                <a:gd name="connsiteY34" fmla="*/ 3145 h 10084"/>
                <a:gd name="connsiteX35" fmla="*/ 767 w 10000"/>
                <a:gd name="connsiteY35" fmla="*/ 3216 h 10084"/>
                <a:gd name="connsiteX36" fmla="*/ 679 w 10000"/>
                <a:gd name="connsiteY36" fmla="*/ 3281 h 10084"/>
                <a:gd name="connsiteX37" fmla="*/ 586 w 10000"/>
                <a:gd name="connsiteY37" fmla="*/ 3349 h 10084"/>
                <a:gd name="connsiteX38" fmla="*/ 492 w 10000"/>
                <a:gd name="connsiteY38" fmla="*/ 3413 h 10084"/>
                <a:gd name="connsiteX39" fmla="*/ 394 w 10000"/>
                <a:gd name="connsiteY39" fmla="*/ 3473 h 10084"/>
                <a:gd name="connsiteX40" fmla="*/ 298 w 10000"/>
                <a:gd name="connsiteY40" fmla="*/ 3537 h 10084"/>
                <a:gd name="connsiteX41" fmla="*/ 203 w 10000"/>
                <a:gd name="connsiteY41" fmla="*/ 3595 h 10084"/>
                <a:gd name="connsiteX42" fmla="*/ 101 w 10000"/>
                <a:gd name="connsiteY42" fmla="*/ 3650 h 10084"/>
                <a:gd name="connsiteX43" fmla="*/ 0 w 10000"/>
                <a:gd name="connsiteY43" fmla="*/ 3704 h 10084"/>
                <a:gd name="connsiteX44" fmla="*/ 187 w 10000"/>
                <a:gd name="connsiteY44" fmla="*/ 7509 h 10084"/>
                <a:gd name="connsiteX45" fmla="*/ 3424 w 10000"/>
                <a:gd name="connsiteY45" fmla="*/ 10084 h 10084"/>
                <a:gd name="connsiteX46" fmla="*/ 3689 w 10000"/>
                <a:gd name="connsiteY46" fmla="*/ 9880 h 10084"/>
                <a:gd name="connsiteX47" fmla="*/ 3930 w 10000"/>
                <a:gd name="connsiteY47" fmla="*/ 9746 h 10084"/>
                <a:gd name="connsiteX48" fmla="*/ 4165 w 10000"/>
                <a:gd name="connsiteY48" fmla="*/ 9613 h 10084"/>
                <a:gd name="connsiteX49" fmla="*/ 4397 w 10000"/>
                <a:gd name="connsiteY49" fmla="*/ 9473 h 10084"/>
                <a:gd name="connsiteX50" fmla="*/ 4628 w 10000"/>
                <a:gd name="connsiteY50" fmla="*/ 9327 h 10084"/>
                <a:gd name="connsiteX51" fmla="*/ 4845 w 10000"/>
                <a:gd name="connsiteY51" fmla="*/ 9182 h 10084"/>
                <a:gd name="connsiteX52" fmla="*/ 5065 w 10000"/>
                <a:gd name="connsiteY52" fmla="*/ 9024 h 10084"/>
                <a:gd name="connsiteX53" fmla="*/ 5285 w 10000"/>
                <a:gd name="connsiteY53" fmla="*/ 8871 h 10084"/>
                <a:gd name="connsiteX54" fmla="*/ 5494 w 10000"/>
                <a:gd name="connsiteY54" fmla="*/ 8709 h 10084"/>
                <a:gd name="connsiteX55" fmla="*/ 5708 w 10000"/>
                <a:gd name="connsiteY55" fmla="*/ 8542 h 10084"/>
                <a:gd name="connsiteX56" fmla="*/ 5911 w 10000"/>
                <a:gd name="connsiteY56" fmla="*/ 8368 h 10084"/>
                <a:gd name="connsiteX57" fmla="*/ 6115 w 10000"/>
                <a:gd name="connsiteY57" fmla="*/ 8197 h 10084"/>
                <a:gd name="connsiteX58" fmla="*/ 6310 w 10000"/>
                <a:gd name="connsiteY58" fmla="*/ 8022 h 10084"/>
                <a:gd name="connsiteX59" fmla="*/ 6508 w 10000"/>
                <a:gd name="connsiteY59" fmla="*/ 7836 h 10084"/>
                <a:gd name="connsiteX60" fmla="*/ 6698 w 10000"/>
                <a:gd name="connsiteY60" fmla="*/ 7645 h 10084"/>
                <a:gd name="connsiteX61" fmla="*/ 6882 w 10000"/>
                <a:gd name="connsiteY61" fmla="*/ 7462 h 10084"/>
                <a:gd name="connsiteX62" fmla="*/ 7064 w 10000"/>
                <a:gd name="connsiteY62" fmla="*/ 7267 h 10084"/>
                <a:gd name="connsiteX63" fmla="*/ 7239 w 10000"/>
                <a:gd name="connsiteY63" fmla="*/ 7068 h 10084"/>
                <a:gd name="connsiteX64" fmla="*/ 7414 w 10000"/>
                <a:gd name="connsiteY64" fmla="*/ 6869 h 10084"/>
                <a:gd name="connsiteX65" fmla="*/ 7582 w 10000"/>
                <a:gd name="connsiteY65" fmla="*/ 6666 h 10084"/>
                <a:gd name="connsiteX66" fmla="*/ 7750 w 10000"/>
                <a:gd name="connsiteY66" fmla="*/ 6454 h 10084"/>
                <a:gd name="connsiteX67" fmla="*/ 7905 w 10000"/>
                <a:gd name="connsiteY67" fmla="*/ 6242 h 10084"/>
                <a:gd name="connsiteX68" fmla="*/ 8057 w 10000"/>
                <a:gd name="connsiteY68" fmla="*/ 6027 h 10084"/>
                <a:gd name="connsiteX69" fmla="*/ 8211 w 10000"/>
                <a:gd name="connsiteY69" fmla="*/ 5812 h 10084"/>
                <a:gd name="connsiteX70" fmla="*/ 8354 w 10000"/>
                <a:gd name="connsiteY70" fmla="*/ 5587 h 10084"/>
                <a:gd name="connsiteX71" fmla="*/ 8493 w 10000"/>
                <a:gd name="connsiteY71" fmla="*/ 5366 h 10084"/>
                <a:gd name="connsiteX72" fmla="*/ 8628 w 10000"/>
                <a:gd name="connsiteY72" fmla="*/ 5138 h 10084"/>
                <a:gd name="connsiteX73" fmla="*/ 8754 w 10000"/>
                <a:gd name="connsiteY73" fmla="*/ 4904 h 10084"/>
                <a:gd name="connsiteX74" fmla="*/ 8877 w 10000"/>
                <a:gd name="connsiteY74" fmla="*/ 4670 h 10084"/>
                <a:gd name="connsiteX75" fmla="*/ 9003 w 10000"/>
                <a:gd name="connsiteY75" fmla="*/ 4435 h 10084"/>
                <a:gd name="connsiteX76" fmla="*/ 9120 w 10000"/>
                <a:gd name="connsiteY76" fmla="*/ 4196 h 10084"/>
                <a:gd name="connsiteX77" fmla="*/ 9224 w 10000"/>
                <a:gd name="connsiteY77" fmla="*/ 3956 h 10084"/>
                <a:gd name="connsiteX78" fmla="*/ 9330 w 10000"/>
                <a:gd name="connsiteY78" fmla="*/ 3711 h 10084"/>
                <a:gd name="connsiteX79" fmla="*/ 9425 w 10000"/>
                <a:gd name="connsiteY79" fmla="*/ 3461 h 10084"/>
                <a:gd name="connsiteX80" fmla="*/ 9520 w 10000"/>
                <a:gd name="connsiteY80" fmla="*/ 3214 h 10084"/>
                <a:gd name="connsiteX81" fmla="*/ 9604 w 10000"/>
                <a:gd name="connsiteY81" fmla="*/ 2960 h 10084"/>
                <a:gd name="connsiteX82" fmla="*/ 9684 w 10000"/>
                <a:gd name="connsiteY82" fmla="*/ 2703 h 10084"/>
                <a:gd name="connsiteX83" fmla="*/ 9758 w 10000"/>
                <a:gd name="connsiteY83" fmla="*/ 2445 h 10084"/>
                <a:gd name="connsiteX84" fmla="*/ 9831 w 10000"/>
                <a:gd name="connsiteY84" fmla="*/ 2189 h 10084"/>
                <a:gd name="connsiteX85" fmla="*/ 9892 w 10000"/>
                <a:gd name="connsiteY85" fmla="*/ 1929 h 10084"/>
                <a:gd name="connsiteX86" fmla="*/ 9951 w 10000"/>
                <a:gd name="connsiteY86" fmla="*/ 1664 h 10084"/>
                <a:gd name="connsiteX87" fmla="*/ 10000 w 10000"/>
                <a:gd name="connsiteY87" fmla="*/ 1397 h 10084"/>
                <a:gd name="connsiteX88" fmla="*/ 6011 w 10000"/>
                <a:gd name="connsiteY88" fmla="*/ 2142 h 10084"/>
                <a:gd name="connsiteX89" fmla="*/ 2680 w 10000"/>
                <a:gd name="connsiteY89" fmla="*/ 0 h 10084"/>
                <a:gd name="connsiteX0" fmla="*/ 2680 w 10000"/>
                <a:gd name="connsiteY0" fmla="*/ 0 h 10048"/>
                <a:gd name="connsiteX1" fmla="*/ 2680 w 10000"/>
                <a:gd name="connsiteY1" fmla="*/ 0 h 10048"/>
                <a:gd name="connsiteX2" fmla="*/ 2665 w 10000"/>
                <a:gd name="connsiteY2" fmla="*/ 114 h 10048"/>
                <a:gd name="connsiteX3" fmla="*/ 2642 w 10000"/>
                <a:gd name="connsiteY3" fmla="*/ 227 h 10048"/>
                <a:gd name="connsiteX4" fmla="*/ 2621 w 10000"/>
                <a:gd name="connsiteY4" fmla="*/ 342 h 10048"/>
                <a:gd name="connsiteX5" fmla="*/ 2594 w 10000"/>
                <a:gd name="connsiteY5" fmla="*/ 450 h 10048"/>
                <a:gd name="connsiteX6" fmla="*/ 2561 w 10000"/>
                <a:gd name="connsiteY6" fmla="*/ 559 h 10048"/>
                <a:gd name="connsiteX7" fmla="*/ 2530 w 10000"/>
                <a:gd name="connsiteY7" fmla="*/ 671 h 10048"/>
                <a:gd name="connsiteX8" fmla="*/ 2502 w 10000"/>
                <a:gd name="connsiteY8" fmla="*/ 777 h 10048"/>
                <a:gd name="connsiteX9" fmla="*/ 2468 w 10000"/>
                <a:gd name="connsiteY9" fmla="*/ 887 h 10048"/>
                <a:gd name="connsiteX10" fmla="*/ 2428 w 10000"/>
                <a:gd name="connsiteY10" fmla="*/ 993 h 10048"/>
                <a:gd name="connsiteX11" fmla="*/ 2386 w 10000"/>
                <a:gd name="connsiteY11" fmla="*/ 1097 h 10048"/>
                <a:gd name="connsiteX12" fmla="*/ 2347 w 10000"/>
                <a:gd name="connsiteY12" fmla="*/ 1204 h 10048"/>
                <a:gd name="connsiteX13" fmla="*/ 2299 w 10000"/>
                <a:gd name="connsiteY13" fmla="*/ 1310 h 10048"/>
                <a:gd name="connsiteX14" fmla="*/ 2248 w 10000"/>
                <a:gd name="connsiteY14" fmla="*/ 1406 h 10048"/>
                <a:gd name="connsiteX15" fmla="*/ 2200 w 10000"/>
                <a:gd name="connsiteY15" fmla="*/ 1507 h 10048"/>
                <a:gd name="connsiteX16" fmla="*/ 2149 w 10000"/>
                <a:gd name="connsiteY16" fmla="*/ 1607 h 10048"/>
                <a:gd name="connsiteX17" fmla="*/ 2092 w 10000"/>
                <a:gd name="connsiteY17" fmla="*/ 1706 h 10048"/>
                <a:gd name="connsiteX18" fmla="*/ 2041 w 10000"/>
                <a:gd name="connsiteY18" fmla="*/ 1805 h 10048"/>
                <a:gd name="connsiteX19" fmla="*/ 1981 w 10000"/>
                <a:gd name="connsiteY19" fmla="*/ 1900 h 10048"/>
                <a:gd name="connsiteX20" fmla="*/ 1919 w 10000"/>
                <a:gd name="connsiteY20" fmla="*/ 1989 h 10048"/>
                <a:gd name="connsiteX21" fmla="*/ 1854 w 10000"/>
                <a:gd name="connsiteY21" fmla="*/ 2081 h 10048"/>
                <a:gd name="connsiteX22" fmla="*/ 1794 w 10000"/>
                <a:gd name="connsiteY22" fmla="*/ 2171 h 10048"/>
                <a:gd name="connsiteX23" fmla="*/ 1725 w 10000"/>
                <a:gd name="connsiteY23" fmla="*/ 2268 h 10048"/>
                <a:gd name="connsiteX24" fmla="*/ 1656 w 10000"/>
                <a:gd name="connsiteY24" fmla="*/ 2353 h 10048"/>
                <a:gd name="connsiteX25" fmla="*/ 1583 w 10000"/>
                <a:gd name="connsiteY25" fmla="*/ 2433 h 10048"/>
                <a:gd name="connsiteX26" fmla="*/ 1509 w 10000"/>
                <a:gd name="connsiteY26" fmla="*/ 2523 h 10048"/>
                <a:gd name="connsiteX27" fmla="*/ 1435 w 10000"/>
                <a:gd name="connsiteY27" fmla="*/ 2606 h 10048"/>
                <a:gd name="connsiteX28" fmla="*/ 1356 w 10000"/>
                <a:gd name="connsiteY28" fmla="*/ 2686 h 10048"/>
                <a:gd name="connsiteX29" fmla="*/ 1279 w 10000"/>
                <a:gd name="connsiteY29" fmla="*/ 2772 h 10048"/>
                <a:gd name="connsiteX30" fmla="*/ 1200 w 10000"/>
                <a:gd name="connsiteY30" fmla="*/ 2849 h 10048"/>
                <a:gd name="connsiteX31" fmla="*/ 1113 w 10000"/>
                <a:gd name="connsiteY31" fmla="*/ 2926 h 10048"/>
                <a:gd name="connsiteX32" fmla="*/ 1033 w 10000"/>
                <a:gd name="connsiteY32" fmla="*/ 2999 h 10048"/>
                <a:gd name="connsiteX33" fmla="*/ 946 w 10000"/>
                <a:gd name="connsiteY33" fmla="*/ 3074 h 10048"/>
                <a:gd name="connsiteX34" fmla="*/ 862 w 10000"/>
                <a:gd name="connsiteY34" fmla="*/ 3145 h 10048"/>
                <a:gd name="connsiteX35" fmla="*/ 767 w 10000"/>
                <a:gd name="connsiteY35" fmla="*/ 3216 h 10048"/>
                <a:gd name="connsiteX36" fmla="*/ 679 w 10000"/>
                <a:gd name="connsiteY36" fmla="*/ 3281 h 10048"/>
                <a:gd name="connsiteX37" fmla="*/ 586 w 10000"/>
                <a:gd name="connsiteY37" fmla="*/ 3349 h 10048"/>
                <a:gd name="connsiteX38" fmla="*/ 492 w 10000"/>
                <a:gd name="connsiteY38" fmla="*/ 3413 h 10048"/>
                <a:gd name="connsiteX39" fmla="*/ 394 w 10000"/>
                <a:gd name="connsiteY39" fmla="*/ 3473 h 10048"/>
                <a:gd name="connsiteX40" fmla="*/ 298 w 10000"/>
                <a:gd name="connsiteY40" fmla="*/ 3537 h 10048"/>
                <a:gd name="connsiteX41" fmla="*/ 203 w 10000"/>
                <a:gd name="connsiteY41" fmla="*/ 3595 h 10048"/>
                <a:gd name="connsiteX42" fmla="*/ 101 w 10000"/>
                <a:gd name="connsiteY42" fmla="*/ 3650 h 10048"/>
                <a:gd name="connsiteX43" fmla="*/ 0 w 10000"/>
                <a:gd name="connsiteY43" fmla="*/ 3704 h 10048"/>
                <a:gd name="connsiteX44" fmla="*/ 187 w 10000"/>
                <a:gd name="connsiteY44" fmla="*/ 7509 h 10048"/>
                <a:gd name="connsiteX45" fmla="*/ 3386 w 10000"/>
                <a:gd name="connsiteY45" fmla="*/ 10048 h 10048"/>
                <a:gd name="connsiteX46" fmla="*/ 3689 w 10000"/>
                <a:gd name="connsiteY46" fmla="*/ 9880 h 10048"/>
                <a:gd name="connsiteX47" fmla="*/ 3930 w 10000"/>
                <a:gd name="connsiteY47" fmla="*/ 9746 h 10048"/>
                <a:gd name="connsiteX48" fmla="*/ 4165 w 10000"/>
                <a:gd name="connsiteY48" fmla="*/ 9613 h 10048"/>
                <a:gd name="connsiteX49" fmla="*/ 4397 w 10000"/>
                <a:gd name="connsiteY49" fmla="*/ 9473 h 10048"/>
                <a:gd name="connsiteX50" fmla="*/ 4628 w 10000"/>
                <a:gd name="connsiteY50" fmla="*/ 9327 h 10048"/>
                <a:gd name="connsiteX51" fmla="*/ 4845 w 10000"/>
                <a:gd name="connsiteY51" fmla="*/ 9182 h 10048"/>
                <a:gd name="connsiteX52" fmla="*/ 5065 w 10000"/>
                <a:gd name="connsiteY52" fmla="*/ 9024 h 10048"/>
                <a:gd name="connsiteX53" fmla="*/ 5285 w 10000"/>
                <a:gd name="connsiteY53" fmla="*/ 8871 h 10048"/>
                <a:gd name="connsiteX54" fmla="*/ 5494 w 10000"/>
                <a:gd name="connsiteY54" fmla="*/ 8709 h 10048"/>
                <a:gd name="connsiteX55" fmla="*/ 5708 w 10000"/>
                <a:gd name="connsiteY55" fmla="*/ 8542 h 10048"/>
                <a:gd name="connsiteX56" fmla="*/ 5911 w 10000"/>
                <a:gd name="connsiteY56" fmla="*/ 8368 h 10048"/>
                <a:gd name="connsiteX57" fmla="*/ 6115 w 10000"/>
                <a:gd name="connsiteY57" fmla="*/ 8197 h 10048"/>
                <a:gd name="connsiteX58" fmla="*/ 6310 w 10000"/>
                <a:gd name="connsiteY58" fmla="*/ 8022 h 10048"/>
                <a:gd name="connsiteX59" fmla="*/ 6508 w 10000"/>
                <a:gd name="connsiteY59" fmla="*/ 7836 h 10048"/>
                <a:gd name="connsiteX60" fmla="*/ 6698 w 10000"/>
                <a:gd name="connsiteY60" fmla="*/ 7645 h 10048"/>
                <a:gd name="connsiteX61" fmla="*/ 6882 w 10000"/>
                <a:gd name="connsiteY61" fmla="*/ 7462 h 10048"/>
                <a:gd name="connsiteX62" fmla="*/ 7064 w 10000"/>
                <a:gd name="connsiteY62" fmla="*/ 7267 h 10048"/>
                <a:gd name="connsiteX63" fmla="*/ 7239 w 10000"/>
                <a:gd name="connsiteY63" fmla="*/ 7068 h 10048"/>
                <a:gd name="connsiteX64" fmla="*/ 7414 w 10000"/>
                <a:gd name="connsiteY64" fmla="*/ 6869 h 10048"/>
                <a:gd name="connsiteX65" fmla="*/ 7582 w 10000"/>
                <a:gd name="connsiteY65" fmla="*/ 6666 h 10048"/>
                <a:gd name="connsiteX66" fmla="*/ 7750 w 10000"/>
                <a:gd name="connsiteY66" fmla="*/ 6454 h 10048"/>
                <a:gd name="connsiteX67" fmla="*/ 7905 w 10000"/>
                <a:gd name="connsiteY67" fmla="*/ 6242 h 10048"/>
                <a:gd name="connsiteX68" fmla="*/ 8057 w 10000"/>
                <a:gd name="connsiteY68" fmla="*/ 6027 h 10048"/>
                <a:gd name="connsiteX69" fmla="*/ 8211 w 10000"/>
                <a:gd name="connsiteY69" fmla="*/ 5812 h 10048"/>
                <a:gd name="connsiteX70" fmla="*/ 8354 w 10000"/>
                <a:gd name="connsiteY70" fmla="*/ 5587 h 10048"/>
                <a:gd name="connsiteX71" fmla="*/ 8493 w 10000"/>
                <a:gd name="connsiteY71" fmla="*/ 5366 h 10048"/>
                <a:gd name="connsiteX72" fmla="*/ 8628 w 10000"/>
                <a:gd name="connsiteY72" fmla="*/ 5138 h 10048"/>
                <a:gd name="connsiteX73" fmla="*/ 8754 w 10000"/>
                <a:gd name="connsiteY73" fmla="*/ 4904 h 10048"/>
                <a:gd name="connsiteX74" fmla="*/ 8877 w 10000"/>
                <a:gd name="connsiteY74" fmla="*/ 4670 h 10048"/>
                <a:gd name="connsiteX75" fmla="*/ 9003 w 10000"/>
                <a:gd name="connsiteY75" fmla="*/ 4435 h 10048"/>
                <a:gd name="connsiteX76" fmla="*/ 9120 w 10000"/>
                <a:gd name="connsiteY76" fmla="*/ 4196 h 10048"/>
                <a:gd name="connsiteX77" fmla="*/ 9224 w 10000"/>
                <a:gd name="connsiteY77" fmla="*/ 3956 h 10048"/>
                <a:gd name="connsiteX78" fmla="*/ 9330 w 10000"/>
                <a:gd name="connsiteY78" fmla="*/ 3711 h 10048"/>
                <a:gd name="connsiteX79" fmla="*/ 9425 w 10000"/>
                <a:gd name="connsiteY79" fmla="*/ 3461 h 10048"/>
                <a:gd name="connsiteX80" fmla="*/ 9520 w 10000"/>
                <a:gd name="connsiteY80" fmla="*/ 3214 h 10048"/>
                <a:gd name="connsiteX81" fmla="*/ 9604 w 10000"/>
                <a:gd name="connsiteY81" fmla="*/ 2960 h 10048"/>
                <a:gd name="connsiteX82" fmla="*/ 9684 w 10000"/>
                <a:gd name="connsiteY82" fmla="*/ 2703 h 10048"/>
                <a:gd name="connsiteX83" fmla="*/ 9758 w 10000"/>
                <a:gd name="connsiteY83" fmla="*/ 2445 h 10048"/>
                <a:gd name="connsiteX84" fmla="*/ 9831 w 10000"/>
                <a:gd name="connsiteY84" fmla="*/ 2189 h 10048"/>
                <a:gd name="connsiteX85" fmla="*/ 9892 w 10000"/>
                <a:gd name="connsiteY85" fmla="*/ 1929 h 10048"/>
                <a:gd name="connsiteX86" fmla="*/ 9951 w 10000"/>
                <a:gd name="connsiteY86" fmla="*/ 1664 h 10048"/>
                <a:gd name="connsiteX87" fmla="*/ 10000 w 10000"/>
                <a:gd name="connsiteY87" fmla="*/ 1397 h 10048"/>
                <a:gd name="connsiteX88" fmla="*/ 6011 w 10000"/>
                <a:gd name="connsiteY88" fmla="*/ 2142 h 10048"/>
                <a:gd name="connsiteX89" fmla="*/ 2680 w 10000"/>
                <a:gd name="connsiteY89" fmla="*/ 0 h 10048"/>
                <a:gd name="connsiteX0" fmla="*/ 2642 w 10000"/>
                <a:gd name="connsiteY0" fmla="*/ 0 h 11448"/>
                <a:gd name="connsiteX1" fmla="*/ 2680 w 10000"/>
                <a:gd name="connsiteY1" fmla="*/ 1400 h 11448"/>
                <a:gd name="connsiteX2" fmla="*/ 2665 w 10000"/>
                <a:gd name="connsiteY2" fmla="*/ 1514 h 11448"/>
                <a:gd name="connsiteX3" fmla="*/ 2642 w 10000"/>
                <a:gd name="connsiteY3" fmla="*/ 1627 h 11448"/>
                <a:gd name="connsiteX4" fmla="*/ 2621 w 10000"/>
                <a:gd name="connsiteY4" fmla="*/ 1742 h 11448"/>
                <a:gd name="connsiteX5" fmla="*/ 2594 w 10000"/>
                <a:gd name="connsiteY5" fmla="*/ 1850 h 11448"/>
                <a:gd name="connsiteX6" fmla="*/ 2561 w 10000"/>
                <a:gd name="connsiteY6" fmla="*/ 1959 h 11448"/>
                <a:gd name="connsiteX7" fmla="*/ 2530 w 10000"/>
                <a:gd name="connsiteY7" fmla="*/ 2071 h 11448"/>
                <a:gd name="connsiteX8" fmla="*/ 2502 w 10000"/>
                <a:gd name="connsiteY8" fmla="*/ 2177 h 11448"/>
                <a:gd name="connsiteX9" fmla="*/ 2468 w 10000"/>
                <a:gd name="connsiteY9" fmla="*/ 2287 h 11448"/>
                <a:gd name="connsiteX10" fmla="*/ 2428 w 10000"/>
                <a:gd name="connsiteY10" fmla="*/ 2393 h 11448"/>
                <a:gd name="connsiteX11" fmla="*/ 2386 w 10000"/>
                <a:gd name="connsiteY11" fmla="*/ 2497 h 11448"/>
                <a:gd name="connsiteX12" fmla="*/ 2347 w 10000"/>
                <a:gd name="connsiteY12" fmla="*/ 2604 h 11448"/>
                <a:gd name="connsiteX13" fmla="*/ 2299 w 10000"/>
                <a:gd name="connsiteY13" fmla="*/ 2710 h 11448"/>
                <a:gd name="connsiteX14" fmla="*/ 2248 w 10000"/>
                <a:gd name="connsiteY14" fmla="*/ 2806 h 11448"/>
                <a:gd name="connsiteX15" fmla="*/ 2200 w 10000"/>
                <a:gd name="connsiteY15" fmla="*/ 2907 h 11448"/>
                <a:gd name="connsiteX16" fmla="*/ 2149 w 10000"/>
                <a:gd name="connsiteY16" fmla="*/ 3007 h 11448"/>
                <a:gd name="connsiteX17" fmla="*/ 2092 w 10000"/>
                <a:gd name="connsiteY17" fmla="*/ 3106 h 11448"/>
                <a:gd name="connsiteX18" fmla="*/ 2041 w 10000"/>
                <a:gd name="connsiteY18" fmla="*/ 3205 h 11448"/>
                <a:gd name="connsiteX19" fmla="*/ 1981 w 10000"/>
                <a:gd name="connsiteY19" fmla="*/ 3300 h 11448"/>
                <a:gd name="connsiteX20" fmla="*/ 1919 w 10000"/>
                <a:gd name="connsiteY20" fmla="*/ 3389 h 11448"/>
                <a:gd name="connsiteX21" fmla="*/ 1854 w 10000"/>
                <a:gd name="connsiteY21" fmla="*/ 3481 h 11448"/>
                <a:gd name="connsiteX22" fmla="*/ 1794 w 10000"/>
                <a:gd name="connsiteY22" fmla="*/ 3571 h 11448"/>
                <a:gd name="connsiteX23" fmla="*/ 1725 w 10000"/>
                <a:gd name="connsiteY23" fmla="*/ 3668 h 11448"/>
                <a:gd name="connsiteX24" fmla="*/ 1656 w 10000"/>
                <a:gd name="connsiteY24" fmla="*/ 3753 h 11448"/>
                <a:gd name="connsiteX25" fmla="*/ 1583 w 10000"/>
                <a:gd name="connsiteY25" fmla="*/ 3833 h 11448"/>
                <a:gd name="connsiteX26" fmla="*/ 1509 w 10000"/>
                <a:gd name="connsiteY26" fmla="*/ 3923 h 11448"/>
                <a:gd name="connsiteX27" fmla="*/ 1435 w 10000"/>
                <a:gd name="connsiteY27" fmla="*/ 4006 h 11448"/>
                <a:gd name="connsiteX28" fmla="*/ 1356 w 10000"/>
                <a:gd name="connsiteY28" fmla="*/ 4086 h 11448"/>
                <a:gd name="connsiteX29" fmla="*/ 1279 w 10000"/>
                <a:gd name="connsiteY29" fmla="*/ 4172 h 11448"/>
                <a:gd name="connsiteX30" fmla="*/ 1200 w 10000"/>
                <a:gd name="connsiteY30" fmla="*/ 4249 h 11448"/>
                <a:gd name="connsiteX31" fmla="*/ 1113 w 10000"/>
                <a:gd name="connsiteY31" fmla="*/ 4326 h 11448"/>
                <a:gd name="connsiteX32" fmla="*/ 1033 w 10000"/>
                <a:gd name="connsiteY32" fmla="*/ 4399 h 11448"/>
                <a:gd name="connsiteX33" fmla="*/ 946 w 10000"/>
                <a:gd name="connsiteY33" fmla="*/ 4474 h 11448"/>
                <a:gd name="connsiteX34" fmla="*/ 862 w 10000"/>
                <a:gd name="connsiteY34" fmla="*/ 4545 h 11448"/>
                <a:gd name="connsiteX35" fmla="*/ 767 w 10000"/>
                <a:gd name="connsiteY35" fmla="*/ 4616 h 11448"/>
                <a:gd name="connsiteX36" fmla="*/ 679 w 10000"/>
                <a:gd name="connsiteY36" fmla="*/ 4681 h 11448"/>
                <a:gd name="connsiteX37" fmla="*/ 586 w 10000"/>
                <a:gd name="connsiteY37" fmla="*/ 4749 h 11448"/>
                <a:gd name="connsiteX38" fmla="*/ 492 w 10000"/>
                <a:gd name="connsiteY38" fmla="*/ 4813 h 11448"/>
                <a:gd name="connsiteX39" fmla="*/ 394 w 10000"/>
                <a:gd name="connsiteY39" fmla="*/ 4873 h 11448"/>
                <a:gd name="connsiteX40" fmla="*/ 298 w 10000"/>
                <a:gd name="connsiteY40" fmla="*/ 4937 h 11448"/>
                <a:gd name="connsiteX41" fmla="*/ 203 w 10000"/>
                <a:gd name="connsiteY41" fmla="*/ 4995 h 11448"/>
                <a:gd name="connsiteX42" fmla="*/ 101 w 10000"/>
                <a:gd name="connsiteY42" fmla="*/ 5050 h 11448"/>
                <a:gd name="connsiteX43" fmla="*/ 0 w 10000"/>
                <a:gd name="connsiteY43" fmla="*/ 5104 h 11448"/>
                <a:gd name="connsiteX44" fmla="*/ 187 w 10000"/>
                <a:gd name="connsiteY44" fmla="*/ 8909 h 11448"/>
                <a:gd name="connsiteX45" fmla="*/ 3386 w 10000"/>
                <a:gd name="connsiteY45" fmla="*/ 11448 h 11448"/>
                <a:gd name="connsiteX46" fmla="*/ 3689 w 10000"/>
                <a:gd name="connsiteY46" fmla="*/ 11280 h 11448"/>
                <a:gd name="connsiteX47" fmla="*/ 3930 w 10000"/>
                <a:gd name="connsiteY47" fmla="*/ 11146 h 11448"/>
                <a:gd name="connsiteX48" fmla="*/ 4165 w 10000"/>
                <a:gd name="connsiteY48" fmla="*/ 11013 h 11448"/>
                <a:gd name="connsiteX49" fmla="*/ 4397 w 10000"/>
                <a:gd name="connsiteY49" fmla="*/ 10873 h 11448"/>
                <a:gd name="connsiteX50" fmla="*/ 4628 w 10000"/>
                <a:gd name="connsiteY50" fmla="*/ 10727 h 11448"/>
                <a:gd name="connsiteX51" fmla="*/ 4845 w 10000"/>
                <a:gd name="connsiteY51" fmla="*/ 10582 h 11448"/>
                <a:gd name="connsiteX52" fmla="*/ 5065 w 10000"/>
                <a:gd name="connsiteY52" fmla="*/ 10424 h 11448"/>
                <a:gd name="connsiteX53" fmla="*/ 5285 w 10000"/>
                <a:gd name="connsiteY53" fmla="*/ 10271 h 11448"/>
                <a:gd name="connsiteX54" fmla="*/ 5494 w 10000"/>
                <a:gd name="connsiteY54" fmla="*/ 10109 h 11448"/>
                <a:gd name="connsiteX55" fmla="*/ 5708 w 10000"/>
                <a:gd name="connsiteY55" fmla="*/ 9942 h 11448"/>
                <a:gd name="connsiteX56" fmla="*/ 5911 w 10000"/>
                <a:gd name="connsiteY56" fmla="*/ 9768 h 11448"/>
                <a:gd name="connsiteX57" fmla="*/ 6115 w 10000"/>
                <a:gd name="connsiteY57" fmla="*/ 9597 h 11448"/>
                <a:gd name="connsiteX58" fmla="*/ 6310 w 10000"/>
                <a:gd name="connsiteY58" fmla="*/ 9422 h 11448"/>
                <a:gd name="connsiteX59" fmla="*/ 6508 w 10000"/>
                <a:gd name="connsiteY59" fmla="*/ 9236 h 11448"/>
                <a:gd name="connsiteX60" fmla="*/ 6698 w 10000"/>
                <a:gd name="connsiteY60" fmla="*/ 9045 h 11448"/>
                <a:gd name="connsiteX61" fmla="*/ 6882 w 10000"/>
                <a:gd name="connsiteY61" fmla="*/ 8862 h 11448"/>
                <a:gd name="connsiteX62" fmla="*/ 7064 w 10000"/>
                <a:gd name="connsiteY62" fmla="*/ 8667 h 11448"/>
                <a:gd name="connsiteX63" fmla="*/ 7239 w 10000"/>
                <a:gd name="connsiteY63" fmla="*/ 8468 h 11448"/>
                <a:gd name="connsiteX64" fmla="*/ 7414 w 10000"/>
                <a:gd name="connsiteY64" fmla="*/ 8269 h 11448"/>
                <a:gd name="connsiteX65" fmla="*/ 7582 w 10000"/>
                <a:gd name="connsiteY65" fmla="*/ 8066 h 11448"/>
                <a:gd name="connsiteX66" fmla="*/ 7750 w 10000"/>
                <a:gd name="connsiteY66" fmla="*/ 7854 h 11448"/>
                <a:gd name="connsiteX67" fmla="*/ 7905 w 10000"/>
                <a:gd name="connsiteY67" fmla="*/ 7642 h 11448"/>
                <a:gd name="connsiteX68" fmla="*/ 8057 w 10000"/>
                <a:gd name="connsiteY68" fmla="*/ 7427 h 11448"/>
                <a:gd name="connsiteX69" fmla="*/ 8211 w 10000"/>
                <a:gd name="connsiteY69" fmla="*/ 7212 h 11448"/>
                <a:gd name="connsiteX70" fmla="*/ 8354 w 10000"/>
                <a:gd name="connsiteY70" fmla="*/ 6987 h 11448"/>
                <a:gd name="connsiteX71" fmla="*/ 8493 w 10000"/>
                <a:gd name="connsiteY71" fmla="*/ 6766 h 11448"/>
                <a:gd name="connsiteX72" fmla="*/ 8628 w 10000"/>
                <a:gd name="connsiteY72" fmla="*/ 6538 h 11448"/>
                <a:gd name="connsiteX73" fmla="*/ 8754 w 10000"/>
                <a:gd name="connsiteY73" fmla="*/ 6304 h 11448"/>
                <a:gd name="connsiteX74" fmla="*/ 8877 w 10000"/>
                <a:gd name="connsiteY74" fmla="*/ 6070 h 11448"/>
                <a:gd name="connsiteX75" fmla="*/ 9003 w 10000"/>
                <a:gd name="connsiteY75" fmla="*/ 5835 h 11448"/>
                <a:gd name="connsiteX76" fmla="*/ 9120 w 10000"/>
                <a:gd name="connsiteY76" fmla="*/ 5596 h 11448"/>
                <a:gd name="connsiteX77" fmla="*/ 9224 w 10000"/>
                <a:gd name="connsiteY77" fmla="*/ 5356 h 11448"/>
                <a:gd name="connsiteX78" fmla="*/ 9330 w 10000"/>
                <a:gd name="connsiteY78" fmla="*/ 5111 h 11448"/>
                <a:gd name="connsiteX79" fmla="*/ 9425 w 10000"/>
                <a:gd name="connsiteY79" fmla="*/ 4861 h 11448"/>
                <a:gd name="connsiteX80" fmla="*/ 9520 w 10000"/>
                <a:gd name="connsiteY80" fmla="*/ 4614 h 11448"/>
                <a:gd name="connsiteX81" fmla="*/ 9604 w 10000"/>
                <a:gd name="connsiteY81" fmla="*/ 4360 h 11448"/>
                <a:gd name="connsiteX82" fmla="*/ 9684 w 10000"/>
                <a:gd name="connsiteY82" fmla="*/ 4103 h 11448"/>
                <a:gd name="connsiteX83" fmla="*/ 9758 w 10000"/>
                <a:gd name="connsiteY83" fmla="*/ 3845 h 11448"/>
                <a:gd name="connsiteX84" fmla="*/ 9831 w 10000"/>
                <a:gd name="connsiteY84" fmla="*/ 3589 h 11448"/>
                <a:gd name="connsiteX85" fmla="*/ 9892 w 10000"/>
                <a:gd name="connsiteY85" fmla="*/ 3329 h 11448"/>
                <a:gd name="connsiteX86" fmla="*/ 9951 w 10000"/>
                <a:gd name="connsiteY86" fmla="*/ 3064 h 11448"/>
                <a:gd name="connsiteX87" fmla="*/ 10000 w 10000"/>
                <a:gd name="connsiteY87" fmla="*/ 2797 h 11448"/>
                <a:gd name="connsiteX88" fmla="*/ 6011 w 10000"/>
                <a:gd name="connsiteY88" fmla="*/ 3542 h 11448"/>
                <a:gd name="connsiteX89" fmla="*/ 2642 w 10000"/>
                <a:gd name="connsiteY89" fmla="*/ 0 h 11448"/>
                <a:gd name="connsiteX0" fmla="*/ 2705 w 10000"/>
                <a:gd name="connsiteY0" fmla="*/ 0 h 11460"/>
                <a:gd name="connsiteX1" fmla="*/ 2680 w 10000"/>
                <a:gd name="connsiteY1" fmla="*/ 1412 h 11460"/>
                <a:gd name="connsiteX2" fmla="*/ 2665 w 10000"/>
                <a:gd name="connsiteY2" fmla="*/ 1526 h 11460"/>
                <a:gd name="connsiteX3" fmla="*/ 2642 w 10000"/>
                <a:gd name="connsiteY3" fmla="*/ 1639 h 11460"/>
                <a:gd name="connsiteX4" fmla="*/ 2621 w 10000"/>
                <a:gd name="connsiteY4" fmla="*/ 1754 h 11460"/>
                <a:gd name="connsiteX5" fmla="*/ 2594 w 10000"/>
                <a:gd name="connsiteY5" fmla="*/ 1862 h 11460"/>
                <a:gd name="connsiteX6" fmla="*/ 2561 w 10000"/>
                <a:gd name="connsiteY6" fmla="*/ 1971 h 11460"/>
                <a:gd name="connsiteX7" fmla="*/ 2530 w 10000"/>
                <a:gd name="connsiteY7" fmla="*/ 2083 h 11460"/>
                <a:gd name="connsiteX8" fmla="*/ 2502 w 10000"/>
                <a:gd name="connsiteY8" fmla="*/ 2189 h 11460"/>
                <a:gd name="connsiteX9" fmla="*/ 2468 w 10000"/>
                <a:gd name="connsiteY9" fmla="*/ 2299 h 11460"/>
                <a:gd name="connsiteX10" fmla="*/ 2428 w 10000"/>
                <a:gd name="connsiteY10" fmla="*/ 2405 h 11460"/>
                <a:gd name="connsiteX11" fmla="*/ 2386 w 10000"/>
                <a:gd name="connsiteY11" fmla="*/ 2509 h 11460"/>
                <a:gd name="connsiteX12" fmla="*/ 2347 w 10000"/>
                <a:gd name="connsiteY12" fmla="*/ 2616 h 11460"/>
                <a:gd name="connsiteX13" fmla="*/ 2299 w 10000"/>
                <a:gd name="connsiteY13" fmla="*/ 2722 h 11460"/>
                <a:gd name="connsiteX14" fmla="*/ 2248 w 10000"/>
                <a:gd name="connsiteY14" fmla="*/ 2818 h 11460"/>
                <a:gd name="connsiteX15" fmla="*/ 2200 w 10000"/>
                <a:gd name="connsiteY15" fmla="*/ 2919 h 11460"/>
                <a:gd name="connsiteX16" fmla="*/ 2149 w 10000"/>
                <a:gd name="connsiteY16" fmla="*/ 3019 h 11460"/>
                <a:gd name="connsiteX17" fmla="*/ 2092 w 10000"/>
                <a:gd name="connsiteY17" fmla="*/ 3118 h 11460"/>
                <a:gd name="connsiteX18" fmla="*/ 2041 w 10000"/>
                <a:gd name="connsiteY18" fmla="*/ 3217 h 11460"/>
                <a:gd name="connsiteX19" fmla="*/ 1981 w 10000"/>
                <a:gd name="connsiteY19" fmla="*/ 3312 h 11460"/>
                <a:gd name="connsiteX20" fmla="*/ 1919 w 10000"/>
                <a:gd name="connsiteY20" fmla="*/ 3401 h 11460"/>
                <a:gd name="connsiteX21" fmla="*/ 1854 w 10000"/>
                <a:gd name="connsiteY21" fmla="*/ 3493 h 11460"/>
                <a:gd name="connsiteX22" fmla="*/ 1794 w 10000"/>
                <a:gd name="connsiteY22" fmla="*/ 3583 h 11460"/>
                <a:gd name="connsiteX23" fmla="*/ 1725 w 10000"/>
                <a:gd name="connsiteY23" fmla="*/ 3680 h 11460"/>
                <a:gd name="connsiteX24" fmla="*/ 1656 w 10000"/>
                <a:gd name="connsiteY24" fmla="*/ 3765 h 11460"/>
                <a:gd name="connsiteX25" fmla="*/ 1583 w 10000"/>
                <a:gd name="connsiteY25" fmla="*/ 3845 h 11460"/>
                <a:gd name="connsiteX26" fmla="*/ 1509 w 10000"/>
                <a:gd name="connsiteY26" fmla="*/ 3935 h 11460"/>
                <a:gd name="connsiteX27" fmla="*/ 1435 w 10000"/>
                <a:gd name="connsiteY27" fmla="*/ 4018 h 11460"/>
                <a:gd name="connsiteX28" fmla="*/ 1356 w 10000"/>
                <a:gd name="connsiteY28" fmla="*/ 4098 h 11460"/>
                <a:gd name="connsiteX29" fmla="*/ 1279 w 10000"/>
                <a:gd name="connsiteY29" fmla="*/ 4184 h 11460"/>
                <a:gd name="connsiteX30" fmla="*/ 1200 w 10000"/>
                <a:gd name="connsiteY30" fmla="*/ 4261 h 11460"/>
                <a:gd name="connsiteX31" fmla="*/ 1113 w 10000"/>
                <a:gd name="connsiteY31" fmla="*/ 4338 h 11460"/>
                <a:gd name="connsiteX32" fmla="*/ 1033 w 10000"/>
                <a:gd name="connsiteY32" fmla="*/ 4411 h 11460"/>
                <a:gd name="connsiteX33" fmla="*/ 946 w 10000"/>
                <a:gd name="connsiteY33" fmla="*/ 4486 h 11460"/>
                <a:gd name="connsiteX34" fmla="*/ 862 w 10000"/>
                <a:gd name="connsiteY34" fmla="*/ 4557 h 11460"/>
                <a:gd name="connsiteX35" fmla="*/ 767 w 10000"/>
                <a:gd name="connsiteY35" fmla="*/ 4628 h 11460"/>
                <a:gd name="connsiteX36" fmla="*/ 679 w 10000"/>
                <a:gd name="connsiteY36" fmla="*/ 4693 h 11460"/>
                <a:gd name="connsiteX37" fmla="*/ 586 w 10000"/>
                <a:gd name="connsiteY37" fmla="*/ 4761 h 11460"/>
                <a:gd name="connsiteX38" fmla="*/ 492 w 10000"/>
                <a:gd name="connsiteY38" fmla="*/ 4825 h 11460"/>
                <a:gd name="connsiteX39" fmla="*/ 394 w 10000"/>
                <a:gd name="connsiteY39" fmla="*/ 4885 h 11460"/>
                <a:gd name="connsiteX40" fmla="*/ 298 w 10000"/>
                <a:gd name="connsiteY40" fmla="*/ 4949 h 11460"/>
                <a:gd name="connsiteX41" fmla="*/ 203 w 10000"/>
                <a:gd name="connsiteY41" fmla="*/ 5007 h 11460"/>
                <a:gd name="connsiteX42" fmla="*/ 101 w 10000"/>
                <a:gd name="connsiteY42" fmla="*/ 5062 h 11460"/>
                <a:gd name="connsiteX43" fmla="*/ 0 w 10000"/>
                <a:gd name="connsiteY43" fmla="*/ 5116 h 11460"/>
                <a:gd name="connsiteX44" fmla="*/ 187 w 10000"/>
                <a:gd name="connsiteY44" fmla="*/ 8921 h 11460"/>
                <a:gd name="connsiteX45" fmla="*/ 3386 w 10000"/>
                <a:gd name="connsiteY45" fmla="*/ 11460 h 11460"/>
                <a:gd name="connsiteX46" fmla="*/ 3689 w 10000"/>
                <a:gd name="connsiteY46" fmla="*/ 11292 h 11460"/>
                <a:gd name="connsiteX47" fmla="*/ 3930 w 10000"/>
                <a:gd name="connsiteY47" fmla="*/ 11158 h 11460"/>
                <a:gd name="connsiteX48" fmla="*/ 4165 w 10000"/>
                <a:gd name="connsiteY48" fmla="*/ 11025 h 11460"/>
                <a:gd name="connsiteX49" fmla="*/ 4397 w 10000"/>
                <a:gd name="connsiteY49" fmla="*/ 10885 h 11460"/>
                <a:gd name="connsiteX50" fmla="*/ 4628 w 10000"/>
                <a:gd name="connsiteY50" fmla="*/ 10739 h 11460"/>
                <a:gd name="connsiteX51" fmla="*/ 4845 w 10000"/>
                <a:gd name="connsiteY51" fmla="*/ 10594 h 11460"/>
                <a:gd name="connsiteX52" fmla="*/ 5065 w 10000"/>
                <a:gd name="connsiteY52" fmla="*/ 10436 h 11460"/>
                <a:gd name="connsiteX53" fmla="*/ 5285 w 10000"/>
                <a:gd name="connsiteY53" fmla="*/ 10283 h 11460"/>
                <a:gd name="connsiteX54" fmla="*/ 5494 w 10000"/>
                <a:gd name="connsiteY54" fmla="*/ 10121 h 11460"/>
                <a:gd name="connsiteX55" fmla="*/ 5708 w 10000"/>
                <a:gd name="connsiteY55" fmla="*/ 9954 h 11460"/>
                <a:gd name="connsiteX56" fmla="*/ 5911 w 10000"/>
                <a:gd name="connsiteY56" fmla="*/ 9780 h 11460"/>
                <a:gd name="connsiteX57" fmla="*/ 6115 w 10000"/>
                <a:gd name="connsiteY57" fmla="*/ 9609 h 11460"/>
                <a:gd name="connsiteX58" fmla="*/ 6310 w 10000"/>
                <a:gd name="connsiteY58" fmla="*/ 9434 h 11460"/>
                <a:gd name="connsiteX59" fmla="*/ 6508 w 10000"/>
                <a:gd name="connsiteY59" fmla="*/ 9248 h 11460"/>
                <a:gd name="connsiteX60" fmla="*/ 6698 w 10000"/>
                <a:gd name="connsiteY60" fmla="*/ 9057 h 11460"/>
                <a:gd name="connsiteX61" fmla="*/ 6882 w 10000"/>
                <a:gd name="connsiteY61" fmla="*/ 8874 h 11460"/>
                <a:gd name="connsiteX62" fmla="*/ 7064 w 10000"/>
                <a:gd name="connsiteY62" fmla="*/ 8679 h 11460"/>
                <a:gd name="connsiteX63" fmla="*/ 7239 w 10000"/>
                <a:gd name="connsiteY63" fmla="*/ 8480 h 11460"/>
                <a:gd name="connsiteX64" fmla="*/ 7414 w 10000"/>
                <a:gd name="connsiteY64" fmla="*/ 8281 h 11460"/>
                <a:gd name="connsiteX65" fmla="*/ 7582 w 10000"/>
                <a:gd name="connsiteY65" fmla="*/ 8078 h 11460"/>
                <a:gd name="connsiteX66" fmla="*/ 7750 w 10000"/>
                <a:gd name="connsiteY66" fmla="*/ 7866 h 11460"/>
                <a:gd name="connsiteX67" fmla="*/ 7905 w 10000"/>
                <a:gd name="connsiteY67" fmla="*/ 7654 h 11460"/>
                <a:gd name="connsiteX68" fmla="*/ 8057 w 10000"/>
                <a:gd name="connsiteY68" fmla="*/ 7439 h 11460"/>
                <a:gd name="connsiteX69" fmla="*/ 8211 w 10000"/>
                <a:gd name="connsiteY69" fmla="*/ 7224 h 11460"/>
                <a:gd name="connsiteX70" fmla="*/ 8354 w 10000"/>
                <a:gd name="connsiteY70" fmla="*/ 6999 h 11460"/>
                <a:gd name="connsiteX71" fmla="*/ 8493 w 10000"/>
                <a:gd name="connsiteY71" fmla="*/ 6778 h 11460"/>
                <a:gd name="connsiteX72" fmla="*/ 8628 w 10000"/>
                <a:gd name="connsiteY72" fmla="*/ 6550 h 11460"/>
                <a:gd name="connsiteX73" fmla="*/ 8754 w 10000"/>
                <a:gd name="connsiteY73" fmla="*/ 6316 h 11460"/>
                <a:gd name="connsiteX74" fmla="*/ 8877 w 10000"/>
                <a:gd name="connsiteY74" fmla="*/ 6082 h 11460"/>
                <a:gd name="connsiteX75" fmla="*/ 9003 w 10000"/>
                <a:gd name="connsiteY75" fmla="*/ 5847 h 11460"/>
                <a:gd name="connsiteX76" fmla="*/ 9120 w 10000"/>
                <a:gd name="connsiteY76" fmla="*/ 5608 h 11460"/>
                <a:gd name="connsiteX77" fmla="*/ 9224 w 10000"/>
                <a:gd name="connsiteY77" fmla="*/ 5368 h 11460"/>
                <a:gd name="connsiteX78" fmla="*/ 9330 w 10000"/>
                <a:gd name="connsiteY78" fmla="*/ 5123 h 11460"/>
                <a:gd name="connsiteX79" fmla="*/ 9425 w 10000"/>
                <a:gd name="connsiteY79" fmla="*/ 4873 h 11460"/>
                <a:gd name="connsiteX80" fmla="*/ 9520 w 10000"/>
                <a:gd name="connsiteY80" fmla="*/ 4626 h 11460"/>
                <a:gd name="connsiteX81" fmla="*/ 9604 w 10000"/>
                <a:gd name="connsiteY81" fmla="*/ 4372 h 11460"/>
                <a:gd name="connsiteX82" fmla="*/ 9684 w 10000"/>
                <a:gd name="connsiteY82" fmla="*/ 4115 h 11460"/>
                <a:gd name="connsiteX83" fmla="*/ 9758 w 10000"/>
                <a:gd name="connsiteY83" fmla="*/ 3857 h 11460"/>
                <a:gd name="connsiteX84" fmla="*/ 9831 w 10000"/>
                <a:gd name="connsiteY84" fmla="*/ 3601 h 11460"/>
                <a:gd name="connsiteX85" fmla="*/ 9892 w 10000"/>
                <a:gd name="connsiteY85" fmla="*/ 3341 h 11460"/>
                <a:gd name="connsiteX86" fmla="*/ 9951 w 10000"/>
                <a:gd name="connsiteY86" fmla="*/ 3076 h 11460"/>
                <a:gd name="connsiteX87" fmla="*/ 10000 w 10000"/>
                <a:gd name="connsiteY87" fmla="*/ 2809 h 11460"/>
                <a:gd name="connsiteX88" fmla="*/ 6011 w 10000"/>
                <a:gd name="connsiteY88" fmla="*/ 3554 h 11460"/>
                <a:gd name="connsiteX89" fmla="*/ 2705 w 10000"/>
                <a:gd name="connsiteY89" fmla="*/ 0 h 11460"/>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627 w 10000"/>
                <a:gd name="connsiteY88" fmla="*/ 408 h 11472"/>
                <a:gd name="connsiteX89" fmla="*/ 2667 w 10000"/>
                <a:gd name="connsiteY89" fmla="*/ 0 h 11472"/>
                <a:gd name="connsiteX0" fmla="*/ 2667 w 9952"/>
                <a:gd name="connsiteY0" fmla="*/ 1988 h 13460"/>
                <a:gd name="connsiteX1" fmla="*/ 2680 w 9952"/>
                <a:gd name="connsiteY1" fmla="*/ 3412 h 13460"/>
                <a:gd name="connsiteX2" fmla="*/ 2665 w 9952"/>
                <a:gd name="connsiteY2" fmla="*/ 3526 h 13460"/>
                <a:gd name="connsiteX3" fmla="*/ 2642 w 9952"/>
                <a:gd name="connsiteY3" fmla="*/ 3639 h 13460"/>
                <a:gd name="connsiteX4" fmla="*/ 2621 w 9952"/>
                <a:gd name="connsiteY4" fmla="*/ 3754 h 13460"/>
                <a:gd name="connsiteX5" fmla="*/ 2594 w 9952"/>
                <a:gd name="connsiteY5" fmla="*/ 3862 h 13460"/>
                <a:gd name="connsiteX6" fmla="*/ 2561 w 9952"/>
                <a:gd name="connsiteY6" fmla="*/ 3971 h 13460"/>
                <a:gd name="connsiteX7" fmla="*/ 2530 w 9952"/>
                <a:gd name="connsiteY7" fmla="*/ 4083 h 13460"/>
                <a:gd name="connsiteX8" fmla="*/ 2502 w 9952"/>
                <a:gd name="connsiteY8" fmla="*/ 4189 h 13460"/>
                <a:gd name="connsiteX9" fmla="*/ 2468 w 9952"/>
                <a:gd name="connsiteY9" fmla="*/ 4299 h 13460"/>
                <a:gd name="connsiteX10" fmla="*/ 2428 w 9952"/>
                <a:gd name="connsiteY10" fmla="*/ 4405 h 13460"/>
                <a:gd name="connsiteX11" fmla="*/ 2386 w 9952"/>
                <a:gd name="connsiteY11" fmla="*/ 4509 h 13460"/>
                <a:gd name="connsiteX12" fmla="*/ 2347 w 9952"/>
                <a:gd name="connsiteY12" fmla="*/ 4616 h 13460"/>
                <a:gd name="connsiteX13" fmla="*/ 2299 w 9952"/>
                <a:gd name="connsiteY13" fmla="*/ 4722 h 13460"/>
                <a:gd name="connsiteX14" fmla="*/ 2248 w 9952"/>
                <a:gd name="connsiteY14" fmla="*/ 4818 h 13460"/>
                <a:gd name="connsiteX15" fmla="*/ 2200 w 9952"/>
                <a:gd name="connsiteY15" fmla="*/ 4919 h 13460"/>
                <a:gd name="connsiteX16" fmla="*/ 2149 w 9952"/>
                <a:gd name="connsiteY16" fmla="*/ 5019 h 13460"/>
                <a:gd name="connsiteX17" fmla="*/ 2092 w 9952"/>
                <a:gd name="connsiteY17" fmla="*/ 5118 h 13460"/>
                <a:gd name="connsiteX18" fmla="*/ 2041 w 9952"/>
                <a:gd name="connsiteY18" fmla="*/ 5217 h 13460"/>
                <a:gd name="connsiteX19" fmla="*/ 1981 w 9952"/>
                <a:gd name="connsiteY19" fmla="*/ 5312 h 13460"/>
                <a:gd name="connsiteX20" fmla="*/ 1919 w 9952"/>
                <a:gd name="connsiteY20" fmla="*/ 5401 h 13460"/>
                <a:gd name="connsiteX21" fmla="*/ 1854 w 9952"/>
                <a:gd name="connsiteY21" fmla="*/ 5493 h 13460"/>
                <a:gd name="connsiteX22" fmla="*/ 1794 w 9952"/>
                <a:gd name="connsiteY22" fmla="*/ 5583 h 13460"/>
                <a:gd name="connsiteX23" fmla="*/ 1725 w 9952"/>
                <a:gd name="connsiteY23" fmla="*/ 5680 h 13460"/>
                <a:gd name="connsiteX24" fmla="*/ 1656 w 9952"/>
                <a:gd name="connsiteY24" fmla="*/ 5765 h 13460"/>
                <a:gd name="connsiteX25" fmla="*/ 1583 w 9952"/>
                <a:gd name="connsiteY25" fmla="*/ 5845 h 13460"/>
                <a:gd name="connsiteX26" fmla="*/ 1509 w 9952"/>
                <a:gd name="connsiteY26" fmla="*/ 5935 h 13460"/>
                <a:gd name="connsiteX27" fmla="*/ 1435 w 9952"/>
                <a:gd name="connsiteY27" fmla="*/ 6018 h 13460"/>
                <a:gd name="connsiteX28" fmla="*/ 1356 w 9952"/>
                <a:gd name="connsiteY28" fmla="*/ 6098 h 13460"/>
                <a:gd name="connsiteX29" fmla="*/ 1279 w 9952"/>
                <a:gd name="connsiteY29" fmla="*/ 6184 h 13460"/>
                <a:gd name="connsiteX30" fmla="*/ 1200 w 9952"/>
                <a:gd name="connsiteY30" fmla="*/ 6261 h 13460"/>
                <a:gd name="connsiteX31" fmla="*/ 1113 w 9952"/>
                <a:gd name="connsiteY31" fmla="*/ 6338 h 13460"/>
                <a:gd name="connsiteX32" fmla="*/ 1033 w 9952"/>
                <a:gd name="connsiteY32" fmla="*/ 6411 h 13460"/>
                <a:gd name="connsiteX33" fmla="*/ 946 w 9952"/>
                <a:gd name="connsiteY33" fmla="*/ 6486 h 13460"/>
                <a:gd name="connsiteX34" fmla="*/ 862 w 9952"/>
                <a:gd name="connsiteY34" fmla="*/ 6557 h 13460"/>
                <a:gd name="connsiteX35" fmla="*/ 767 w 9952"/>
                <a:gd name="connsiteY35" fmla="*/ 6628 h 13460"/>
                <a:gd name="connsiteX36" fmla="*/ 679 w 9952"/>
                <a:gd name="connsiteY36" fmla="*/ 6693 h 13460"/>
                <a:gd name="connsiteX37" fmla="*/ 586 w 9952"/>
                <a:gd name="connsiteY37" fmla="*/ 6761 h 13460"/>
                <a:gd name="connsiteX38" fmla="*/ 492 w 9952"/>
                <a:gd name="connsiteY38" fmla="*/ 6825 h 13460"/>
                <a:gd name="connsiteX39" fmla="*/ 394 w 9952"/>
                <a:gd name="connsiteY39" fmla="*/ 6885 h 13460"/>
                <a:gd name="connsiteX40" fmla="*/ 298 w 9952"/>
                <a:gd name="connsiteY40" fmla="*/ 6949 h 13460"/>
                <a:gd name="connsiteX41" fmla="*/ 203 w 9952"/>
                <a:gd name="connsiteY41" fmla="*/ 7007 h 13460"/>
                <a:gd name="connsiteX42" fmla="*/ 101 w 9952"/>
                <a:gd name="connsiteY42" fmla="*/ 7062 h 13460"/>
                <a:gd name="connsiteX43" fmla="*/ 0 w 9952"/>
                <a:gd name="connsiteY43" fmla="*/ 7116 h 13460"/>
                <a:gd name="connsiteX44" fmla="*/ 187 w 9952"/>
                <a:gd name="connsiteY44" fmla="*/ 10921 h 13460"/>
                <a:gd name="connsiteX45" fmla="*/ 3386 w 9952"/>
                <a:gd name="connsiteY45" fmla="*/ 13460 h 13460"/>
                <a:gd name="connsiteX46" fmla="*/ 3689 w 9952"/>
                <a:gd name="connsiteY46" fmla="*/ 13292 h 13460"/>
                <a:gd name="connsiteX47" fmla="*/ 3930 w 9952"/>
                <a:gd name="connsiteY47" fmla="*/ 13158 h 13460"/>
                <a:gd name="connsiteX48" fmla="*/ 4165 w 9952"/>
                <a:gd name="connsiteY48" fmla="*/ 13025 h 13460"/>
                <a:gd name="connsiteX49" fmla="*/ 4397 w 9952"/>
                <a:gd name="connsiteY49" fmla="*/ 12885 h 13460"/>
                <a:gd name="connsiteX50" fmla="*/ 4628 w 9952"/>
                <a:gd name="connsiteY50" fmla="*/ 12739 h 13460"/>
                <a:gd name="connsiteX51" fmla="*/ 4845 w 9952"/>
                <a:gd name="connsiteY51" fmla="*/ 12594 h 13460"/>
                <a:gd name="connsiteX52" fmla="*/ 5065 w 9952"/>
                <a:gd name="connsiteY52" fmla="*/ 12436 h 13460"/>
                <a:gd name="connsiteX53" fmla="*/ 5285 w 9952"/>
                <a:gd name="connsiteY53" fmla="*/ 12283 h 13460"/>
                <a:gd name="connsiteX54" fmla="*/ 5494 w 9952"/>
                <a:gd name="connsiteY54" fmla="*/ 12121 h 13460"/>
                <a:gd name="connsiteX55" fmla="*/ 5708 w 9952"/>
                <a:gd name="connsiteY55" fmla="*/ 11954 h 13460"/>
                <a:gd name="connsiteX56" fmla="*/ 5911 w 9952"/>
                <a:gd name="connsiteY56" fmla="*/ 11780 h 13460"/>
                <a:gd name="connsiteX57" fmla="*/ 6115 w 9952"/>
                <a:gd name="connsiteY57" fmla="*/ 11609 h 13460"/>
                <a:gd name="connsiteX58" fmla="*/ 6310 w 9952"/>
                <a:gd name="connsiteY58" fmla="*/ 11434 h 13460"/>
                <a:gd name="connsiteX59" fmla="*/ 6508 w 9952"/>
                <a:gd name="connsiteY59" fmla="*/ 11248 h 13460"/>
                <a:gd name="connsiteX60" fmla="*/ 6698 w 9952"/>
                <a:gd name="connsiteY60" fmla="*/ 11057 h 13460"/>
                <a:gd name="connsiteX61" fmla="*/ 6882 w 9952"/>
                <a:gd name="connsiteY61" fmla="*/ 10874 h 13460"/>
                <a:gd name="connsiteX62" fmla="*/ 7064 w 9952"/>
                <a:gd name="connsiteY62" fmla="*/ 10679 h 13460"/>
                <a:gd name="connsiteX63" fmla="*/ 7239 w 9952"/>
                <a:gd name="connsiteY63" fmla="*/ 10480 h 13460"/>
                <a:gd name="connsiteX64" fmla="*/ 7414 w 9952"/>
                <a:gd name="connsiteY64" fmla="*/ 10281 h 13460"/>
                <a:gd name="connsiteX65" fmla="*/ 7582 w 9952"/>
                <a:gd name="connsiteY65" fmla="*/ 10078 h 13460"/>
                <a:gd name="connsiteX66" fmla="*/ 7750 w 9952"/>
                <a:gd name="connsiteY66" fmla="*/ 9866 h 13460"/>
                <a:gd name="connsiteX67" fmla="*/ 7905 w 9952"/>
                <a:gd name="connsiteY67" fmla="*/ 9654 h 13460"/>
                <a:gd name="connsiteX68" fmla="*/ 8057 w 9952"/>
                <a:gd name="connsiteY68" fmla="*/ 9439 h 13460"/>
                <a:gd name="connsiteX69" fmla="*/ 8211 w 9952"/>
                <a:gd name="connsiteY69" fmla="*/ 9224 h 13460"/>
                <a:gd name="connsiteX70" fmla="*/ 8354 w 9952"/>
                <a:gd name="connsiteY70" fmla="*/ 8999 h 13460"/>
                <a:gd name="connsiteX71" fmla="*/ 8493 w 9952"/>
                <a:gd name="connsiteY71" fmla="*/ 8778 h 13460"/>
                <a:gd name="connsiteX72" fmla="*/ 8628 w 9952"/>
                <a:gd name="connsiteY72" fmla="*/ 8550 h 13460"/>
                <a:gd name="connsiteX73" fmla="*/ 8754 w 9952"/>
                <a:gd name="connsiteY73" fmla="*/ 8316 h 13460"/>
                <a:gd name="connsiteX74" fmla="*/ 8877 w 9952"/>
                <a:gd name="connsiteY74" fmla="*/ 8082 h 13460"/>
                <a:gd name="connsiteX75" fmla="*/ 9003 w 9952"/>
                <a:gd name="connsiteY75" fmla="*/ 7847 h 13460"/>
                <a:gd name="connsiteX76" fmla="*/ 9120 w 9952"/>
                <a:gd name="connsiteY76" fmla="*/ 7608 h 13460"/>
                <a:gd name="connsiteX77" fmla="*/ 9224 w 9952"/>
                <a:gd name="connsiteY77" fmla="*/ 7368 h 13460"/>
                <a:gd name="connsiteX78" fmla="*/ 9330 w 9952"/>
                <a:gd name="connsiteY78" fmla="*/ 7123 h 13460"/>
                <a:gd name="connsiteX79" fmla="*/ 9425 w 9952"/>
                <a:gd name="connsiteY79" fmla="*/ 6873 h 13460"/>
                <a:gd name="connsiteX80" fmla="*/ 9520 w 9952"/>
                <a:gd name="connsiteY80" fmla="*/ 6626 h 13460"/>
                <a:gd name="connsiteX81" fmla="*/ 9604 w 9952"/>
                <a:gd name="connsiteY81" fmla="*/ 6372 h 13460"/>
                <a:gd name="connsiteX82" fmla="*/ 9684 w 9952"/>
                <a:gd name="connsiteY82" fmla="*/ 6115 h 13460"/>
                <a:gd name="connsiteX83" fmla="*/ 9758 w 9952"/>
                <a:gd name="connsiteY83" fmla="*/ 5857 h 13460"/>
                <a:gd name="connsiteX84" fmla="*/ 9831 w 9952"/>
                <a:gd name="connsiteY84" fmla="*/ 5601 h 13460"/>
                <a:gd name="connsiteX85" fmla="*/ 9892 w 9952"/>
                <a:gd name="connsiteY85" fmla="*/ 5341 h 13460"/>
                <a:gd name="connsiteX86" fmla="*/ 9951 w 9952"/>
                <a:gd name="connsiteY86" fmla="*/ 5076 h 13460"/>
                <a:gd name="connsiteX87" fmla="*/ 9862 w 9952"/>
                <a:gd name="connsiteY87" fmla="*/ 0 h 13460"/>
                <a:gd name="connsiteX88" fmla="*/ 6627 w 9952"/>
                <a:gd name="connsiteY88" fmla="*/ 2396 h 13460"/>
                <a:gd name="connsiteX89" fmla="*/ 2667 w 9952"/>
                <a:gd name="connsiteY89" fmla="*/ 1988 h 13460"/>
                <a:gd name="connsiteX0" fmla="*/ 2680 w 10208"/>
                <a:gd name="connsiteY0" fmla="*/ 1477 h 10000"/>
                <a:gd name="connsiteX1" fmla="*/ 2693 w 10208"/>
                <a:gd name="connsiteY1" fmla="*/ 2535 h 10000"/>
                <a:gd name="connsiteX2" fmla="*/ 2678 w 10208"/>
                <a:gd name="connsiteY2" fmla="*/ 2620 h 10000"/>
                <a:gd name="connsiteX3" fmla="*/ 2655 w 10208"/>
                <a:gd name="connsiteY3" fmla="*/ 2704 h 10000"/>
                <a:gd name="connsiteX4" fmla="*/ 2634 w 10208"/>
                <a:gd name="connsiteY4" fmla="*/ 2789 h 10000"/>
                <a:gd name="connsiteX5" fmla="*/ 2607 w 10208"/>
                <a:gd name="connsiteY5" fmla="*/ 2869 h 10000"/>
                <a:gd name="connsiteX6" fmla="*/ 2573 w 10208"/>
                <a:gd name="connsiteY6" fmla="*/ 2950 h 10000"/>
                <a:gd name="connsiteX7" fmla="*/ 2542 w 10208"/>
                <a:gd name="connsiteY7" fmla="*/ 3033 h 10000"/>
                <a:gd name="connsiteX8" fmla="*/ 2514 w 10208"/>
                <a:gd name="connsiteY8" fmla="*/ 3112 h 10000"/>
                <a:gd name="connsiteX9" fmla="*/ 2480 w 10208"/>
                <a:gd name="connsiteY9" fmla="*/ 3194 h 10000"/>
                <a:gd name="connsiteX10" fmla="*/ 2440 w 10208"/>
                <a:gd name="connsiteY10" fmla="*/ 3273 h 10000"/>
                <a:gd name="connsiteX11" fmla="*/ 2398 w 10208"/>
                <a:gd name="connsiteY11" fmla="*/ 3350 h 10000"/>
                <a:gd name="connsiteX12" fmla="*/ 2358 w 10208"/>
                <a:gd name="connsiteY12" fmla="*/ 3429 h 10000"/>
                <a:gd name="connsiteX13" fmla="*/ 2310 w 10208"/>
                <a:gd name="connsiteY13" fmla="*/ 3508 h 10000"/>
                <a:gd name="connsiteX14" fmla="*/ 2259 w 10208"/>
                <a:gd name="connsiteY14" fmla="*/ 3579 h 10000"/>
                <a:gd name="connsiteX15" fmla="*/ 2211 w 10208"/>
                <a:gd name="connsiteY15" fmla="*/ 3655 h 10000"/>
                <a:gd name="connsiteX16" fmla="*/ 2159 w 10208"/>
                <a:gd name="connsiteY16" fmla="*/ 3729 h 10000"/>
                <a:gd name="connsiteX17" fmla="*/ 2102 w 10208"/>
                <a:gd name="connsiteY17" fmla="*/ 3802 h 10000"/>
                <a:gd name="connsiteX18" fmla="*/ 2051 w 10208"/>
                <a:gd name="connsiteY18" fmla="*/ 3876 h 10000"/>
                <a:gd name="connsiteX19" fmla="*/ 1991 w 10208"/>
                <a:gd name="connsiteY19" fmla="*/ 3947 h 10000"/>
                <a:gd name="connsiteX20" fmla="*/ 1928 w 10208"/>
                <a:gd name="connsiteY20" fmla="*/ 4013 h 10000"/>
                <a:gd name="connsiteX21" fmla="*/ 1863 w 10208"/>
                <a:gd name="connsiteY21" fmla="*/ 4081 h 10000"/>
                <a:gd name="connsiteX22" fmla="*/ 1803 w 10208"/>
                <a:gd name="connsiteY22" fmla="*/ 4148 h 10000"/>
                <a:gd name="connsiteX23" fmla="*/ 1733 w 10208"/>
                <a:gd name="connsiteY23" fmla="*/ 4220 h 10000"/>
                <a:gd name="connsiteX24" fmla="*/ 1664 w 10208"/>
                <a:gd name="connsiteY24" fmla="*/ 4283 h 10000"/>
                <a:gd name="connsiteX25" fmla="*/ 1591 w 10208"/>
                <a:gd name="connsiteY25" fmla="*/ 4342 h 10000"/>
                <a:gd name="connsiteX26" fmla="*/ 1516 w 10208"/>
                <a:gd name="connsiteY26" fmla="*/ 4409 h 10000"/>
                <a:gd name="connsiteX27" fmla="*/ 1442 w 10208"/>
                <a:gd name="connsiteY27" fmla="*/ 4471 h 10000"/>
                <a:gd name="connsiteX28" fmla="*/ 1363 w 10208"/>
                <a:gd name="connsiteY28" fmla="*/ 4530 h 10000"/>
                <a:gd name="connsiteX29" fmla="*/ 1285 w 10208"/>
                <a:gd name="connsiteY29" fmla="*/ 4594 h 10000"/>
                <a:gd name="connsiteX30" fmla="*/ 1206 w 10208"/>
                <a:gd name="connsiteY30" fmla="*/ 4652 h 10000"/>
                <a:gd name="connsiteX31" fmla="*/ 1118 w 10208"/>
                <a:gd name="connsiteY31" fmla="*/ 4709 h 10000"/>
                <a:gd name="connsiteX32" fmla="*/ 1038 w 10208"/>
                <a:gd name="connsiteY32" fmla="*/ 4763 h 10000"/>
                <a:gd name="connsiteX33" fmla="*/ 951 w 10208"/>
                <a:gd name="connsiteY33" fmla="*/ 4819 h 10000"/>
                <a:gd name="connsiteX34" fmla="*/ 866 w 10208"/>
                <a:gd name="connsiteY34" fmla="*/ 4871 h 10000"/>
                <a:gd name="connsiteX35" fmla="*/ 771 w 10208"/>
                <a:gd name="connsiteY35" fmla="*/ 4924 h 10000"/>
                <a:gd name="connsiteX36" fmla="*/ 682 w 10208"/>
                <a:gd name="connsiteY36" fmla="*/ 4973 h 10000"/>
                <a:gd name="connsiteX37" fmla="*/ 589 w 10208"/>
                <a:gd name="connsiteY37" fmla="*/ 5023 h 10000"/>
                <a:gd name="connsiteX38" fmla="*/ 494 w 10208"/>
                <a:gd name="connsiteY38" fmla="*/ 5071 h 10000"/>
                <a:gd name="connsiteX39" fmla="*/ 396 w 10208"/>
                <a:gd name="connsiteY39" fmla="*/ 5115 h 10000"/>
                <a:gd name="connsiteX40" fmla="*/ 299 w 10208"/>
                <a:gd name="connsiteY40" fmla="*/ 5163 h 10000"/>
                <a:gd name="connsiteX41" fmla="*/ 204 w 10208"/>
                <a:gd name="connsiteY41" fmla="*/ 5206 h 10000"/>
                <a:gd name="connsiteX42" fmla="*/ 101 w 10208"/>
                <a:gd name="connsiteY42" fmla="*/ 5247 h 10000"/>
                <a:gd name="connsiteX43" fmla="*/ 0 w 10208"/>
                <a:gd name="connsiteY43" fmla="*/ 5287 h 10000"/>
                <a:gd name="connsiteX44" fmla="*/ 188 w 10208"/>
                <a:gd name="connsiteY44" fmla="*/ 8114 h 10000"/>
                <a:gd name="connsiteX45" fmla="*/ 3402 w 10208"/>
                <a:gd name="connsiteY45" fmla="*/ 10000 h 10000"/>
                <a:gd name="connsiteX46" fmla="*/ 3707 w 10208"/>
                <a:gd name="connsiteY46" fmla="*/ 9875 h 10000"/>
                <a:gd name="connsiteX47" fmla="*/ 3949 w 10208"/>
                <a:gd name="connsiteY47" fmla="*/ 9776 h 10000"/>
                <a:gd name="connsiteX48" fmla="*/ 4185 w 10208"/>
                <a:gd name="connsiteY48" fmla="*/ 9677 h 10000"/>
                <a:gd name="connsiteX49" fmla="*/ 4418 w 10208"/>
                <a:gd name="connsiteY49" fmla="*/ 9573 h 10000"/>
                <a:gd name="connsiteX50" fmla="*/ 4650 w 10208"/>
                <a:gd name="connsiteY50" fmla="*/ 9464 h 10000"/>
                <a:gd name="connsiteX51" fmla="*/ 4868 w 10208"/>
                <a:gd name="connsiteY51" fmla="*/ 9357 h 10000"/>
                <a:gd name="connsiteX52" fmla="*/ 5089 w 10208"/>
                <a:gd name="connsiteY52" fmla="*/ 9239 h 10000"/>
                <a:gd name="connsiteX53" fmla="*/ 5310 w 10208"/>
                <a:gd name="connsiteY53" fmla="*/ 9126 h 10000"/>
                <a:gd name="connsiteX54" fmla="*/ 5520 w 10208"/>
                <a:gd name="connsiteY54" fmla="*/ 9005 h 10000"/>
                <a:gd name="connsiteX55" fmla="*/ 5736 w 10208"/>
                <a:gd name="connsiteY55" fmla="*/ 8881 h 10000"/>
                <a:gd name="connsiteX56" fmla="*/ 5940 w 10208"/>
                <a:gd name="connsiteY56" fmla="*/ 8752 h 10000"/>
                <a:gd name="connsiteX57" fmla="*/ 6144 w 10208"/>
                <a:gd name="connsiteY57" fmla="*/ 8625 h 10000"/>
                <a:gd name="connsiteX58" fmla="*/ 6340 w 10208"/>
                <a:gd name="connsiteY58" fmla="*/ 8495 h 10000"/>
                <a:gd name="connsiteX59" fmla="*/ 6539 w 10208"/>
                <a:gd name="connsiteY59" fmla="*/ 8357 h 10000"/>
                <a:gd name="connsiteX60" fmla="*/ 6730 w 10208"/>
                <a:gd name="connsiteY60" fmla="*/ 8215 h 10000"/>
                <a:gd name="connsiteX61" fmla="*/ 6915 w 10208"/>
                <a:gd name="connsiteY61" fmla="*/ 8079 h 10000"/>
                <a:gd name="connsiteX62" fmla="*/ 7098 w 10208"/>
                <a:gd name="connsiteY62" fmla="*/ 7934 h 10000"/>
                <a:gd name="connsiteX63" fmla="*/ 7274 w 10208"/>
                <a:gd name="connsiteY63" fmla="*/ 7786 h 10000"/>
                <a:gd name="connsiteX64" fmla="*/ 7450 w 10208"/>
                <a:gd name="connsiteY64" fmla="*/ 7638 h 10000"/>
                <a:gd name="connsiteX65" fmla="*/ 7619 w 10208"/>
                <a:gd name="connsiteY65" fmla="*/ 7487 h 10000"/>
                <a:gd name="connsiteX66" fmla="*/ 7787 w 10208"/>
                <a:gd name="connsiteY66" fmla="*/ 7330 h 10000"/>
                <a:gd name="connsiteX67" fmla="*/ 7943 w 10208"/>
                <a:gd name="connsiteY67" fmla="*/ 7172 h 10000"/>
                <a:gd name="connsiteX68" fmla="*/ 8096 w 10208"/>
                <a:gd name="connsiteY68" fmla="*/ 7013 h 10000"/>
                <a:gd name="connsiteX69" fmla="*/ 8251 w 10208"/>
                <a:gd name="connsiteY69" fmla="*/ 6853 h 10000"/>
                <a:gd name="connsiteX70" fmla="*/ 8394 w 10208"/>
                <a:gd name="connsiteY70" fmla="*/ 6686 h 10000"/>
                <a:gd name="connsiteX71" fmla="*/ 8534 w 10208"/>
                <a:gd name="connsiteY71" fmla="*/ 6522 h 10000"/>
                <a:gd name="connsiteX72" fmla="*/ 8670 w 10208"/>
                <a:gd name="connsiteY72" fmla="*/ 6352 h 10000"/>
                <a:gd name="connsiteX73" fmla="*/ 8796 w 10208"/>
                <a:gd name="connsiteY73" fmla="*/ 6178 h 10000"/>
                <a:gd name="connsiteX74" fmla="*/ 8920 w 10208"/>
                <a:gd name="connsiteY74" fmla="*/ 6004 h 10000"/>
                <a:gd name="connsiteX75" fmla="*/ 9046 w 10208"/>
                <a:gd name="connsiteY75" fmla="*/ 5830 h 10000"/>
                <a:gd name="connsiteX76" fmla="*/ 9164 w 10208"/>
                <a:gd name="connsiteY76" fmla="*/ 5652 h 10000"/>
                <a:gd name="connsiteX77" fmla="*/ 9268 w 10208"/>
                <a:gd name="connsiteY77" fmla="*/ 5474 h 10000"/>
                <a:gd name="connsiteX78" fmla="*/ 9375 w 10208"/>
                <a:gd name="connsiteY78" fmla="*/ 5292 h 10000"/>
                <a:gd name="connsiteX79" fmla="*/ 9470 w 10208"/>
                <a:gd name="connsiteY79" fmla="*/ 5106 h 10000"/>
                <a:gd name="connsiteX80" fmla="*/ 9566 w 10208"/>
                <a:gd name="connsiteY80" fmla="*/ 4923 h 10000"/>
                <a:gd name="connsiteX81" fmla="*/ 9650 w 10208"/>
                <a:gd name="connsiteY81" fmla="*/ 4734 h 10000"/>
                <a:gd name="connsiteX82" fmla="*/ 9731 w 10208"/>
                <a:gd name="connsiteY82" fmla="*/ 4543 h 10000"/>
                <a:gd name="connsiteX83" fmla="*/ 9805 w 10208"/>
                <a:gd name="connsiteY83" fmla="*/ 4351 h 10000"/>
                <a:gd name="connsiteX84" fmla="*/ 9878 w 10208"/>
                <a:gd name="connsiteY84" fmla="*/ 4161 h 10000"/>
                <a:gd name="connsiteX85" fmla="*/ 9940 w 10208"/>
                <a:gd name="connsiteY85" fmla="*/ 3968 h 10000"/>
                <a:gd name="connsiteX86" fmla="*/ 9999 w 10208"/>
                <a:gd name="connsiteY86" fmla="*/ 3771 h 10000"/>
                <a:gd name="connsiteX87" fmla="*/ 9910 w 10208"/>
                <a:gd name="connsiteY87" fmla="*/ 0 h 10000"/>
                <a:gd name="connsiteX88" fmla="*/ 6659 w 10208"/>
                <a:gd name="connsiteY88" fmla="*/ 1780 h 10000"/>
                <a:gd name="connsiteX89" fmla="*/ 2680 w 10208"/>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524 w 10219"/>
                <a:gd name="connsiteY0" fmla="*/ 896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524 w 10219"/>
                <a:gd name="connsiteY89" fmla="*/ 896 h 10000"/>
                <a:gd name="connsiteX0" fmla="*/ 2524 w 10219"/>
                <a:gd name="connsiteY0" fmla="*/ 896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509 w 10219"/>
                <a:gd name="connsiteY88" fmla="*/ 1273 h 10000"/>
                <a:gd name="connsiteX89" fmla="*/ 2524 w 10219"/>
                <a:gd name="connsiteY89" fmla="*/ 896 h 10000"/>
                <a:gd name="connsiteX0" fmla="*/ 2524 w 10187"/>
                <a:gd name="connsiteY0" fmla="*/ 1506 h 10610"/>
                <a:gd name="connsiteX1" fmla="*/ 2693 w 10187"/>
                <a:gd name="connsiteY1" fmla="*/ 3145 h 10610"/>
                <a:gd name="connsiteX2" fmla="*/ 2678 w 10187"/>
                <a:gd name="connsiteY2" fmla="*/ 3230 h 10610"/>
                <a:gd name="connsiteX3" fmla="*/ 2655 w 10187"/>
                <a:gd name="connsiteY3" fmla="*/ 3314 h 10610"/>
                <a:gd name="connsiteX4" fmla="*/ 2634 w 10187"/>
                <a:gd name="connsiteY4" fmla="*/ 3399 h 10610"/>
                <a:gd name="connsiteX5" fmla="*/ 2607 w 10187"/>
                <a:gd name="connsiteY5" fmla="*/ 3479 h 10610"/>
                <a:gd name="connsiteX6" fmla="*/ 2573 w 10187"/>
                <a:gd name="connsiteY6" fmla="*/ 3560 h 10610"/>
                <a:gd name="connsiteX7" fmla="*/ 2542 w 10187"/>
                <a:gd name="connsiteY7" fmla="*/ 3643 h 10610"/>
                <a:gd name="connsiteX8" fmla="*/ 2514 w 10187"/>
                <a:gd name="connsiteY8" fmla="*/ 3722 h 10610"/>
                <a:gd name="connsiteX9" fmla="*/ 2480 w 10187"/>
                <a:gd name="connsiteY9" fmla="*/ 3804 h 10610"/>
                <a:gd name="connsiteX10" fmla="*/ 2440 w 10187"/>
                <a:gd name="connsiteY10" fmla="*/ 3883 h 10610"/>
                <a:gd name="connsiteX11" fmla="*/ 2398 w 10187"/>
                <a:gd name="connsiteY11" fmla="*/ 3960 h 10610"/>
                <a:gd name="connsiteX12" fmla="*/ 2358 w 10187"/>
                <a:gd name="connsiteY12" fmla="*/ 4039 h 10610"/>
                <a:gd name="connsiteX13" fmla="*/ 2310 w 10187"/>
                <a:gd name="connsiteY13" fmla="*/ 4118 h 10610"/>
                <a:gd name="connsiteX14" fmla="*/ 2259 w 10187"/>
                <a:gd name="connsiteY14" fmla="*/ 4189 h 10610"/>
                <a:gd name="connsiteX15" fmla="*/ 2211 w 10187"/>
                <a:gd name="connsiteY15" fmla="*/ 4265 h 10610"/>
                <a:gd name="connsiteX16" fmla="*/ 2159 w 10187"/>
                <a:gd name="connsiteY16" fmla="*/ 4339 h 10610"/>
                <a:gd name="connsiteX17" fmla="*/ 2102 w 10187"/>
                <a:gd name="connsiteY17" fmla="*/ 4412 h 10610"/>
                <a:gd name="connsiteX18" fmla="*/ 2051 w 10187"/>
                <a:gd name="connsiteY18" fmla="*/ 4486 h 10610"/>
                <a:gd name="connsiteX19" fmla="*/ 1991 w 10187"/>
                <a:gd name="connsiteY19" fmla="*/ 4557 h 10610"/>
                <a:gd name="connsiteX20" fmla="*/ 1928 w 10187"/>
                <a:gd name="connsiteY20" fmla="*/ 4623 h 10610"/>
                <a:gd name="connsiteX21" fmla="*/ 1863 w 10187"/>
                <a:gd name="connsiteY21" fmla="*/ 4691 h 10610"/>
                <a:gd name="connsiteX22" fmla="*/ 1803 w 10187"/>
                <a:gd name="connsiteY22" fmla="*/ 4758 h 10610"/>
                <a:gd name="connsiteX23" fmla="*/ 1733 w 10187"/>
                <a:gd name="connsiteY23" fmla="*/ 4830 h 10610"/>
                <a:gd name="connsiteX24" fmla="*/ 1664 w 10187"/>
                <a:gd name="connsiteY24" fmla="*/ 4893 h 10610"/>
                <a:gd name="connsiteX25" fmla="*/ 1591 w 10187"/>
                <a:gd name="connsiteY25" fmla="*/ 4952 h 10610"/>
                <a:gd name="connsiteX26" fmla="*/ 1516 w 10187"/>
                <a:gd name="connsiteY26" fmla="*/ 5019 h 10610"/>
                <a:gd name="connsiteX27" fmla="*/ 1442 w 10187"/>
                <a:gd name="connsiteY27" fmla="*/ 5081 h 10610"/>
                <a:gd name="connsiteX28" fmla="*/ 1363 w 10187"/>
                <a:gd name="connsiteY28" fmla="*/ 5140 h 10610"/>
                <a:gd name="connsiteX29" fmla="*/ 1285 w 10187"/>
                <a:gd name="connsiteY29" fmla="*/ 5204 h 10610"/>
                <a:gd name="connsiteX30" fmla="*/ 1206 w 10187"/>
                <a:gd name="connsiteY30" fmla="*/ 5262 h 10610"/>
                <a:gd name="connsiteX31" fmla="*/ 1118 w 10187"/>
                <a:gd name="connsiteY31" fmla="*/ 5319 h 10610"/>
                <a:gd name="connsiteX32" fmla="*/ 1038 w 10187"/>
                <a:gd name="connsiteY32" fmla="*/ 5373 h 10610"/>
                <a:gd name="connsiteX33" fmla="*/ 951 w 10187"/>
                <a:gd name="connsiteY33" fmla="*/ 5429 h 10610"/>
                <a:gd name="connsiteX34" fmla="*/ 866 w 10187"/>
                <a:gd name="connsiteY34" fmla="*/ 5481 h 10610"/>
                <a:gd name="connsiteX35" fmla="*/ 771 w 10187"/>
                <a:gd name="connsiteY35" fmla="*/ 5534 h 10610"/>
                <a:gd name="connsiteX36" fmla="*/ 682 w 10187"/>
                <a:gd name="connsiteY36" fmla="*/ 5583 h 10610"/>
                <a:gd name="connsiteX37" fmla="*/ 589 w 10187"/>
                <a:gd name="connsiteY37" fmla="*/ 5633 h 10610"/>
                <a:gd name="connsiteX38" fmla="*/ 494 w 10187"/>
                <a:gd name="connsiteY38" fmla="*/ 5681 h 10610"/>
                <a:gd name="connsiteX39" fmla="*/ 396 w 10187"/>
                <a:gd name="connsiteY39" fmla="*/ 5725 h 10610"/>
                <a:gd name="connsiteX40" fmla="*/ 299 w 10187"/>
                <a:gd name="connsiteY40" fmla="*/ 5773 h 10610"/>
                <a:gd name="connsiteX41" fmla="*/ 204 w 10187"/>
                <a:gd name="connsiteY41" fmla="*/ 5816 h 10610"/>
                <a:gd name="connsiteX42" fmla="*/ 101 w 10187"/>
                <a:gd name="connsiteY42" fmla="*/ 5857 h 10610"/>
                <a:gd name="connsiteX43" fmla="*/ 0 w 10187"/>
                <a:gd name="connsiteY43" fmla="*/ 5897 h 10610"/>
                <a:gd name="connsiteX44" fmla="*/ 188 w 10187"/>
                <a:gd name="connsiteY44" fmla="*/ 8724 h 10610"/>
                <a:gd name="connsiteX45" fmla="*/ 3402 w 10187"/>
                <a:gd name="connsiteY45" fmla="*/ 10610 h 10610"/>
                <a:gd name="connsiteX46" fmla="*/ 3707 w 10187"/>
                <a:gd name="connsiteY46" fmla="*/ 10485 h 10610"/>
                <a:gd name="connsiteX47" fmla="*/ 3949 w 10187"/>
                <a:gd name="connsiteY47" fmla="*/ 10386 h 10610"/>
                <a:gd name="connsiteX48" fmla="*/ 4185 w 10187"/>
                <a:gd name="connsiteY48" fmla="*/ 10287 h 10610"/>
                <a:gd name="connsiteX49" fmla="*/ 4418 w 10187"/>
                <a:gd name="connsiteY49" fmla="*/ 10183 h 10610"/>
                <a:gd name="connsiteX50" fmla="*/ 4650 w 10187"/>
                <a:gd name="connsiteY50" fmla="*/ 10074 h 10610"/>
                <a:gd name="connsiteX51" fmla="*/ 4868 w 10187"/>
                <a:gd name="connsiteY51" fmla="*/ 9967 h 10610"/>
                <a:gd name="connsiteX52" fmla="*/ 5089 w 10187"/>
                <a:gd name="connsiteY52" fmla="*/ 9849 h 10610"/>
                <a:gd name="connsiteX53" fmla="*/ 5310 w 10187"/>
                <a:gd name="connsiteY53" fmla="*/ 9736 h 10610"/>
                <a:gd name="connsiteX54" fmla="*/ 5520 w 10187"/>
                <a:gd name="connsiteY54" fmla="*/ 9615 h 10610"/>
                <a:gd name="connsiteX55" fmla="*/ 5736 w 10187"/>
                <a:gd name="connsiteY55" fmla="*/ 9491 h 10610"/>
                <a:gd name="connsiteX56" fmla="*/ 5940 w 10187"/>
                <a:gd name="connsiteY56" fmla="*/ 9362 h 10610"/>
                <a:gd name="connsiteX57" fmla="*/ 6144 w 10187"/>
                <a:gd name="connsiteY57" fmla="*/ 9235 h 10610"/>
                <a:gd name="connsiteX58" fmla="*/ 6340 w 10187"/>
                <a:gd name="connsiteY58" fmla="*/ 9105 h 10610"/>
                <a:gd name="connsiteX59" fmla="*/ 6539 w 10187"/>
                <a:gd name="connsiteY59" fmla="*/ 8967 h 10610"/>
                <a:gd name="connsiteX60" fmla="*/ 6730 w 10187"/>
                <a:gd name="connsiteY60" fmla="*/ 8825 h 10610"/>
                <a:gd name="connsiteX61" fmla="*/ 6915 w 10187"/>
                <a:gd name="connsiteY61" fmla="*/ 8689 h 10610"/>
                <a:gd name="connsiteX62" fmla="*/ 7098 w 10187"/>
                <a:gd name="connsiteY62" fmla="*/ 8544 h 10610"/>
                <a:gd name="connsiteX63" fmla="*/ 7274 w 10187"/>
                <a:gd name="connsiteY63" fmla="*/ 8396 h 10610"/>
                <a:gd name="connsiteX64" fmla="*/ 7450 w 10187"/>
                <a:gd name="connsiteY64" fmla="*/ 8248 h 10610"/>
                <a:gd name="connsiteX65" fmla="*/ 7619 w 10187"/>
                <a:gd name="connsiteY65" fmla="*/ 8097 h 10610"/>
                <a:gd name="connsiteX66" fmla="*/ 7787 w 10187"/>
                <a:gd name="connsiteY66" fmla="*/ 7940 h 10610"/>
                <a:gd name="connsiteX67" fmla="*/ 7943 w 10187"/>
                <a:gd name="connsiteY67" fmla="*/ 7782 h 10610"/>
                <a:gd name="connsiteX68" fmla="*/ 8096 w 10187"/>
                <a:gd name="connsiteY68" fmla="*/ 7623 h 10610"/>
                <a:gd name="connsiteX69" fmla="*/ 8251 w 10187"/>
                <a:gd name="connsiteY69" fmla="*/ 7463 h 10610"/>
                <a:gd name="connsiteX70" fmla="*/ 8394 w 10187"/>
                <a:gd name="connsiteY70" fmla="*/ 7296 h 10610"/>
                <a:gd name="connsiteX71" fmla="*/ 8534 w 10187"/>
                <a:gd name="connsiteY71" fmla="*/ 7132 h 10610"/>
                <a:gd name="connsiteX72" fmla="*/ 8670 w 10187"/>
                <a:gd name="connsiteY72" fmla="*/ 6962 h 10610"/>
                <a:gd name="connsiteX73" fmla="*/ 8796 w 10187"/>
                <a:gd name="connsiteY73" fmla="*/ 6788 h 10610"/>
                <a:gd name="connsiteX74" fmla="*/ 8920 w 10187"/>
                <a:gd name="connsiteY74" fmla="*/ 6614 h 10610"/>
                <a:gd name="connsiteX75" fmla="*/ 9046 w 10187"/>
                <a:gd name="connsiteY75" fmla="*/ 6440 h 10610"/>
                <a:gd name="connsiteX76" fmla="*/ 9164 w 10187"/>
                <a:gd name="connsiteY76" fmla="*/ 6262 h 10610"/>
                <a:gd name="connsiteX77" fmla="*/ 9268 w 10187"/>
                <a:gd name="connsiteY77" fmla="*/ 6084 h 10610"/>
                <a:gd name="connsiteX78" fmla="*/ 9375 w 10187"/>
                <a:gd name="connsiteY78" fmla="*/ 5902 h 10610"/>
                <a:gd name="connsiteX79" fmla="*/ 9470 w 10187"/>
                <a:gd name="connsiteY79" fmla="*/ 5716 h 10610"/>
                <a:gd name="connsiteX80" fmla="*/ 9566 w 10187"/>
                <a:gd name="connsiteY80" fmla="*/ 5533 h 10610"/>
                <a:gd name="connsiteX81" fmla="*/ 9650 w 10187"/>
                <a:gd name="connsiteY81" fmla="*/ 5344 h 10610"/>
                <a:gd name="connsiteX82" fmla="*/ 9731 w 10187"/>
                <a:gd name="connsiteY82" fmla="*/ 5153 h 10610"/>
                <a:gd name="connsiteX83" fmla="*/ 9805 w 10187"/>
                <a:gd name="connsiteY83" fmla="*/ 4961 h 10610"/>
                <a:gd name="connsiteX84" fmla="*/ 9878 w 10187"/>
                <a:gd name="connsiteY84" fmla="*/ 4771 h 10610"/>
                <a:gd name="connsiteX85" fmla="*/ 9940 w 10187"/>
                <a:gd name="connsiteY85" fmla="*/ 4578 h 10610"/>
                <a:gd name="connsiteX86" fmla="*/ 9999 w 10187"/>
                <a:gd name="connsiteY86" fmla="*/ 4381 h 10610"/>
                <a:gd name="connsiteX87" fmla="*/ 9736 w 10187"/>
                <a:gd name="connsiteY87" fmla="*/ 0 h 10610"/>
                <a:gd name="connsiteX88" fmla="*/ 6509 w 10187"/>
                <a:gd name="connsiteY88" fmla="*/ 1883 h 10610"/>
                <a:gd name="connsiteX89" fmla="*/ 2524 w 10187"/>
                <a:gd name="connsiteY89" fmla="*/ 1506 h 10610"/>
                <a:gd name="connsiteX0" fmla="*/ 2524 w 10187"/>
                <a:gd name="connsiteY0" fmla="*/ 1506 h 10610"/>
                <a:gd name="connsiteX1" fmla="*/ 2693 w 10187"/>
                <a:gd name="connsiteY1" fmla="*/ 3145 h 10610"/>
                <a:gd name="connsiteX2" fmla="*/ 2678 w 10187"/>
                <a:gd name="connsiteY2" fmla="*/ 3230 h 10610"/>
                <a:gd name="connsiteX3" fmla="*/ 2655 w 10187"/>
                <a:gd name="connsiteY3" fmla="*/ 3314 h 10610"/>
                <a:gd name="connsiteX4" fmla="*/ 2634 w 10187"/>
                <a:gd name="connsiteY4" fmla="*/ 3399 h 10610"/>
                <a:gd name="connsiteX5" fmla="*/ 2607 w 10187"/>
                <a:gd name="connsiteY5" fmla="*/ 3479 h 10610"/>
                <a:gd name="connsiteX6" fmla="*/ 2573 w 10187"/>
                <a:gd name="connsiteY6" fmla="*/ 3560 h 10610"/>
                <a:gd name="connsiteX7" fmla="*/ 2542 w 10187"/>
                <a:gd name="connsiteY7" fmla="*/ 3643 h 10610"/>
                <a:gd name="connsiteX8" fmla="*/ 2514 w 10187"/>
                <a:gd name="connsiteY8" fmla="*/ 3722 h 10610"/>
                <a:gd name="connsiteX9" fmla="*/ 2480 w 10187"/>
                <a:gd name="connsiteY9" fmla="*/ 3804 h 10610"/>
                <a:gd name="connsiteX10" fmla="*/ 2440 w 10187"/>
                <a:gd name="connsiteY10" fmla="*/ 3883 h 10610"/>
                <a:gd name="connsiteX11" fmla="*/ 2398 w 10187"/>
                <a:gd name="connsiteY11" fmla="*/ 3960 h 10610"/>
                <a:gd name="connsiteX12" fmla="*/ 2358 w 10187"/>
                <a:gd name="connsiteY12" fmla="*/ 4039 h 10610"/>
                <a:gd name="connsiteX13" fmla="*/ 2310 w 10187"/>
                <a:gd name="connsiteY13" fmla="*/ 4118 h 10610"/>
                <a:gd name="connsiteX14" fmla="*/ 2259 w 10187"/>
                <a:gd name="connsiteY14" fmla="*/ 4189 h 10610"/>
                <a:gd name="connsiteX15" fmla="*/ 2211 w 10187"/>
                <a:gd name="connsiteY15" fmla="*/ 4265 h 10610"/>
                <a:gd name="connsiteX16" fmla="*/ 2159 w 10187"/>
                <a:gd name="connsiteY16" fmla="*/ 4339 h 10610"/>
                <a:gd name="connsiteX17" fmla="*/ 2102 w 10187"/>
                <a:gd name="connsiteY17" fmla="*/ 4412 h 10610"/>
                <a:gd name="connsiteX18" fmla="*/ 2051 w 10187"/>
                <a:gd name="connsiteY18" fmla="*/ 4486 h 10610"/>
                <a:gd name="connsiteX19" fmla="*/ 1991 w 10187"/>
                <a:gd name="connsiteY19" fmla="*/ 4557 h 10610"/>
                <a:gd name="connsiteX20" fmla="*/ 1928 w 10187"/>
                <a:gd name="connsiteY20" fmla="*/ 4623 h 10610"/>
                <a:gd name="connsiteX21" fmla="*/ 1863 w 10187"/>
                <a:gd name="connsiteY21" fmla="*/ 4691 h 10610"/>
                <a:gd name="connsiteX22" fmla="*/ 1803 w 10187"/>
                <a:gd name="connsiteY22" fmla="*/ 4758 h 10610"/>
                <a:gd name="connsiteX23" fmla="*/ 1733 w 10187"/>
                <a:gd name="connsiteY23" fmla="*/ 4830 h 10610"/>
                <a:gd name="connsiteX24" fmla="*/ 1664 w 10187"/>
                <a:gd name="connsiteY24" fmla="*/ 4893 h 10610"/>
                <a:gd name="connsiteX25" fmla="*/ 1591 w 10187"/>
                <a:gd name="connsiteY25" fmla="*/ 4952 h 10610"/>
                <a:gd name="connsiteX26" fmla="*/ 1516 w 10187"/>
                <a:gd name="connsiteY26" fmla="*/ 5019 h 10610"/>
                <a:gd name="connsiteX27" fmla="*/ 1442 w 10187"/>
                <a:gd name="connsiteY27" fmla="*/ 5081 h 10610"/>
                <a:gd name="connsiteX28" fmla="*/ 1363 w 10187"/>
                <a:gd name="connsiteY28" fmla="*/ 5140 h 10610"/>
                <a:gd name="connsiteX29" fmla="*/ 1285 w 10187"/>
                <a:gd name="connsiteY29" fmla="*/ 5204 h 10610"/>
                <a:gd name="connsiteX30" fmla="*/ 1206 w 10187"/>
                <a:gd name="connsiteY30" fmla="*/ 5262 h 10610"/>
                <a:gd name="connsiteX31" fmla="*/ 1118 w 10187"/>
                <a:gd name="connsiteY31" fmla="*/ 5319 h 10610"/>
                <a:gd name="connsiteX32" fmla="*/ 1038 w 10187"/>
                <a:gd name="connsiteY32" fmla="*/ 5373 h 10610"/>
                <a:gd name="connsiteX33" fmla="*/ 951 w 10187"/>
                <a:gd name="connsiteY33" fmla="*/ 5429 h 10610"/>
                <a:gd name="connsiteX34" fmla="*/ 866 w 10187"/>
                <a:gd name="connsiteY34" fmla="*/ 5481 h 10610"/>
                <a:gd name="connsiteX35" fmla="*/ 771 w 10187"/>
                <a:gd name="connsiteY35" fmla="*/ 5534 h 10610"/>
                <a:gd name="connsiteX36" fmla="*/ 682 w 10187"/>
                <a:gd name="connsiteY36" fmla="*/ 5583 h 10610"/>
                <a:gd name="connsiteX37" fmla="*/ 589 w 10187"/>
                <a:gd name="connsiteY37" fmla="*/ 5633 h 10610"/>
                <a:gd name="connsiteX38" fmla="*/ 494 w 10187"/>
                <a:gd name="connsiteY38" fmla="*/ 5681 h 10610"/>
                <a:gd name="connsiteX39" fmla="*/ 396 w 10187"/>
                <a:gd name="connsiteY39" fmla="*/ 5725 h 10610"/>
                <a:gd name="connsiteX40" fmla="*/ 299 w 10187"/>
                <a:gd name="connsiteY40" fmla="*/ 5773 h 10610"/>
                <a:gd name="connsiteX41" fmla="*/ 204 w 10187"/>
                <a:gd name="connsiteY41" fmla="*/ 5816 h 10610"/>
                <a:gd name="connsiteX42" fmla="*/ 101 w 10187"/>
                <a:gd name="connsiteY42" fmla="*/ 5857 h 10610"/>
                <a:gd name="connsiteX43" fmla="*/ 0 w 10187"/>
                <a:gd name="connsiteY43" fmla="*/ 5897 h 10610"/>
                <a:gd name="connsiteX44" fmla="*/ 188 w 10187"/>
                <a:gd name="connsiteY44" fmla="*/ 8724 h 10610"/>
                <a:gd name="connsiteX45" fmla="*/ 3402 w 10187"/>
                <a:gd name="connsiteY45" fmla="*/ 10610 h 10610"/>
                <a:gd name="connsiteX46" fmla="*/ 3707 w 10187"/>
                <a:gd name="connsiteY46" fmla="*/ 10485 h 10610"/>
                <a:gd name="connsiteX47" fmla="*/ 3949 w 10187"/>
                <a:gd name="connsiteY47" fmla="*/ 10386 h 10610"/>
                <a:gd name="connsiteX48" fmla="*/ 4185 w 10187"/>
                <a:gd name="connsiteY48" fmla="*/ 10287 h 10610"/>
                <a:gd name="connsiteX49" fmla="*/ 4418 w 10187"/>
                <a:gd name="connsiteY49" fmla="*/ 10183 h 10610"/>
                <a:gd name="connsiteX50" fmla="*/ 4650 w 10187"/>
                <a:gd name="connsiteY50" fmla="*/ 10074 h 10610"/>
                <a:gd name="connsiteX51" fmla="*/ 4868 w 10187"/>
                <a:gd name="connsiteY51" fmla="*/ 9967 h 10610"/>
                <a:gd name="connsiteX52" fmla="*/ 5089 w 10187"/>
                <a:gd name="connsiteY52" fmla="*/ 9849 h 10610"/>
                <a:gd name="connsiteX53" fmla="*/ 5310 w 10187"/>
                <a:gd name="connsiteY53" fmla="*/ 9736 h 10610"/>
                <a:gd name="connsiteX54" fmla="*/ 5520 w 10187"/>
                <a:gd name="connsiteY54" fmla="*/ 9615 h 10610"/>
                <a:gd name="connsiteX55" fmla="*/ 5736 w 10187"/>
                <a:gd name="connsiteY55" fmla="*/ 9491 h 10610"/>
                <a:gd name="connsiteX56" fmla="*/ 5940 w 10187"/>
                <a:gd name="connsiteY56" fmla="*/ 9362 h 10610"/>
                <a:gd name="connsiteX57" fmla="*/ 6144 w 10187"/>
                <a:gd name="connsiteY57" fmla="*/ 9235 h 10610"/>
                <a:gd name="connsiteX58" fmla="*/ 6340 w 10187"/>
                <a:gd name="connsiteY58" fmla="*/ 9105 h 10610"/>
                <a:gd name="connsiteX59" fmla="*/ 6539 w 10187"/>
                <a:gd name="connsiteY59" fmla="*/ 8967 h 10610"/>
                <a:gd name="connsiteX60" fmla="*/ 6730 w 10187"/>
                <a:gd name="connsiteY60" fmla="*/ 8825 h 10610"/>
                <a:gd name="connsiteX61" fmla="*/ 6915 w 10187"/>
                <a:gd name="connsiteY61" fmla="*/ 8689 h 10610"/>
                <a:gd name="connsiteX62" fmla="*/ 7098 w 10187"/>
                <a:gd name="connsiteY62" fmla="*/ 8544 h 10610"/>
                <a:gd name="connsiteX63" fmla="*/ 7274 w 10187"/>
                <a:gd name="connsiteY63" fmla="*/ 8396 h 10610"/>
                <a:gd name="connsiteX64" fmla="*/ 7450 w 10187"/>
                <a:gd name="connsiteY64" fmla="*/ 8248 h 10610"/>
                <a:gd name="connsiteX65" fmla="*/ 7619 w 10187"/>
                <a:gd name="connsiteY65" fmla="*/ 8097 h 10610"/>
                <a:gd name="connsiteX66" fmla="*/ 7787 w 10187"/>
                <a:gd name="connsiteY66" fmla="*/ 7940 h 10610"/>
                <a:gd name="connsiteX67" fmla="*/ 7943 w 10187"/>
                <a:gd name="connsiteY67" fmla="*/ 7782 h 10610"/>
                <a:gd name="connsiteX68" fmla="*/ 8096 w 10187"/>
                <a:gd name="connsiteY68" fmla="*/ 7623 h 10610"/>
                <a:gd name="connsiteX69" fmla="*/ 8251 w 10187"/>
                <a:gd name="connsiteY69" fmla="*/ 7463 h 10610"/>
                <a:gd name="connsiteX70" fmla="*/ 8394 w 10187"/>
                <a:gd name="connsiteY70" fmla="*/ 7296 h 10610"/>
                <a:gd name="connsiteX71" fmla="*/ 8534 w 10187"/>
                <a:gd name="connsiteY71" fmla="*/ 7132 h 10610"/>
                <a:gd name="connsiteX72" fmla="*/ 8670 w 10187"/>
                <a:gd name="connsiteY72" fmla="*/ 6962 h 10610"/>
                <a:gd name="connsiteX73" fmla="*/ 8796 w 10187"/>
                <a:gd name="connsiteY73" fmla="*/ 6788 h 10610"/>
                <a:gd name="connsiteX74" fmla="*/ 8920 w 10187"/>
                <a:gd name="connsiteY74" fmla="*/ 6614 h 10610"/>
                <a:gd name="connsiteX75" fmla="*/ 9046 w 10187"/>
                <a:gd name="connsiteY75" fmla="*/ 6440 h 10610"/>
                <a:gd name="connsiteX76" fmla="*/ 9164 w 10187"/>
                <a:gd name="connsiteY76" fmla="*/ 6262 h 10610"/>
                <a:gd name="connsiteX77" fmla="*/ 9268 w 10187"/>
                <a:gd name="connsiteY77" fmla="*/ 6084 h 10610"/>
                <a:gd name="connsiteX78" fmla="*/ 9375 w 10187"/>
                <a:gd name="connsiteY78" fmla="*/ 5902 h 10610"/>
                <a:gd name="connsiteX79" fmla="*/ 9470 w 10187"/>
                <a:gd name="connsiteY79" fmla="*/ 5716 h 10610"/>
                <a:gd name="connsiteX80" fmla="*/ 9566 w 10187"/>
                <a:gd name="connsiteY80" fmla="*/ 5533 h 10610"/>
                <a:gd name="connsiteX81" fmla="*/ 9650 w 10187"/>
                <a:gd name="connsiteY81" fmla="*/ 5344 h 10610"/>
                <a:gd name="connsiteX82" fmla="*/ 9731 w 10187"/>
                <a:gd name="connsiteY82" fmla="*/ 5153 h 10610"/>
                <a:gd name="connsiteX83" fmla="*/ 9805 w 10187"/>
                <a:gd name="connsiteY83" fmla="*/ 4961 h 10610"/>
                <a:gd name="connsiteX84" fmla="*/ 9878 w 10187"/>
                <a:gd name="connsiteY84" fmla="*/ 4771 h 10610"/>
                <a:gd name="connsiteX85" fmla="*/ 9940 w 10187"/>
                <a:gd name="connsiteY85" fmla="*/ 4578 h 10610"/>
                <a:gd name="connsiteX86" fmla="*/ 9999 w 10187"/>
                <a:gd name="connsiteY86" fmla="*/ 4381 h 10610"/>
                <a:gd name="connsiteX87" fmla="*/ 9736 w 10187"/>
                <a:gd name="connsiteY87" fmla="*/ 0 h 10610"/>
                <a:gd name="connsiteX88" fmla="*/ 6509 w 10187"/>
                <a:gd name="connsiteY88" fmla="*/ 1883 h 10610"/>
                <a:gd name="connsiteX89" fmla="*/ 2524 w 10187"/>
                <a:gd name="connsiteY89" fmla="*/ 1506 h 10610"/>
                <a:gd name="connsiteX0" fmla="*/ 2524 w 10249"/>
                <a:gd name="connsiteY0" fmla="*/ 1506 h 10610"/>
                <a:gd name="connsiteX1" fmla="*/ 2693 w 10249"/>
                <a:gd name="connsiteY1" fmla="*/ 3145 h 10610"/>
                <a:gd name="connsiteX2" fmla="*/ 2678 w 10249"/>
                <a:gd name="connsiteY2" fmla="*/ 3230 h 10610"/>
                <a:gd name="connsiteX3" fmla="*/ 2655 w 10249"/>
                <a:gd name="connsiteY3" fmla="*/ 3314 h 10610"/>
                <a:gd name="connsiteX4" fmla="*/ 2634 w 10249"/>
                <a:gd name="connsiteY4" fmla="*/ 3399 h 10610"/>
                <a:gd name="connsiteX5" fmla="*/ 2607 w 10249"/>
                <a:gd name="connsiteY5" fmla="*/ 3479 h 10610"/>
                <a:gd name="connsiteX6" fmla="*/ 2573 w 10249"/>
                <a:gd name="connsiteY6" fmla="*/ 3560 h 10610"/>
                <a:gd name="connsiteX7" fmla="*/ 2542 w 10249"/>
                <a:gd name="connsiteY7" fmla="*/ 3643 h 10610"/>
                <a:gd name="connsiteX8" fmla="*/ 2514 w 10249"/>
                <a:gd name="connsiteY8" fmla="*/ 3722 h 10610"/>
                <a:gd name="connsiteX9" fmla="*/ 2480 w 10249"/>
                <a:gd name="connsiteY9" fmla="*/ 3804 h 10610"/>
                <a:gd name="connsiteX10" fmla="*/ 2440 w 10249"/>
                <a:gd name="connsiteY10" fmla="*/ 3883 h 10610"/>
                <a:gd name="connsiteX11" fmla="*/ 2398 w 10249"/>
                <a:gd name="connsiteY11" fmla="*/ 3960 h 10610"/>
                <a:gd name="connsiteX12" fmla="*/ 2358 w 10249"/>
                <a:gd name="connsiteY12" fmla="*/ 4039 h 10610"/>
                <a:gd name="connsiteX13" fmla="*/ 2310 w 10249"/>
                <a:gd name="connsiteY13" fmla="*/ 4118 h 10610"/>
                <a:gd name="connsiteX14" fmla="*/ 2259 w 10249"/>
                <a:gd name="connsiteY14" fmla="*/ 4189 h 10610"/>
                <a:gd name="connsiteX15" fmla="*/ 2211 w 10249"/>
                <a:gd name="connsiteY15" fmla="*/ 4265 h 10610"/>
                <a:gd name="connsiteX16" fmla="*/ 2159 w 10249"/>
                <a:gd name="connsiteY16" fmla="*/ 4339 h 10610"/>
                <a:gd name="connsiteX17" fmla="*/ 2102 w 10249"/>
                <a:gd name="connsiteY17" fmla="*/ 4412 h 10610"/>
                <a:gd name="connsiteX18" fmla="*/ 2051 w 10249"/>
                <a:gd name="connsiteY18" fmla="*/ 4486 h 10610"/>
                <a:gd name="connsiteX19" fmla="*/ 1991 w 10249"/>
                <a:gd name="connsiteY19" fmla="*/ 4557 h 10610"/>
                <a:gd name="connsiteX20" fmla="*/ 1928 w 10249"/>
                <a:gd name="connsiteY20" fmla="*/ 4623 h 10610"/>
                <a:gd name="connsiteX21" fmla="*/ 1863 w 10249"/>
                <a:gd name="connsiteY21" fmla="*/ 4691 h 10610"/>
                <a:gd name="connsiteX22" fmla="*/ 1803 w 10249"/>
                <a:gd name="connsiteY22" fmla="*/ 4758 h 10610"/>
                <a:gd name="connsiteX23" fmla="*/ 1733 w 10249"/>
                <a:gd name="connsiteY23" fmla="*/ 4830 h 10610"/>
                <a:gd name="connsiteX24" fmla="*/ 1664 w 10249"/>
                <a:gd name="connsiteY24" fmla="*/ 4893 h 10610"/>
                <a:gd name="connsiteX25" fmla="*/ 1591 w 10249"/>
                <a:gd name="connsiteY25" fmla="*/ 4952 h 10610"/>
                <a:gd name="connsiteX26" fmla="*/ 1516 w 10249"/>
                <a:gd name="connsiteY26" fmla="*/ 5019 h 10610"/>
                <a:gd name="connsiteX27" fmla="*/ 1442 w 10249"/>
                <a:gd name="connsiteY27" fmla="*/ 5081 h 10610"/>
                <a:gd name="connsiteX28" fmla="*/ 1363 w 10249"/>
                <a:gd name="connsiteY28" fmla="*/ 5140 h 10610"/>
                <a:gd name="connsiteX29" fmla="*/ 1285 w 10249"/>
                <a:gd name="connsiteY29" fmla="*/ 5204 h 10610"/>
                <a:gd name="connsiteX30" fmla="*/ 1206 w 10249"/>
                <a:gd name="connsiteY30" fmla="*/ 5262 h 10610"/>
                <a:gd name="connsiteX31" fmla="*/ 1118 w 10249"/>
                <a:gd name="connsiteY31" fmla="*/ 5319 h 10610"/>
                <a:gd name="connsiteX32" fmla="*/ 1038 w 10249"/>
                <a:gd name="connsiteY32" fmla="*/ 5373 h 10610"/>
                <a:gd name="connsiteX33" fmla="*/ 951 w 10249"/>
                <a:gd name="connsiteY33" fmla="*/ 5429 h 10610"/>
                <a:gd name="connsiteX34" fmla="*/ 866 w 10249"/>
                <a:gd name="connsiteY34" fmla="*/ 5481 h 10610"/>
                <a:gd name="connsiteX35" fmla="*/ 771 w 10249"/>
                <a:gd name="connsiteY35" fmla="*/ 5534 h 10610"/>
                <a:gd name="connsiteX36" fmla="*/ 682 w 10249"/>
                <a:gd name="connsiteY36" fmla="*/ 5583 h 10610"/>
                <a:gd name="connsiteX37" fmla="*/ 589 w 10249"/>
                <a:gd name="connsiteY37" fmla="*/ 5633 h 10610"/>
                <a:gd name="connsiteX38" fmla="*/ 494 w 10249"/>
                <a:gd name="connsiteY38" fmla="*/ 5681 h 10610"/>
                <a:gd name="connsiteX39" fmla="*/ 396 w 10249"/>
                <a:gd name="connsiteY39" fmla="*/ 5725 h 10610"/>
                <a:gd name="connsiteX40" fmla="*/ 299 w 10249"/>
                <a:gd name="connsiteY40" fmla="*/ 5773 h 10610"/>
                <a:gd name="connsiteX41" fmla="*/ 204 w 10249"/>
                <a:gd name="connsiteY41" fmla="*/ 5816 h 10610"/>
                <a:gd name="connsiteX42" fmla="*/ 101 w 10249"/>
                <a:gd name="connsiteY42" fmla="*/ 5857 h 10610"/>
                <a:gd name="connsiteX43" fmla="*/ 0 w 10249"/>
                <a:gd name="connsiteY43" fmla="*/ 5897 h 10610"/>
                <a:gd name="connsiteX44" fmla="*/ 188 w 10249"/>
                <a:gd name="connsiteY44" fmla="*/ 8724 h 10610"/>
                <a:gd name="connsiteX45" fmla="*/ 3402 w 10249"/>
                <a:gd name="connsiteY45" fmla="*/ 10610 h 10610"/>
                <a:gd name="connsiteX46" fmla="*/ 3707 w 10249"/>
                <a:gd name="connsiteY46" fmla="*/ 10485 h 10610"/>
                <a:gd name="connsiteX47" fmla="*/ 3949 w 10249"/>
                <a:gd name="connsiteY47" fmla="*/ 10386 h 10610"/>
                <a:gd name="connsiteX48" fmla="*/ 4185 w 10249"/>
                <a:gd name="connsiteY48" fmla="*/ 10287 h 10610"/>
                <a:gd name="connsiteX49" fmla="*/ 4418 w 10249"/>
                <a:gd name="connsiteY49" fmla="*/ 10183 h 10610"/>
                <a:gd name="connsiteX50" fmla="*/ 4650 w 10249"/>
                <a:gd name="connsiteY50" fmla="*/ 10074 h 10610"/>
                <a:gd name="connsiteX51" fmla="*/ 4868 w 10249"/>
                <a:gd name="connsiteY51" fmla="*/ 9967 h 10610"/>
                <a:gd name="connsiteX52" fmla="*/ 5089 w 10249"/>
                <a:gd name="connsiteY52" fmla="*/ 9849 h 10610"/>
                <a:gd name="connsiteX53" fmla="*/ 5310 w 10249"/>
                <a:gd name="connsiteY53" fmla="*/ 9736 h 10610"/>
                <a:gd name="connsiteX54" fmla="*/ 5520 w 10249"/>
                <a:gd name="connsiteY54" fmla="*/ 9615 h 10610"/>
                <a:gd name="connsiteX55" fmla="*/ 5736 w 10249"/>
                <a:gd name="connsiteY55" fmla="*/ 9491 h 10610"/>
                <a:gd name="connsiteX56" fmla="*/ 5940 w 10249"/>
                <a:gd name="connsiteY56" fmla="*/ 9362 h 10610"/>
                <a:gd name="connsiteX57" fmla="*/ 6144 w 10249"/>
                <a:gd name="connsiteY57" fmla="*/ 9235 h 10610"/>
                <a:gd name="connsiteX58" fmla="*/ 6340 w 10249"/>
                <a:gd name="connsiteY58" fmla="*/ 9105 h 10610"/>
                <a:gd name="connsiteX59" fmla="*/ 6539 w 10249"/>
                <a:gd name="connsiteY59" fmla="*/ 8967 h 10610"/>
                <a:gd name="connsiteX60" fmla="*/ 6730 w 10249"/>
                <a:gd name="connsiteY60" fmla="*/ 8825 h 10610"/>
                <a:gd name="connsiteX61" fmla="*/ 6915 w 10249"/>
                <a:gd name="connsiteY61" fmla="*/ 8689 h 10610"/>
                <a:gd name="connsiteX62" fmla="*/ 7098 w 10249"/>
                <a:gd name="connsiteY62" fmla="*/ 8544 h 10610"/>
                <a:gd name="connsiteX63" fmla="*/ 7274 w 10249"/>
                <a:gd name="connsiteY63" fmla="*/ 8396 h 10610"/>
                <a:gd name="connsiteX64" fmla="*/ 7450 w 10249"/>
                <a:gd name="connsiteY64" fmla="*/ 8248 h 10610"/>
                <a:gd name="connsiteX65" fmla="*/ 7619 w 10249"/>
                <a:gd name="connsiteY65" fmla="*/ 8097 h 10610"/>
                <a:gd name="connsiteX66" fmla="*/ 7787 w 10249"/>
                <a:gd name="connsiteY66" fmla="*/ 7940 h 10610"/>
                <a:gd name="connsiteX67" fmla="*/ 7943 w 10249"/>
                <a:gd name="connsiteY67" fmla="*/ 7782 h 10610"/>
                <a:gd name="connsiteX68" fmla="*/ 8096 w 10249"/>
                <a:gd name="connsiteY68" fmla="*/ 7623 h 10610"/>
                <a:gd name="connsiteX69" fmla="*/ 8251 w 10249"/>
                <a:gd name="connsiteY69" fmla="*/ 7463 h 10610"/>
                <a:gd name="connsiteX70" fmla="*/ 8394 w 10249"/>
                <a:gd name="connsiteY70" fmla="*/ 7296 h 10610"/>
                <a:gd name="connsiteX71" fmla="*/ 8534 w 10249"/>
                <a:gd name="connsiteY71" fmla="*/ 7132 h 10610"/>
                <a:gd name="connsiteX72" fmla="*/ 8670 w 10249"/>
                <a:gd name="connsiteY72" fmla="*/ 6962 h 10610"/>
                <a:gd name="connsiteX73" fmla="*/ 8796 w 10249"/>
                <a:gd name="connsiteY73" fmla="*/ 6788 h 10610"/>
                <a:gd name="connsiteX74" fmla="*/ 8920 w 10249"/>
                <a:gd name="connsiteY74" fmla="*/ 6614 h 10610"/>
                <a:gd name="connsiteX75" fmla="*/ 9046 w 10249"/>
                <a:gd name="connsiteY75" fmla="*/ 6440 h 10610"/>
                <a:gd name="connsiteX76" fmla="*/ 9164 w 10249"/>
                <a:gd name="connsiteY76" fmla="*/ 6262 h 10610"/>
                <a:gd name="connsiteX77" fmla="*/ 9268 w 10249"/>
                <a:gd name="connsiteY77" fmla="*/ 6084 h 10610"/>
                <a:gd name="connsiteX78" fmla="*/ 9375 w 10249"/>
                <a:gd name="connsiteY78" fmla="*/ 5902 h 10610"/>
                <a:gd name="connsiteX79" fmla="*/ 9470 w 10249"/>
                <a:gd name="connsiteY79" fmla="*/ 5716 h 10610"/>
                <a:gd name="connsiteX80" fmla="*/ 9566 w 10249"/>
                <a:gd name="connsiteY80" fmla="*/ 5533 h 10610"/>
                <a:gd name="connsiteX81" fmla="*/ 9650 w 10249"/>
                <a:gd name="connsiteY81" fmla="*/ 5344 h 10610"/>
                <a:gd name="connsiteX82" fmla="*/ 9731 w 10249"/>
                <a:gd name="connsiteY82" fmla="*/ 5153 h 10610"/>
                <a:gd name="connsiteX83" fmla="*/ 9805 w 10249"/>
                <a:gd name="connsiteY83" fmla="*/ 4961 h 10610"/>
                <a:gd name="connsiteX84" fmla="*/ 9878 w 10249"/>
                <a:gd name="connsiteY84" fmla="*/ 4771 h 10610"/>
                <a:gd name="connsiteX85" fmla="*/ 9940 w 10249"/>
                <a:gd name="connsiteY85" fmla="*/ 4578 h 10610"/>
                <a:gd name="connsiteX86" fmla="*/ 9999 w 10249"/>
                <a:gd name="connsiteY86" fmla="*/ 4381 h 10610"/>
                <a:gd name="connsiteX87" fmla="*/ 9736 w 10249"/>
                <a:gd name="connsiteY87" fmla="*/ 0 h 10610"/>
                <a:gd name="connsiteX88" fmla="*/ 6509 w 10249"/>
                <a:gd name="connsiteY88" fmla="*/ 1883 h 10610"/>
                <a:gd name="connsiteX89" fmla="*/ 2524 w 10249"/>
                <a:gd name="connsiteY89" fmla="*/ 1506 h 10610"/>
                <a:gd name="connsiteX0" fmla="*/ 2524 w 10235"/>
                <a:gd name="connsiteY0" fmla="*/ 1506 h 10610"/>
                <a:gd name="connsiteX1" fmla="*/ 2693 w 10235"/>
                <a:gd name="connsiteY1" fmla="*/ 3145 h 10610"/>
                <a:gd name="connsiteX2" fmla="*/ 2678 w 10235"/>
                <a:gd name="connsiteY2" fmla="*/ 3230 h 10610"/>
                <a:gd name="connsiteX3" fmla="*/ 2655 w 10235"/>
                <a:gd name="connsiteY3" fmla="*/ 3314 h 10610"/>
                <a:gd name="connsiteX4" fmla="*/ 2634 w 10235"/>
                <a:gd name="connsiteY4" fmla="*/ 3399 h 10610"/>
                <a:gd name="connsiteX5" fmla="*/ 2607 w 10235"/>
                <a:gd name="connsiteY5" fmla="*/ 3479 h 10610"/>
                <a:gd name="connsiteX6" fmla="*/ 2573 w 10235"/>
                <a:gd name="connsiteY6" fmla="*/ 3560 h 10610"/>
                <a:gd name="connsiteX7" fmla="*/ 2542 w 10235"/>
                <a:gd name="connsiteY7" fmla="*/ 3643 h 10610"/>
                <a:gd name="connsiteX8" fmla="*/ 2514 w 10235"/>
                <a:gd name="connsiteY8" fmla="*/ 3722 h 10610"/>
                <a:gd name="connsiteX9" fmla="*/ 2480 w 10235"/>
                <a:gd name="connsiteY9" fmla="*/ 3804 h 10610"/>
                <a:gd name="connsiteX10" fmla="*/ 2440 w 10235"/>
                <a:gd name="connsiteY10" fmla="*/ 3883 h 10610"/>
                <a:gd name="connsiteX11" fmla="*/ 2398 w 10235"/>
                <a:gd name="connsiteY11" fmla="*/ 3960 h 10610"/>
                <a:gd name="connsiteX12" fmla="*/ 2358 w 10235"/>
                <a:gd name="connsiteY12" fmla="*/ 4039 h 10610"/>
                <a:gd name="connsiteX13" fmla="*/ 2310 w 10235"/>
                <a:gd name="connsiteY13" fmla="*/ 4118 h 10610"/>
                <a:gd name="connsiteX14" fmla="*/ 2259 w 10235"/>
                <a:gd name="connsiteY14" fmla="*/ 4189 h 10610"/>
                <a:gd name="connsiteX15" fmla="*/ 2211 w 10235"/>
                <a:gd name="connsiteY15" fmla="*/ 4265 h 10610"/>
                <a:gd name="connsiteX16" fmla="*/ 2159 w 10235"/>
                <a:gd name="connsiteY16" fmla="*/ 4339 h 10610"/>
                <a:gd name="connsiteX17" fmla="*/ 2102 w 10235"/>
                <a:gd name="connsiteY17" fmla="*/ 4412 h 10610"/>
                <a:gd name="connsiteX18" fmla="*/ 2051 w 10235"/>
                <a:gd name="connsiteY18" fmla="*/ 4486 h 10610"/>
                <a:gd name="connsiteX19" fmla="*/ 1991 w 10235"/>
                <a:gd name="connsiteY19" fmla="*/ 4557 h 10610"/>
                <a:gd name="connsiteX20" fmla="*/ 1928 w 10235"/>
                <a:gd name="connsiteY20" fmla="*/ 4623 h 10610"/>
                <a:gd name="connsiteX21" fmla="*/ 1863 w 10235"/>
                <a:gd name="connsiteY21" fmla="*/ 4691 h 10610"/>
                <a:gd name="connsiteX22" fmla="*/ 1803 w 10235"/>
                <a:gd name="connsiteY22" fmla="*/ 4758 h 10610"/>
                <a:gd name="connsiteX23" fmla="*/ 1733 w 10235"/>
                <a:gd name="connsiteY23" fmla="*/ 4830 h 10610"/>
                <a:gd name="connsiteX24" fmla="*/ 1664 w 10235"/>
                <a:gd name="connsiteY24" fmla="*/ 4893 h 10610"/>
                <a:gd name="connsiteX25" fmla="*/ 1591 w 10235"/>
                <a:gd name="connsiteY25" fmla="*/ 4952 h 10610"/>
                <a:gd name="connsiteX26" fmla="*/ 1516 w 10235"/>
                <a:gd name="connsiteY26" fmla="*/ 5019 h 10610"/>
                <a:gd name="connsiteX27" fmla="*/ 1442 w 10235"/>
                <a:gd name="connsiteY27" fmla="*/ 5081 h 10610"/>
                <a:gd name="connsiteX28" fmla="*/ 1363 w 10235"/>
                <a:gd name="connsiteY28" fmla="*/ 5140 h 10610"/>
                <a:gd name="connsiteX29" fmla="*/ 1285 w 10235"/>
                <a:gd name="connsiteY29" fmla="*/ 5204 h 10610"/>
                <a:gd name="connsiteX30" fmla="*/ 1206 w 10235"/>
                <a:gd name="connsiteY30" fmla="*/ 5262 h 10610"/>
                <a:gd name="connsiteX31" fmla="*/ 1118 w 10235"/>
                <a:gd name="connsiteY31" fmla="*/ 5319 h 10610"/>
                <a:gd name="connsiteX32" fmla="*/ 1038 w 10235"/>
                <a:gd name="connsiteY32" fmla="*/ 5373 h 10610"/>
                <a:gd name="connsiteX33" fmla="*/ 951 w 10235"/>
                <a:gd name="connsiteY33" fmla="*/ 5429 h 10610"/>
                <a:gd name="connsiteX34" fmla="*/ 866 w 10235"/>
                <a:gd name="connsiteY34" fmla="*/ 5481 h 10610"/>
                <a:gd name="connsiteX35" fmla="*/ 771 w 10235"/>
                <a:gd name="connsiteY35" fmla="*/ 5534 h 10610"/>
                <a:gd name="connsiteX36" fmla="*/ 682 w 10235"/>
                <a:gd name="connsiteY36" fmla="*/ 5583 h 10610"/>
                <a:gd name="connsiteX37" fmla="*/ 589 w 10235"/>
                <a:gd name="connsiteY37" fmla="*/ 5633 h 10610"/>
                <a:gd name="connsiteX38" fmla="*/ 494 w 10235"/>
                <a:gd name="connsiteY38" fmla="*/ 5681 h 10610"/>
                <a:gd name="connsiteX39" fmla="*/ 396 w 10235"/>
                <a:gd name="connsiteY39" fmla="*/ 5725 h 10610"/>
                <a:gd name="connsiteX40" fmla="*/ 299 w 10235"/>
                <a:gd name="connsiteY40" fmla="*/ 5773 h 10610"/>
                <a:gd name="connsiteX41" fmla="*/ 204 w 10235"/>
                <a:gd name="connsiteY41" fmla="*/ 5816 h 10610"/>
                <a:gd name="connsiteX42" fmla="*/ 101 w 10235"/>
                <a:gd name="connsiteY42" fmla="*/ 5857 h 10610"/>
                <a:gd name="connsiteX43" fmla="*/ 0 w 10235"/>
                <a:gd name="connsiteY43" fmla="*/ 5897 h 10610"/>
                <a:gd name="connsiteX44" fmla="*/ 188 w 10235"/>
                <a:gd name="connsiteY44" fmla="*/ 8724 h 10610"/>
                <a:gd name="connsiteX45" fmla="*/ 3402 w 10235"/>
                <a:gd name="connsiteY45" fmla="*/ 10610 h 10610"/>
                <a:gd name="connsiteX46" fmla="*/ 3707 w 10235"/>
                <a:gd name="connsiteY46" fmla="*/ 10485 h 10610"/>
                <a:gd name="connsiteX47" fmla="*/ 3949 w 10235"/>
                <a:gd name="connsiteY47" fmla="*/ 10386 h 10610"/>
                <a:gd name="connsiteX48" fmla="*/ 4185 w 10235"/>
                <a:gd name="connsiteY48" fmla="*/ 10287 h 10610"/>
                <a:gd name="connsiteX49" fmla="*/ 4418 w 10235"/>
                <a:gd name="connsiteY49" fmla="*/ 10183 h 10610"/>
                <a:gd name="connsiteX50" fmla="*/ 4650 w 10235"/>
                <a:gd name="connsiteY50" fmla="*/ 10074 h 10610"/>
                <a:gd name="connsiteX51" fmla="*/ 4868 w 10235"/>
                <a:gd name="connsiteY51" fmla="*/ 9967 h 10610"/>
                <a:gd name="connsiteX52" fmla="*/ 5089 w 10235"/>
                <a:gd name="connsiteY52" fmla="*/ 9849 h 10610"/>
                <a:gd name="connsiteX53" fmla="*/ 5310 w 10235"/>
                <a:gd name="connsiteY53" fmla="*/ 9736 h 10610"/>
                <a:gd name="connsiteX54" fmla="*/ 5520 w 10235"/>
                <a:gd name="connsiteY54" fmla="*/ 9615 h 10610"/>
                <a:gd name="connsiteX55" fmla="*/ 5736 w 10235"/>
                <a:gd name="connsiteY55" fmla="*/ 9491 h 10610"/>
                <a:gd name="connsiteX56" fmla="*/ 5940 w 10235"/>
                <a:gd name="connsiteY56" fmla="*/ 9362 h 10610"/>
                <a:gd name="connsiteX57" fmla="*/ 6144 w 10235"/>
                <a:gd name="connsiteY57" fmla="*/ 9235 h 10610"/>
                <a:gd name="connsiteX58" fmla="*/ 6340 w 10235"/>
                <a:gd name="connsiteY58" fmla="*/ 9105 h 10610"/>
                <a:gd name="connsiteX59" fmla="*/ 6539 w 10235"/>
                <a:gd name="connsiteY59" fmla="*/ 8967 h 10610"/>
                <a:gd name="connsiteX60" fmla="*/ 6730 w 10235"/>
                <a:gd name="connsiteY60" fmla="*/ 8825 h 10610"/>
                <a:gd name="connsiteX61" fmla="*/ 6915 w 10235"/>
                <a:gd name="connsiteY61" fmla="*/ 8689 h 10610"/>
                <a:gd name="connsiteX62" fmla="*/ 7098 w 10235"/>
                <a:gd name="connsiteY62" fmla="*/ 8544 h 10610"/>
                <a:gd name="connsiteX63" fmla="*/ 7274 w 10235"/>
                <a:gd name="connsiteY63" fmla="*/ 8396 h 10610"/>
                <a:gd name="connsiteX64" fmla="*/ 7450 w 10235"/>
                <a:gd name="connsiteY64" fmla="*/ 8248 h 10610"/>
                <a:gd name="connsiteX65" fmla="*/ 7619 w 10235"/>
                <a:gd name="connsiteY65" fmla="*/ 8097 h 10610"/>
                <a:gd name="connsiteX66" fmla="*/ 7787 w 10235"/>
                <a:gd name="connsiteY66" fmla="*/ 7940 h 10610"/>
                <a:gd name="connsiteX67" fmla="*/ 7943 w 10235"/>
                <a:gd name="connsiteY67" fmla="*/ 7782 h 10610"/>
                <a:gd name="connsiteX68" fmla="*/ 8096 w 10235"/>
                <a:gd name="connsiteY68" fmla="*/ 7623 h 10610"/>
                <a:gd name="connsiteX69" fmla="*/ 8251 w 10235"/>
                <a:gd name="connsiteY69" fmla="*/ 7463 h 10610"/>
                <a:gd name="connsiteX70" fmla="*/ 8394 w 10235"/>
                <a:gd name="connsiteY70" fmla="*/ 7296 h 10610"/>
                <a:gd name="connsiteX71" fmla="*/ 8534 w 10235"/>
                <a:gd name="connsiteY71" fmla="*/ 7132 h 10610"/>
                <a:gd name="connsiteX72" fmla="*/ 8670 w 10235"/>
                <a:gd name="connsiteY72" fmla="*/ 6962 h 10610"/>
                <a:gd name="connsiteX73" fmla="*/ 8796 w 10235"/>
                <a:gd name="connsiteY73" fmla="*/ 6788 h 10610"/>
                <a:gd name="connsiteX74" fmla="*/ 8920 w 10235"/>
                <a:gd name="connsiteY74" fmla="*/ 6614 h 10610"/>
                <a:gd name="connsiteX75" fmla="*/ 9046 w 10235"/>
                <a:gd name="connsiteY75" fmla="*/ 6440 h 10610"/>
                <a:gd name="connsiteX76" fmla="*/ 9164 w 10235"/>
                <a:gd name="connsiteY76" fmla="*/ 6262 h 10610"/>
                <a:gd name="connsiteX77" fmla="*/ 9268 w 10235"/>
                <a:gd name="connsiteY77" fmla="*/ 6084 h 10610"/>
                <a:gd name="connsiteX78" fmla="*/ 9375 w 10235"/>
                <a:gd name="connsiteY78" fmla="*/ 5902 h 10610"/>
                <a:gd name="connsiteX79" fmla="*/ 9470 w 10235"/>
                <a:gd name="connsiteY79" fmla="*/ 5716 h 10610"/>
                <a:gd name="connsiteX80" fmla="*/ 9566 w 10235"/>
                <a:gd name="connsiteY80" fmla="*/ 5533 h 10610"/>
                <a:gd name="connsiteX81" fmla="*/ 9650 w 10235"/>
                <a:gd name="connsiteY81" fmla="*/ 5344 h 10610"/>
                <a:gd name="connsiteX82" fmla="*/ 9731 w 10235"/>
                <a:gd name="connsiteY82" fmla="*/ 5153 h 10610"/>
                <a:gd name="connsiteX83" fmla="*/ 9805 w 10235"/>
                <a:gd name="connsiteY83" fmla="*/ 4961 h 10610"/>
                <a:gd name="connsiteX84" fmla="*/ 9878 w 10235"/>
                <a:gd name="connsiteY84" fmla="*/ 4771 h 10610"/>
                <a:gd name="connsiteX85" fmla="*/ 9940 w 10235"/>
                <a:gd name="connsiteY85" fmla="*/ 4578 h 10610"/>
                <a:gd name="connsiteX86" fmla="*/ 9999 w 10235"/>
                <a:gd name="connsiteY86" fmla="*/ 4381 h 10610"/>
                <a:gd name="connsiteX87" fmla="*/ 9736 w 10235"/>
                <a:gd name="connsiteY87" fmla="*/ 0 h 10610"/>
                <a:gd name="connsiteX88" fmla="*/ 6509 w 10235"/>
                <a:gd name="connsiteY88" fmla="*/ 1883 h 10610"/>
                <a:gd name="connsiteX89" fmla="*/ 2524 w 10235"/>
                <a:gd name="connsiteY89" fmla="*/ 1506 h 10610"/>
                <a:gd name="connsiteX0" fmla="*/ 2524 w 10218"/>
                <a:gd name="connsiteY0" fmla="*/ 1506 h 10610"/>
                <a:gd name="connsiteX1" fmla="*/ 2693 w 10218"/>
                <a:gd name="connsiteY1" fmla="*/ 3145 h 10610"/>
                <a:gd name="connsiteX2" fmla="*/ 2678 w 10218"/>
                <a:gd name="connsiteY2" fmla="*/ 3230 h 10610"/>
                <a:gd name="connsiteX3" fmla="*/ 2655 w 10218"/>
                <a:gd name="connsiteY3" fmla="*/ 3314 h 10610"/>
                <a:gd name="connsiteX4" fmla="*/ 2634 w 10218"/>
                <a:gd name="connsiteY4" fmla="*/ 3399 h 10610"/>
                <a:gd name="connsiteX5" fmla="*/ 2607 w 10218"/>
                <a:gd name="connsiteY5" fmla="*/ 3479 h 10610"/>
                <a:gd name="connsiteX6" fmla="*/ 2573 w 10218"/>
                <a:gd name="connsiteY6" fmla="*/ 3560 h 10610"/>
                <a:gd name="connsiteX7" fmla="*/ 2542 w 10218"/>
                <a:gd name="connsiteY7" fmla="*/ 3643 h 10610"/>
                <a:gd name="connsiteX8" fmla="*/ 2514 w 10218"/>
                <a:gd name="connsiteY8" fmla="*/ 3722 h 10610"/>
                <a:gd name="connsiteX9" fmla="*/ 2480 w 10218"/>
                <a:gd name="connsiteY9" fmla="*/ 3804 h 10610"/>
                <a:gd name="connsiteX10" fmla="*/ 2440 w 10218"/>
                <a:gd name="connsiteY10" fmla="*/ 3883 h 10610"/>
                <a:gd name="connsiteX11" fmla="*/ 2398 w 10218"/>
                <a:gd name="connsiteY11" fmla="*/ 3960 h 10610"/>
                <a:gd name="connsiteX12" fmla="*/ 2358 w 10218"/>
                <a:gd name="connsiteY12" fmla="*/ 4039 h 10610"/>
                <a:gd name="connsiteX13" fmla="*/ 2310 w 10218"/>
                <a:gd name="connsiteY13" fmla="*/ 4118 h 10610"/>
                <a:gd name="connsiteX14" fmla="*/ 2259 w 10218"/>
                <a:gd name="connsiteY14" fmla="*/ 4189 h 10610"/>
                <a:gd name="connsiteX15" fmla="*/ 2211 w 10218"/>
                <a:gd name="connsiteY15" fmla="*/ 4265 h 10610"/>
                <a:gd name="connsiteX16" fmla="*/ 2159 w 10218"/>
                <a:gd name="connsiteY16" fmla="*/ 4339 h 10610"/>
                <a:gd name="connsiteX17" fmla="*/ 2102 w 10218"/>
                <a:gd name="connsiteY17" fmla="*/ 4412 h 10610"/>
                <a:gd name="connsiteX18" fmla="*/ 2051 w 10218"/>
                <a:gd name="connsiteY18" fmla="*/ 4486 h 10610"/>
                <a:gd name="connsiteX19" fmla="*/ 1991 w 10218"/>
                <a:gd name="connsiteY19" fmla="*/ 4557 h 10610"/>
                <a:gd name="connsiteX20" fmla="*/ 1928 w 10218"/>
                <a:gd name="connsiteY20" fmla="*/ 4623 h 10610"/>
                <a:gd name="connsiteX21" fmla="*/ 1863 w 10218"/>
                <a:gd name="connsiteY21" fmla="*/ 4691 h 10610"/>
                <a:gd name="connsiteX22" fmla="*/ 1803 w 10218"/>
                <a:gd name="connsiteY22" fmla="*/ 4758 h 10610"/>
                <a:gd name="connsiteX23" fmla="*/ 1733 w 10218"/>
                <a:gd name="connsiteY23" fmla="*/ 4830 h 10610"/>
                <a:gd name="connsiteX24" fmla="*/ 1664 w 10218"/>
                <a:gd name="connsiteY24" fmla="*/ 4893 h 10610"/>
                <a:gd name="connsiteX25" fmla="*/ 1591 w 10218"/>
                <a:gd name="connsiteY25" fmla="*/ 4952 h 10610"/>
                <a:gd name="connsiteX26" fmla="*/ 1516 w 10218"/>
                <a:gd name="connsiteY26" fmla="*/ 5019 h 10610"/>
                <a:gd name="connsiteX27" fmla="*/ 1442 w 10218"/>
                <a:gd name="connsiteY27" fmla="*/ 5081 h 10610"/>
                <a:gd name="connsiteX28" fmla="*/ 1363 w 10218"/>
                <a:gd name="connsiteY28" fmla="*/ 5140 h 10610"/>
                <a:gd name="connsiteX29" fmla="*/ 1285 w 10218"/>
                <a:gd name="connsiteY29" fmla="*/ 5204 h 10610"/>
                <a:gd name="connsiteX30" fmla="*/ 1206 w 10218"/>
                <a:gd name="connsiteY30" fmla="*/ 5262 h 10610"/>
                <a:gd name="connsiteX31" fmla="*/ 1118 w 10218"/>
                <a:gd name="connsiteY31" fmla="*/ 5319 h 10610"/>
                <a:gd name="connsiteX32" fmla="*/ 1038 w 10218"/>
                <a:gd name="connsiteY32" fmla="*/ 5373 h 10610"/>
                <a:gd name="connsiteX33" fmla="*/ 951 w 10218"/>
                <a:gd name="connsiteY33" fmla="*/ 5429 h 10610"/>
                <a:gd name="connsiteX34" fmla="*/ 866 w 10218"/>
                <a:gd name="connsiteY34" fmla="*/ 5481 h 10610"/>
                <a:gd name="connsiteX35" fmla="*/ 771 w 10218"/>
                <a:gd name="connsiteY35" fmla="*/ 5534 h 10610"/>
                <a:gd name="connsiteX36" fmla="*/ 682 w 10218"/>
                <a:gd name="connsiteY36" fmla="*/ 5583 h 10610"/>
                <a:gd name="connsiteX37" fmla="*/ 589 w 10218"/>
                <a:gd name="connsiteY37" fmla="*/ 5633 h 10610"/>
                <a:gd name="connsiteX38" fmla="*/ 494 w 10218"/>
                <a:gd name="connsiteY38" fmla="*/ 5681 h 10610"/>
                <a:gd name="connsiteX39" fmla="*/ 396 w 10218"/>
                <a:gd name="connsiteY39" fmla="*/ 5725 h 10610"/>
                <a:gd name="connsiteX40" fmla="*/ 299 w 10218"/>
                <a:gd name="connsiteY40" fmla="*/ 5773 h 10610"/>
                <a:gd name="connsiteX41" fmla="*/ 204 w 10218"/>
                <a:gd name="connsiteY41" fmla="*/ 5816 h 10610"/>
                <a:gd name="connsiteX42" fmla="*/ 101 w 10218"/>
                <a:gd name="connsiteY42" fmla="*/ 5857 h 10610"/>
                <a:gd name="connsiteX43" fmla="*/ 0 w 10218"/>
                <a:gd name="connsiteY43" fmla="*/ 5897 h 10610"/>
                <a:gd name="connsiteX44" fmla="*/ 188 w 10218"/>
                <a:gd name="connsiteY44" fmla="*/ 8724 h 10610"/>
                <a:gd name="connsiteX45" fmla="*/ 3402 w 10218"/>
                <a:gd name="connsiteY45" fmla="*/ 10610 h 10610"/>
                <a:gd name="connsiteX46" fmla="*/ 3707 w 10218"/>
                <a:gd name="connsiteY46" fmla="*/ 10485 h 10610"/>
                <a:gd name="connsiteX47" fmla="*/ 3949 w 10218"/>
                <a:gd name="connsiteY47" fmla="*/ 10386 h 10610"/>
                <a:gd name="connsiteX48" fmla="*/ 4185 w 10218"/>
                <a:gd name="connsiteY48" fmla="*/ 10287 h 10610"/>
                <a:gd name="connsiteX49" fmla="*/ 4418 w 10218"/>
                <a:gd name="connsiteY49" fmla="*/ 10183 h 10610"/>
                <a:gd name="connsiteX50" fmla="*/ 4650 w 10218"/>
                <a:gd name="connsiteY50" fmla="*/ 10074 h 10610"/>
                <a:gd name="connsiteX51" fmla="*/ 4868 w 10218"/>
                <a:gd name="connsiteY51" fmla="*/ 9967 h 10610"/>
                <a:gd name="connsiteX52" fmla="*/ 5089 w 10218"/>
                <a:gd name="connsiteY52" fmla="*/ 9849 h 10610"/>
                <a:gd name="connsiteX53" fmla="*/ 5310 w 10218"/>
                <a:gd name="connsiteY53" fmla="*/ 9736 h 10610"/>
                <a:gd name="connsiteX54" fmla="*/ 5520 w 10218"/>
                <a:gd name="connsiteY54" fmla="*/ 9615 h 10610"/>
                <a:gd name="connsiteX55" fmla="*/ 5736 w 10218"/>
                <a:gd name="connsiteY55" fmla="*/ 9491 h 10610"/>
                <a:gd name="connsiteX56" fmla="*/ 5940 w 10218"/>
                <a:gd name="connsiteY56" fmla="*/ 9362 h 10610"/>
                <a:gd name="connsiteX57" fmla="*/ 6144 w 10218"/>
                <a:gd name="connsiteY57" fmla="*/ 9235 h 10610"/>
                <a:gd name="connsiteX58" fmla="*/ 6340 w 10218"/>
                <a:gd name="connsiteY58" fmla="*/ 9105 h 10610"/>
                <a:gd name="connsiteX59" fmla="*/ 6539 w 10218"/>
                <a:gd name="connsiteY59" fmla="*/ 8967 h 10610"/>
                <a:gd name="connsiteX60" fmla="*/ 6730 w 10218"/>
                <a:gd name="connsiteY60" fmla="*/ 8825 h 10610"/>
                <a:gd name="connsiteX61" fmla="*/ 6915 w 10218"/>
                <a:gd name="connsiteY61" fmla="*/ 8689 h 10610"/>
                <a:gd name="connsiteX62" fmla="*/ 7098 w 10218"/>
                <a:gd name="connsiteY62" fmla="*/ 8544 h 10610"/>
                <a:gd name="connsiteX63" fmla="*/ 7274 w 10218"/>
                <a:gd name="connsiteY63" fmla="*/ 8396 h 10610"/>
                <a:gd name="connsiteX64" fmla="*/ 7450 w 10218"/>
                <a:gd name="connsiteY64" fmla="*/ 8248 h 10610"/>
                <a:gd name="connsiteX65" fmla="*/ 7619 w 10218"/>
                <a:gd name="connsiteY65" fmla="*/ 8097 h 10610"/>
                <a:gd name="connsiteX66" fmla="*/ 7787 w 10218"/>
                <a:gd name="connsiteY66" fmla="*/ 7940 h 10610"/>
                <a:gd name="connsiteX67" fmla="*/ 7943 w 10218"/>
                <a:gd name="connsiteY67" fmla="*/ 7782 h 10610"/>
                <a:gd name="connsiteX68" fmla="*/ 8096 w 10218"/>
                <a:gd name="connsiteY68" fmla="*/ 7623 h 10610"/>
                <a:gd name="connsiteX69" fmla="*/ 8251 w 10218"/>
                <a:gd name="connsiteY69" fmla="*/ 7463 h 10610"/>
                <a:gd name="connsiteX70" fmla="*/ 8394 w 10218"/>
                <a:gd name="connsiteY70" fmla="*/ 7296 h 10610"/>
                <a:gd name="connsiteX71" fmla="*/ 8534 w 10218"/>
                <a:gd name="connsiteY71" fmla="*/ 7132 h 10610"/>
                <a:gd name="connsiteX72" fmla="*/ 8670 w 10218"/>
                <a:gd name="connsiteY72" fmla="*/ 6962 h 10610"/>
                <a:gd name="connsiteX73" fmla="*/ 8796 w 10218"/>
                <a:gd name="connsiteY73" fmla="*/ 6788 h 10610"/>
                <a:gd name="connsiteX74" fmla="*/ 8920 w 10218"/>
                <a:gd name="connsiteY74" fmla="*/ 6614 h 10610"/>
                <a:gd name="connsiteX75" fmla="*/ 9046 w 10218"/>
                <a:gd name="connsiteY75" fmla="*/ 6440 h 10610"/>
                <a:gd name="connsiteX76" fmla="*/ 9164 w 10218"/>
                <a:gd name="connsiteY76" fmla="*/ 6262 h 10610"/>
                <a:gd name="connsiteX77" fmla="*/ 9268 w 10218"/>
                <a:gd name="connsiteY77" fmla="*/ 6084 h 10610"/>
                <a:gd name="connsiteX78" fmla="*/ 9375 w 10218"/>
                <a:gd name="connsiteY78" fmla="*/ 5902 h 10610"/>
                <a:gd name="connsiteX79" fmla="*/ 9470 w 10218"/>
                <a:gd name="connsiteY79" fmla="*/ 5716 h 10610"/>
                <a:gd name="connsiteX80" fmla="*/ 9566 w 10218"/>
                <a:gd name="connsiteY80" fmla="*/ 5533 h 10610"/>
                <a:gd name="connsiteX81" fmla="*/ 9650 w 10218"/>
                <a:gd name="connsiteY81" fmla="*/ 5344 h 10610"/>
                <a:gd name="connsiteX82" fmla="*/ 9731 w 10218"/>
                <a:gd name="connsiteY82" fmla="*/ 5153 h 10610"/>
                <a:gd name="connsiteX83" fmla="*/ 9805 w 10218"/>
                <a:gd name="connsiteY83" fmla="*/ 4961 h 10610"/>
                <a:gd name="connsiteX84" fmla="*/ 9878 w 10218"/>
                <a:gd name="connsiteY84" fmla="*/ 4771 h 10610"/>
                <a:gd name="connsiteX85" fmla="*/ 9940 w 10218"/>
                <a:gd name="connsiteY85" fmla="*/ 4578 h 10610"/>
                <a:gd name="connsiteX86" fmla="*/ 9999 w 10218"/>
                <a:gd name="connsiteY86" fmla="*/ 4381 h 10610"/>
                <a:gd name="connsiteX87" fmla="*/ 9736 w 10218"/>
                <a:gd name="connsiteY87" fmla="*/ 0 h 10610"/>
                <a:gd name="connsiteX88" fmla="*/ 6509 w 10218"/>
                <a:gd name="connsiteY88" fmla="*/ 1883 h 10610"/>
                <a:gd name="connsiteX89" fmla="*/ 2524 w 10218"/>
                <a:gd name="connsiteY89" fmla="*/ 1506 h 10610"/>
                <a:gd name="connsiteX0" fmla="*/ 2524 w 10218"/>
                <a:gd name="connsiteY0" fmla="*/ 1506 h 10610"/>
                <a:gd name="connsiteX1" fmla="*/ 2693 w 10218"/>
                <a:gd name="connsiteY1" fmla="*/ 3145 h 10610"/>
                <a:gd name="connsiteX2" fmla="*/ 2678 w 10218"/>
                <a:gd name="connsiteY2" fmla="*/ 3230 h 10610"/>
                <a:gd name="connsiteX3" fmla="*/ 2655 w 10218"/>
                <a:gd name="connsiteY3" fmla="*/ 3314 h 10610"/>
                <a:gd name="connsiteX4" fmla="*/ 2634 w 10218"/>
                <a:gd name="connsiteY4" fmla="*/ 3399 h 10610"/>
                <a:gd name="connsiteX5" fmla="*/ 2607 w 10218"/>
                <a:gd name="connsiteY5" fmla="*/ 3479 h 10610"/>
                <a:gd name="connsiteX6" fmla="*/ 2573 w 10218"/>
                <a:gd name="connsiteY6" fmla="*/ 3560 h 10610"/>
                <a:gd name="connsiteX7" fmla="*/ 2542 w 10218"/>
                <a:gd name="connsiteY7" fmla="*/ 3643 h 10610"/>
                <a:gd name="connsiteX8" fmla="*/ 2514 w 10218"/>
                <a:gd name="connsiteY8" fmla="*/ 3722 h 10610"/>
                <a:gd name="connsiteX9" fmla="*/ 2480 w 10218"/>
                <a:gd name="connsiteY9" fmla="*/ 3804 h 10610"/>
                <a:gd name="connsiteX10" fmla="*/ 2440 w 10218"/>
                <a:gd name="connsiteY10" fmla="*/ 3883 h 10610"/>
                <a:gd name="connsiteX11" fmla="*/ 2398 w 10218"/>
                <a:gd name="connsiteY11" fmla="*/ 3960 h 10610"/>
                <a:gd name="connsiteX12" fmla="*/ 2358 w 10218"/>
                <a:gd name="connsiteY12" fmla="*/ 4039 h 10610"/>
                <a:gd name="connsiteX13" fmla="*/ 2310 w 10218"/>
                <a:gd name="connsiteY13" fmla="*/ 4118 h 10610"/>
                <a:gd name="connsiteX14" fmla="*/ 2259 w 10218"/>
                <a:gd name="connsiteY14" fmla="*/ 4189 h 10610"/>
                <a:gd name="connsiteX15" fmla="*/ 2211 w 10218"/>
                <a:gd name="connsiteY15" fmla="*/ 4265 h 10610"/>
                <a:gd name="connsiteX16" fmla="*/ 2159 w 10218"/>
                <a:gd name="connsiteY16" fmla="*/ 4339 h 10610"/>
                <a:gd name="connsiteX17" fmla="*/ 2102 w 10218"/>
                <a:gd name="connsiteY17" fmla="*/ 4412 h 10610"/>
                <a:gd name="connsiteX18" fmla="*/ 2051 w 10218"/>
                <a:gd name="connsiteY18" fmla="*/ 4486 h 10610"/>
                <a:gd name="connsiteX19" fmla="*/ 1991 w 10218"/>
                <a:gd name="connsiteY19" fmla="*/ 4557 h 10610"/>
                <a:gd name="connsiteX20" fmla="*/ 1928 w 10218"/>
                <a:gd name="connsiteY20" fmla="*/ 4623 h 10610"/>
                <a:gd name="connsiteX21" fmla="*/ 1863 w 10218"/>
                <a:gd name="connsiteY21" fmla="*/ 4691 h 10610"/>
                <a:gd name="connsiteX22" fmla="*/ 1803 w 10218"/>
                <a:gd name="connsiteY22" fmla="*/ 4758 h 10610"/>
                <a:gd name="connsiteX23" fmla="*/ 1733 w 10218"/>
                <a:gd name="connsiteY23" fmla="*/ 4830 h 10610"/>
                <a:gd name="connsiteX24" fmla="*/ 1664 w 10218"/>
                <a:gd name="connsiteY24" fmla="*/ 4893 h 10610"/>
                <a:gd name="connsiteX25" fmla="*/ 1591 w 10218"/>
                <a:gd name="connsiteY25" fmla="*/ 4952 h 10610"/>
                <a:gd name="connsiteX26" fmla="*/ 1516 w 10218"/>
                <a:gd name="connsiteY26" fmla="*/ 5019 h 10610"/>
                <a:gd name="connsiteX27" fmla="*/ 1442 w 10218"/>
                <a:gd name="connsiteY27" fmla="*/ 5081 h 10610"/>
                <a:gd name="connsiteX28" fmla="*/ 1363 w 10218"/>
                <a:gd name="connsiteY28" fmla="*/ 5140 h 10610"/>
                <a:gd name="connsiteX29" fmla="*/ 1285 w 10218"/>
                <a:gd name="connsiteY29" fmla="*/ 5204 h 10610"/>
                <a:gd name="connsiteX30" fmla="*/ 1206 w 10218"/>
                <a:gd name="connsiteY30" fmla="*/ 5262 h 10610"/>
                <a:gd name="connsiteX31" fmla="*/ 1118 w 10218"/>
                <a:gd name="connsiteY31" fmla="*/ 5319 h 10610"/>
                <a:gd name="connsiteX32" fmla="*/ 1038 w 10218"/>
                <a:gd name="connsiteY32" fmla="*/ 5373 h 10610"/>
                <a:gd name="connsiteX33" fmla="*/ 951 w 10218"/>
                <a:gd name="connsiteY33" fmla="*/ 5429 h 10610"/>
                <a:gd name="connsiteX34" fmla="*/ 866 w 10218"/>
                <a:gd name="connsiteY34" fmla="*/ 5481 h 10610"/>
                <a:gd name="connsiteX35" fmla="*/ 771 w 10218"/>
                <a:gd name="connsiteY35" fmla="*/ 5534 h 10610"/>
                <a:gd name="connsiteX36" fmla="*/ 682 w 10218"/>
                <a:gd name="connsiteY36" fmla="*/ 5583 h 10610"/>
                <a:gd name="connsiteX37" fmla="*/ 589 w 10218"/>
                <a:gd name="connsiteY37" fmla="*/ 5633 h 10610"/>
                <a:gd name="connsiteX38" fmla="*/ 494 w 10218"/>
                <a:gd name="connsiteY38" fmla="*/ 5681 h 10610"/>
                <a:gd name="connsiteX39" fmla="*/ 396 w 10218"/>
                <a:gd name="connsiteY39" fmla="*/ 5725 h 10610"/>
                <a:gd name="connsiteX40" fmla="*/ 299 w 10218"/>
                <a:gd name="connsiteY40" fmla="*/ 5773 h 10610"/>
                <a:gd name="connsiteX41" fmla="*/ 204 w 10218"/>
                <a:gd name="connsiteY41" fmla="*/ 5816 h 10610"/>
                <a:gd name="connsiteX42" fmla="*/ 101 w 10218"/>
                <a:gd name="connsiteY42" fmla="*/ 5857 h 10610"/>
                <a:gd name="connsiteX43" fmla="*/ 0 w 10218"/>
                <a:gd name="connsiteY43" fmla="*/ 5897 h 10610"/>
                <a:gd name="connsiteX44" fmla="*/ 311 w 10218"/>
                <a:gd name="connsiteY44" fmla="*/ 8550 h 10610"/>
                <a:gd name="connsiteX45" fmla="*/ 3402 w 10218"/>
                <a:gd name="connsiteY45" fmla="*/ 10610 h 10610"/>
                <a:gd name="connsiteX46" fmla="*/ 3707 w 10218"/>
                <a:gd name="connsiteY46" fmla="*/ 10485 h 10610"/>
                <a:gd name="connsiteX47" fmla="*/ 3949 w 10218"/>
                <a:gd name="connsiteY47" fmla="*/ 10386 h 10610"/>
                <a:gd name="connsiteX48" fmla="*/ 4185 w 10218"/>
                <a:gd name="connsiteY48" fmla="*/ 10287 h 10610"/>
                <a:gd name="connsiteX49" fmla="*/ 4418 w 10218"/>
                <a:gd name="connsiteY49" fmla="*/ 10183 h 10610"/>
                <a:gd name="connsiteX50" fmla="*/ 4650 w 10218"/>
                <a:gd name="connsiteY50" fmla="*/ 10074 h 10610"/>
                <a:gd name="connsiteX51" fmla="*/ 4868 w 10218"/>
                <a:gd name="connsiteY51" fmla="*/ 9967 h 10610"/>
                <a:gd name="connsiteX52" fmla="*/ 5089 w 10218"/>
                <a:gd name="connsiteY52" fmla="*/ 9849 h 10610"/>
                <a:gd name="connsiteX53" fmla="*/ 5310 w 10218"/>
                <a:gd name="connsiteY53" fmla="*/ 9736 h 10610"/>
                <a:gd name="connsiteX54" fmla="*/ 5520 w 10218"/>
                <a:gd name="connsiteY54" fmla="*/ 9615 h 10610"/>
                <a:gd name="connsiteX55" fmla="*/ 5736 w 10218"/>
                <a:gd name="connsiteY55" fmla="*/ 9491 h 10610"/>
                <a:gd name="connsiteX56" fmla="*/ 5940 w 10218"/>
                <a:gd name="connsiteY56" fmla="*/ 9362 h 10610"/>
                <a:gd name="connsiteX57" fmla="*/ 6144 w 10218"/>
                <a:gd name="connsiteY57" fmla="*/ 9235 h 10610"/>
                <a:gd name="connsiteX58" fmla="*/ 6340 w 10218"/>
                <a:gd name="connsiteY58" fmla="*/ 9105 h 10610"/>
                <a:gd name="connsiteX59" fmla="*/ 6539 w 10218"/>
                <a:gd name="connsiteY59" fmla="*/ 8967 h 10610"/>
                <a:gd name="connsiteX60" fmla="*/ 6730 w 10218"/>
                <a:gd name="connsiteY60" fmla="*/ 8825 h 10610"/>
                <a:gd name="connsiteX61" fmla="*/ 6915 w 10218"/>
                <a:gd name="connsiteY61" fmla="*/ 8689 h 10610"/>
                <a:gd name="connsiteX62" fmla="*/ 7098 w 10218"/>
                <a:gd name="connsiteY62" fmla="*/ 8544 h 10610"/>
                <a:gd name="connsiteX63" fmla="*/ 7274 w 10218"/>
                <a:gd name="connsiteY63" fmla="*/ 8396 h 10610"/>
                <a:gd name="connsiteX64" fmla="*/ 7450 w 10218"/>
                <a:gd name="connsiteY64" fmla="*/ 8248 h 10610"/>
                <a:gd name="connsiteX65" fmla="*/ 7619 w 10218"/>
                <a:gd name="connsiteY65" fmla="*/ 8097 h 10610"/>
                <a:gd name="connsiteX66" fmla="*/ 7787 w 10218"/>
                <a:gd name="connsiteY66" fmla="*/ 7940 h 10610"/>
                <a:gd name="connsiteX67" fmla="*/ 7943 w 10218"/>
                <a:gd name="connsiteY67" fmla="*/ 7782 h 10610"/>
                <a:gd name="connsiteX68" fmla="*/ 8096 w 10218"/>
                <a:gd name="connsiteY68" fmla="*/ 7623 h 10610"/>
                <a:gd name="connsiteX69" fmla="*/ 8251 w 10218"/>
                <a:gd name="connsiteY69" fmla="*/ 7463 h 10610"/>
                <a:gd name="connsiteX70" fmla="*/ 8394 w 10218"/>
                <a:gd name="connsiteY70" fmla="*/ 7296 h 10610"/>
                <a:gd name="connsiteX71" fmla="*/ 8534 w 10218"/>
                <a:gd name="connsiteY71" fmla="*/ 7132 h 10610"/>
                <a:gd name="connsiteX72" fmla="*/ 8670 w 10218"/>
                <a:gd name="connsiteY72" fmla="*/ 6962 h 10610"/>
                <a:gd name="connsiteX73" fmla="*/ 8796 w 10218"/>
                <a:gd name="connsiteY73" fmla="*/ 6788 h 10610"/>
                <a:gd name="connsiteX74" fmla="*/ 8920 w 10218"/>
                <a:gd name="connsiteY74" fmla="*/ 6614 h 10610"/>
                <a:gd name="connsiteX75" fmla="*/ 9046 w 10218"/>
                <a:gd name="connsiteY75" fmla="*/ 6440 h 10610"/>
                <a:gd name="connsiteX76" fmla="*/ 9164 w 10218"/>
                <a:gd name="connsiteY76" fmla="*/ 6262 h 10610"/>
                <a:gd name="connsiteX77" fmla="*/ 9268 w 10218"/>
                <a:gd name="connsiteY77" fmla="*/ 6084 h 10610"/>
                <a:gd name="connsiteX78" fmla="*/ 9375 w 10218"/>
                <a:gd name="connsiteY78" fmla="*/ 5902 h 10610"/>
                <a:gd name="connsiteX79" fmla="*/ 9470 w 10218"/>
                <a:gd name="connsiteY79" fmla="*/ 5716 h 10610"/>
                <a:gd name="connsiteX80" fmla="*/ 9566 w 10218"/>
                <a:gd name="connsiteY80" fmla="*/ 5533 h 10610"/>
                <a:gd name="connsiteX81" fmla="*/ 9650 w 10218"/>
                <a:gd name="connsiteY81" fmla="*/ 5344 h 10610"/>
                <a:gd name="connsiteX82" fmla="*/ 9731 w 10218"/>
                <a:gd name="connsiteY82" fmla="*/ 5153 h 10610"/>
                <a:gd name="connsiteX83" fmla="*/ 9805 w 10218"/>
                <a:gd name="connsiteY83" fmla="*/ 4961 h 10610"/>
                <a:gd name="connsiteX84" fmla="*/ 9878 w 10218"/>
                <a:gd name="connsiteY84" fmla="*/ 4771 h 10610"/>
                <a:gd name="connsiteX85" fmla="*/ 9940 w 10218"/>
                <a:gd name="connsiteY85" fmla="*/ 4578 h 10610"/>
                <a:gd name="connsiteX86" fmla="*/ 9999 w 10218"/>
                <a:gd name="connsiteY86" fmla="*/ 4381 h 10610"/>
                <a:gd name="connsiteX87" fmla="*/ 9736 w 10218"/>
                <a:gd name="connsiteY87" fmla="*/ 0 h 10610"/>
                <a:gd name="connsiteX88" fmla="*/ 6509 w 10218"/>
                <a:gd name="connsiteY88" fmla="*/ 1883 h 10610"/>
                <a:gd name="connsiteX89" fmla="*/ 2524 w 10218"/>
                <a:gd name="connsiteY89" fmla="*/ 1506 h 10610"/>
                <a:gd name="connsiteX0" fmla="*/ 2522 w 10216"/>
                <a:gd name="connsiteY0" fmla="*/ 1506 h 10610"/>
                <a:gd name="connsiteX1" fmla="*/ 2691 w 10216"/>
                <a:gd name="connsiteY1" fmla="*/ 3145 h 10610"/>
                <a:gd name="connsiteX2" fmla="*/ 2676 w 10216"/>
                <a:gd name="connsiteY2" fmla="*/ 3230 h 10610"/>
                <a:gd name="connsiteX3" fmla="*/ 2653 w 10216"/>
                <a:gd name="connsiteY3" fmla="*/ 3314 h 10610"/>
                <a:gd name="connsiteX4" fmla="*/ 2632 w 10216"/>
                <a:gd name="connsiteY4" fmla="*/ 3399 h 10610"/>
                <a:gd name="connsiteX5" fmla="*/ 2605 w 10216"/>
                <a:gd name="connsiteY5" fmla="*/ 3479 h 10610"/>
                <a:gd name="connsiteX6" fmla="*/ 2571 w 10216"/>
                <a:gd name="connsiteY6" fmla="*/ 3560 h 10610"/>
                <a:gd name="connsiteX7" fmla="*/ 2540 w 10216"/>
                <a:gd name="connsiteY7" fmla="*/ 3643 h 10610"/>
                <a:gd name="connsiteX8" fmla="*/ 2512 w 10216"/>
                <a:gd name="connsiteY8" fmla="*/ 3722 h 10610"/>
                <a:gd name="connsiteX9" fmla="*/ 2478 w 10216"/>
                <a:gd name="connsiteY9" fmla="*/ 3804 h 10610"/>
                <a:gd name="connsiteX10" fmla="*/ 2438 w 10216"/>
                <a:gd name="connsiteY10" fmla="*/ 3883 h 10610"/>
                <a:gd name="connsiteX11" fmla="*/ 2396 w 10216"/>
                <a:gd name="connsiteY11" fmla="*/ 3960 h 10610"/>
                <a:gd name="connsiteX12" fmla="*/ 2356 w 10216"/>
                <a:gd name="connsiteY12" fmla="*/ 4039 h 10610"/>
                <a:gd name="connsiteX13" fmla="*/ 2308 w 10216"/>
                <a:gd name="connsiteY13" fmla="*/ 4118 h 10610"/>
                <a:gd name="connsiteX14" fmla="*/ 2257 w 10216"/>
                <a:gd name="connsiteY14" fmla="*/ 4189 h 10610"/>
                <a:gd name="connsiteX15" fmla="*/ 2209 w 10216"/>
                <a:gd name="connsiteY15" fmla="*/ 4265 h 10610"/>
                <a:gd name="connsiteX16" fmla="*/ 2157 w 10216"/>
                <a:gd name="connsiteY16" fmla="*/ 4339 h 10610"/>
                <a:gd name="connsiteX17" fmla="*/ 2100 w 10216"/>
                <a:gd name="connsiteY17" fmla="*/ 4412 h 10610"/>
                <a:gd name="connsiteX18" fmla="*/ 2049 w 10216"/>
                <a:gd name="connsiteY18" fmla="*/ 4486 h 10610"/>
                <a:gd name="connsiteX19" fmla="*/ 1989 w 10216"/>
                <a:gd name="connsiteY19" fmla="*/ 4557 h 10610"/>
                <a:gd name="connsiteX20" fmla="*/ 1926 w 10216"/>
                <a:gd name="connsiteY20" fmla="*/ 4623 h 10610"/>
                <a:gd name="connsiteX21" fmla="*/ 1861 w 10216"/>
                <a:gd name="connsiteY21" fmla="*/ 4691 h 10610"/>
                <a:gd name="connsiteX22" fmla="*/ 1801 w 10216"/>
                <a:gd name="connsiteY22" fmla="*/ 4758 h 10610"/>
                <a:gd name="connsiteX23" fmla="*/ 1731 w 10216"/>
                <a:gd name="connsiteY23" fmla="*/ 4830 h 10610"/>
                <a:gd name="connsiteX24" fmla="*/ 1662 w 10216"/>
                <a:gd name="connsiteY24" fmla="*/ 4893 h 10610"/>
                <a:gd name="connsiteX25" fmla="*/ 1589 w 10216"/>
                <a:gd name="connsiteY25" fmla="*/ 4952 h 10610"/>
                <a:gd name="connsiteX26" fmla="*/ 1514 w 10216"/>
                <a:gd name="connsiteY26" fmla="*/ 5019 h 10610"/>
                <a:gd name="connsiteX27" fmla="*/ 1440 w 10216"/>
                <a:gd name="connsiteY27" fmla="*/ 5081 h 10610"/>
                <a:gd name="connsiteX28" fmla="*/ 1361 w 10216"/>
                <a:gd name="connsiteY28" fmla="*/ 5140 h 10610"/>
                <a:gd name="connsiteX29" fmla="*/ 1283 w 10216"/>
                <a:gd name="connsiteY29" fmla="*/ 5204 h 10610"/>
                <a:gd name="connsiteX30" fmla="*/ 1204 w 10216"/>
                <a:gd name="connsiteY30" fmla="*/ 5262 h 10610"/>
                <a:gd name="connsiteX31" fmla="*/ 1116 w 10216"/>
                <a:gd name="connsiteY31" fmla="*/ 5319 h 10610"/>
                <a:gd name="connsiteX32" fmla="*/ 1036 w 10216"/>
                <a:gd name="connsiteY32" fmla="*/ 5373 h 10610"/>
                <a:gd name="connsiteX33" fmla="*/ 949 w 10216"/>
                <a:gd name="connsiteY33" fmla="*/ 5429 h 10610"/>
                <a:gd name="connsiteX34" fmla="*/ 864 w 10216"/>
                <a:gd name="connsiteY34" fmla="*/ 5481 h 10610"/>
                <a:gd name="connsiteX35" fmla="*/ 769 w 10216"/>
                <a:gd name="connsiteY35" fmla="*/ 5534 h 10610"/>
                <a:gd name="connsiteX36" fmla="*/ 680 w 10216"/>
                <a:gd name="connsiteY36" fmla="*/ 5583 h 10610"/>
                <a:gd name="connsiteX37" fmla="*/ 587 w 10216"/>
                <a:gd name="connsiteY37" fmla="*/ 5633 h 10610"/>
                <a:gd name="connsiteX38" fmla="*/ 492 w 10216"/>
                <a:gd name="connsiteY38" fmla="*/ 5681 h 10610"/>
                <a:gd name="connsiteX39" fmla="*/ 394 w 10216"/>
                <a:gd name="connsiteY39" fmla="*/ 5725 h 10610"/>
                <a:gd name="connsiteX40" fmla="*/ 297 w 10216"/>
                <a:gd name="connsiteY40" fmla="*/ 5773 h 10610"/>
                <a:gd name="connsiteX41" fmla="*/ 202 w 10216"/>
                <a:gd name="connsiteY41" fmla="*/ 5816 h 10610"/>
                <a:gd name="connsiteX42" fmla="*/ 99 w 10216"/>
                <a:gd name="connsiteY42" fmla="*/ 5857 h 10610"/>
                <a:gd name="connsiteX43" fmla="*/ 309 w 10216"/>
                <a:gd name="connsiteY43" fmla="*/ 8550 h 10610"/>
                <a:gd name="connsiteX44" fmla="*/ 3400 w 10216"/>
                <a:gd name="connsiteY44" fmla="*/ 10610 h 10610"/>
                <a:gd name="connsiteX45" fmla="*/ 3705 w 10216"/>
                <a:gd name="connsiteY45" fmla="*/ 10485 h 10610"/>
                <a:gd name="connsiteX46" fmla="*/ 3947 w 10216"/>
                <a:gd name="connsiteY46" fmla="*/ 10386 h 10610"/>
                <a:gd name="connsiteX47" fmla="*/ 4183 w 10216"/>
                <a:gd name="connsiteY47" fmla="*/ 10287 h 10610"/>
                <a:gd name="connsiteX48" fmla="*/ 4416 w 10216"/>
                <a:gd name="connsiteY48" fmla="*/ 10183 h 10610"/>
                <a:gd name="connsiteX49" fmla="*/ 4648 w 10216"/>
                <a:gd name="connsiteY49" fmla="*/ 10074 h 10610"/>
                <a:gd name="connsiteX50" fmla="*/ 4866 w 10216"/>
                <a:gd name="connsiteY50" fmla="*/ 9967 h 10610"/>
                <a:gd name="connsiteX51" fmla="*/ 5087 w 10216"/>
                <a:gd name="connsiteY51" fmla="*/ 9849 h 10610"/>
                <a:gd name="connsiteX52" fmla="*/ 5308 w 10216"/>
                <a:gd name="connsiteY52" fmla="*/ 9736 h 10610"/>
                <a:gd name="connsiteX53" fmla="*/ 5518 w 10216"/>
                <a:gd name="connsiteY53" fmla="*/ 9615 h 10610"/>
                <a:gd name="connsiteX54" fmla="*/ 5734 w 10216"/>
                <a:gd name="connsiteY54" fmla="*/ 9491 h 10610"/>
                <a:gd name="connsiteX55" fmla="*/ 5938 w 10216"/>
                <a:gd name="connsiteY55" fmla="*/ 9362 h 10610"/>
                <a:gd name="connsiteX56" fmla="*/ 6142 w 10216"/>
                <a:gd name="connsiteY56" fmla="*/ 9235 h 10610"/>
                <a:gd name="connsiteX57" fmla="*/ 6338 w 10216"/>
                <a:gd name="connsiteY57" fmla="*/ 9105 h 10610"/>
                <a:gd name="connsiteX58" fmla="*/ 6537 w 10216"/>
                <a:gd name="connsiteY58" fmla="*/ 8967 h 10610"/>
                <a:gd name="connsiteX59" fmla="*/ 6728 w 10216"/>
                <a:gd name="connsiteY59" fmla="*/ 8825 h 10610"/>
                <a:gd name="connsiteX60" fmla="*/ 6913 w 10216"/>
                <a:gd name="connsiteY60" fmla="*/ 8689 h 10610"/>
                <a:gd name="connsiteX61" fmla="*/ 7096 w 10216"/>
                <a:gd name="connsiteY61" fmla="*/ 8544 h 10610"/>
                <a:gd name="connsiteX62" fmla="*/ 7272 w 10216"/>
                <a:gd name="connsiteY62" fmla="*/ 8396 h 10610"/>
                <a:gd name="connsiteX63" fmla="*/ 7448 w 10216"/>
                <a:gd name="connsiteY63" fmla="*/ 8248 h 10610"/>
                <a:gd name="connsiteX64" fmla="*/ 7617 w 10216"/>
                <a:gd name="connsiteY64" fmla="*/ 8097 h 10610"/>
                <a:gd name="connsiteX65" fmla="*/ 7785 w 10216"/>
                <a:gd name="connsiteY65" fmla="*/ 7940 h 10610"/>
                <a:gd name="connsiteX66" fmla="*/ 7941 w 10216"/>
                <a:gd name="connsiteY66" fmla="*/ 7782 h 10610"/>
                <a:gd name="connsiteX67" fmla="*/ 8094 w 10216"/>
                <a:gd name="connsiteY67" fmla="*/ 7623 h 10610"/>
                <a:gd name="connsiteX68" fmla="*/ 8249 w 10216"/>
                <a:gd name="connsiteY68" fmla="*/ 7463 h 10610"/>
                <a:gd name="connsiteX69" fmla="*/ 8392 w 10216"/>
                <a:gd name="connsiteY69" fmla="*/ 7296 h 10610"/>
                <a:gd name="connsiteX70" fmla="*/ 8532 w 10216"/>
                <a:gd name="connsiteY70" fmla="*/ 7132 h 10610"/>
                <a:gd name="connsiteX71" fmla="*/ 8668 w 10216"/>
                <a:gd name="connsiteY71" fmla="*/ 6962 h 10610"/>
                <a:gd name="connsiteX72" fmla="*/ 8794 w 10216"/>
                <a:gd name="connsiteY72" fmla="*/ 6788 h 10610"/>
                <a:gd name="connsiteX73" fmla="*/ 8918 w 10216"/>
                <a:gd name="connsiteY73" fmla="*/ 6614 h 10610"/>
                <a:gd name="connsiteX74" fmla="*/ 9044 w 10216"/>
                <a:gd name="connsiteY74" fmla="*/ 6440 h 10610"/>
                <a:gd name="connsiteX75" fmla="*/ 9162 w 10216"/>
                <a:gd name="connsiteY75" fmla="*/ 6262 h 10610"/>
                <a:gd name="connsiteX76" fmla="*/ 9266 w 10216"/>
                <a:gd name="connsiteY76" fmla="*/ 6084 h 10610"/>
                <a:gd name="connsiteX77" fmla="*/ 9373 w 10216"/>
                <a:gd name="connsiteY77" fmla="*/ 5902 h 10610"/>
                <a:gd name="connsiteX78" fmla="*/ 9468 w 10216"/>
                <a:gd name="connsiteY78" fmla="*/ 5716 h 10610"/>
                <a:gd name="connsiteX79" fmla="*/ 9564 w 10216"/>
                <a:gd name="connsiteY79" fmla="*/ 5533 h 10610"/>
                <a:gd name="connsiteX80" fmla="*/ 9648 w 10216"/>
                <a:gd name="connsiteY80" fmla="*/ 5344 h 10610"/>
                <a:gd name="connsiteX81" fmla="*/ 9729 w 10216"/>
                <a:gd name="connsiteY81" fmla="*/ 5153 h 10610"/>
                <a:gd name="connsiteX82" fmla="*/ 9803 w 10216"/>
                <a:gd name="connsiteY82" fmla="*/ 4961 h 10610"/>
                <a:gd name="connsiteX83" fmla="*/ 9876 w 10216"/>
                <a:gd name="connsiteY83" fmla="*/ 4771 h 10610"/>
                <a:gd name="connsiteX84" fmla="*/ 9938 w 10216"/>
                <a:gd name="connsiteY84" fmla="*/ 4578 h 10610"/>
                <a:gd name="connsiteX85" fmla="*/ 9997 w 10216"/>
                <a:gd name="connsiteY85" fmla="*/ 4381 h 10610"/>
                <a:gd name="connsiteX86" fmla="*/ 9734 w 10216"/>
                <a:gd name="connsiteY86" fmla="*/ 0 h 10610"/>
                <a:gd name="connsiteX87" fmla="*/ 6507 w 10216"/>
                <a:gd name="connsiteY87" fmla="*/ 1883 h 10610"/>
                <a:gd name="connsiteX88" fmla="*/ 2522 w 10216"/>
                <a:gd name="connsiteY88" fmla="*/ 1506 h 10610"/>
                <a:gd name="connsiteX0" fmla="*/ 2423 w 10117"/>
                <a:gd name="connsiteY0" fmla="*/ 1506 h 10610"/>
                <a:gd name="connsiteX1" fmla="*/ 2592 w 10117"/>
                <a:gd name="connsiteY1" fmla="*/ 3145 h 10610"/>
                <a:gd name="connsiteX2" fmla="*/ 2577 w 10117"/>
                <a:gd name="connsiteY2" fmla="*/ 3230 h 10610"/>
                <a:gd name="connsiteX3" fmla="*/ 2554 w 10117"/>
                <a:gd name="connsiteY3" fmla="*/ 3314 h 10610"/>
                <a:gd name="connsiteX4" fmla="*/ 2533 w 10117"/>
                <a:gd name="connsiteY4" fmla="*/ 3399 h 10610"/>
                <a:gd name="connsiteX5" fmla="*/ 2506 w 10117"/>
                <a:gd name="connsiteY5" fmla="*/ 3479 h 10610"/>
                <a:gd name="connsiteX6" fmla="*/ 2472 w 10117"/>
                <a:gd name="connsiteY6" fmla="*/ 3560 h 10610"/>
                <a:gd name="connsiteX7" fmla="*/ 2441 w 10117"/>
                <a:gd name="connsiteY7" fmla="*/ 3643 h 10610"/>
                <a:gd name="connsiteX8" fmla="*/ 2413 w 10117"/>
                <a:gd name="connsiteY8" fmla="*/ 3722 h 10610"/>
                <a:gd name="connsiteX9" fmla="*/ 2379 w 10117"/>
                <a:gd name="connsiteY9" fmla="*/ 3804 h 10610"/>
                <a:gd name="connsiteX10" fmla="*/ 2339 w 10117"/>
                <a:gd name="connsiteY10" fmla="*/ 3883 h 10610"/>
                <a:gd name="connsiteX11" fmla="*/ 2297 w 10117"/>
                <a:gd name="connsiteY11" fmla="*/ 3960 h 10610"/>
                <a:gd name="connsiteX12" fmla="*/ 2257 w 10117"/>
                <a:gd name="connsiteY12" fmla="*/ 4039 h 10610"/>
                <a:gd name="connsiteX13" fmla="*/ 2209 w 10117"/>
                <a:gd name="connsiteY13" fmla="*/ 4118 h 10610"/>
                <a:gd name="connsiteX14" fmla="*/ 2158 w 10117"/>
                <a:gd name="connsiteY14" fmla="*/ 4189 h 10610"/>
                <a:gd name="connsiteX15" fmla="*/ 2110 w 10117"/>
                <a:gd name="connsiteY15" fmla="*/ 4265 h 10610"/>
                <a:gd name="connsiteX16" fmla="*/ 2058 w 10117"/>
                <a:gd name="connsiteY16" fmla="*/ 4339 h 10610"/>
                <a:gd name="connsiteX17" fmla="*/ 2001 w 10117"/>
                <a:gd name="connsiteY17" fmla="*/ 4412 h 10610"/>
                <a:gd name="connsiteX18" fmla="*/ 1950 w 10117"/>
                <a:gd name="connsiteY18" fmla="*/ 4486 h 10610"/>
                <a:gd name="connsiteX19" fmla="*/ 1890 w 10117"/>
                <a:gd name="connsiteY19" fmla="*/ 4557 h 10610"/>
                <a:gd name="connsiteX20" fmla="*/ 1827 w 10117"/>
                <a:gd name="connsiteY20" fmla="*/ 4623 h 10610"/>
                <a:gd name="connsiteX21" fmla="*/ 1762 w 10117"/>
                <a:gd name="connsiteY21" fmla="*/ 4691 h 10610"/>
                <a:gd name="connsiteX22" fmla="*/ 1702 w 10117"/>
                <a:gd name="connsiteY22" fmla="*/ 4758 h 10610"/>
                <a:gd name="connsiteX23" fmla="*/ 1632 w 10117"/>
                <a:gd name="connsiteY23" fmla="*/ 4830 h 10610"/>
                <a:gd name="connsiteX24" fmla="*/ 1563 w 10117"/>
                <a:gd name="connsiteY24" fmla="*/ 4893 h 10610"/>
                <a:gd name="connsiteX25" fmla="*/ 1490 w 10117"/>
                <a:gd name="connsiteY25" fmla="*/ 4952 h 10610"/>
                <a:gd name="connsiteX26" fmla="*/ 1415 w 10117"/>
                <a:gd name="connsiteY26" fmla="*/ 5019 h 10610"/>
                <a:gd name="connsiteX27" fmla="*/ 1341 w 10117"/>
                <a:gd name="connsiteY27" fmla="*/ 5081 h 10610"/>
                <a:gd name="connsiteX28" fmla="*/ 1262 w 10117"/>
                <a:gd name="connsiteY28" fmla="*/ 5140 h 10610"/>
                <a:gd name="connsiteX29" fmla="*/ 1184 w 10117"/>
                <a:gd name="connsiteY29" fmla="*/ 5204 h 10610"/>
                <a:gd name="connsiteX30" fmla="*/ 1105 w 10117"/>
                <a:gd name="connsiteY30" fmla="*/ 5262 h 10610"/>
                <a:gd name="connsiteX31" fmla="*/ 1017 w 10117"/>
                <a:gd name="connsiteY31" fmla="*/ 5319 h 10610"/>
                <a:gd name="connsiteX32" fmla="*/ 937 w 10117"/>
                <a:gd name="connsiteY32" fmla="*/ 5373 h 10610"/>
                <a:gd name="connsiteX33" fmla="*/ 850 w 10117"/>
                <a:gd name="connsiteY33" fmla="*/ 5429 h 10610"/>
                <a:gd name="connsiteX34" fmla="*/ 765 w 10117"/>
                <a:gd name="connsiteY34" fmla="*/ 5481 h 10610"/>
                <a:gd name="connsiteX35" fmla="*/ 670 w 10117"/>
                <a:gd name="connsiteY35" fmla="*/ 5534 h 10610"/>
                <a:gd name="connsiteX36" fmla="*/ 581 w 10117"/>
                <a:gd name="connsiteY36" fmla="*/ 5583 h 10610"/>
                <a:gd name="connsiteX37" fmla="*/ 488 w 10117"/>
                <a:gd name="connsiteY37" fmla="*/ 5633 h 10610"/>
                <a:gd name="connsiteX38" fmla="*/ 393 w 10117"/>
                <a:gd name="connsiteY38" fmla="*/ 5681 h 10610"/>
                <a:gd name="connsiteX39" fmla="*/ 295 w 10117"/>
                <a:gd name="connsiteY39" fmla="*/ 5725 h 10610"/>
                <a:gd name="connsiteX40" fmla="*/ 198 w 10117"/>
                <a:gd name="connsiteY40" fmla="*/ 5773 h 10610"/>
                <a:gd name="connsiteX41" fmla="*/ 103 w 10117"/>
                <a:gd name="connsiteY41" fmla="*/ 5816 h 10610"/>
                <a:gd name="connsiteX42" fmla="*/ 0 w 10117"/>
                <a:gd name="connsiteY42" fmla="*/ 5857 h 10610"/>
                <a:gd name="connsiteX43" fmla="*/ 210 w 10117"/>
                <a:gd name="connsiteY43" fmla="*/ 8550 h 10610"/>
                <a:gd name="connsiteX44" fmla="*/ 3301 w 10117"/>
                <a:gd name="connsiteY44" fmla="*/ 10610 h 10610"/>
                <a:gd name="connsiteX45" fmla="*/ 3606 w 10117"/>
                <a:gd name="connsiteY45" fmla="*/ 10485 h 10610"/>
                <a:gd name="connsiteX46" fmla="*/ 3848 w 10117"/>
                <a:gd name="connsiteY46" fmla="*/ 10386 h 10610"/>
                <a:gd name="connsiteX47" fmla="*/ 4084 w 10117"/>
                <a:gd name="connsiteY47" fmla="*/ 10287 h 10610"/>
                <a:gd name="connsiteX48" fmla="*/ 4317 w 10117"/>
                <a:gd name="connsiteY48" fmla="*/ 10183 h 10610"/>
                <a:gd name="connsiteX49" fmla="*/ 4549 w 10117"/>
                <a:gd name="connsiteY49" fmla="*/ 10074 h 10610"/>
                <a:gd name="connsiteX50" fmla="*/ 4767 w 10117"/>
                <a:gd name="connsiteY50" fmla="*/ 9967 h 10610"/>
                <a:gd name="connsiteX51" fmla="*/ 4988 w 10117"/>
                <a:gd name="connsiteY51" fmla="*/ 9849 h 10610"/>
                <a:gd name="connsiteX52" fmla="*/ 5209 w 10117"/>
                <a:gd name="connsiteY52" fmla="*/ 9736 h 10610"/>
                <a:gd name="connsiteX53" fmla="*/ 5419 w 10117"/>
                <a:gd name="connsiteY53" fmla="*/ 9615 h 10610"/>
                <a:gd name="connsiteX54" fmla="*/ 5635 w 10117"/>
                <a:gd name="connsiteY54" fmla="*/ 9491 h 10610"/>
                <a:gd name="connsiteX55" fmla="*/ 5839 w 10117"/>
                <a:gd name="connsiteY55" fmla="*/ 9362 h 10610"/>
                <a:gd name="connsiteX56" fmla="*/ 6043 w 10117"/>
                <a:gd name="connsiteY56" fmla="*/ 9235 h 10610"/>
                <a:gd name="connsiteX57" fmla="*/ 6239 w 10117"/>
                <a:gd name="connsiteY57" fmla="*/ 9105 h 10610"/>
                <a:gd name="connsiteX58" fmla="*/ 6438 w 10117"/>
                <a:gd name="connsiteY58" fmla="*/ 8967 h 10610"/>
                <a:gd name="connsiteX59" fmla="*/ 6629 w 10117"/>
                <a:gd name="connsiteY59" fmla="*/ 8825 h 10610"/>
                <a:gd name="connsiteX60" fmla="*/ 6814 w 10117"/>
                <a:gd name="connsiteY60" fmla="*/ 8689 h 10610"/>
                <a:gd name="connsiteX61" fmla="*/ 6997 w 10117"/>
                <a:gd name="connsiteY61" fmla="*/ 8544 h 10610"/>
                <a:gd name="connsiteX62" fmla="*/ 7173 w 10117"/>
                <a:gd name="connsiteY62" fmla="*/ 8396 h 10610"/>
                <a:gd name="connsiteX63" fmla="*/ 7349 w 10117"/>
                <a:gd name="connsiteY63" fmla="*/ 8248 h 10610"/>
                <a:gd name="connsiteX64" fmla="*/ 7518 w 10117"/>
                <a:gd name="connsiteY64" fmla="*/ 8097 h 10610"/>
                <a:gd name="connsiteX65" fmla="*/ 7686 w 10117"/>
                <a:gd name="connsiteY65" fmla="*/ 7940 h 10610"/>
                <a:gd name="connsiteX66" fmla="*/ 7842 w 10117"/>
                <a:gd name="connsiteY66" fmla="*/ 7782 h 10610"/>
                <a:gd name="connsiteX67" fmla="*/ 7995 w 10117"/>
                <a:gd name="connsiteY67" fmla="*/ 7623 h 10610"/>
                <a:gd name="connsiteX68" fmla="*/ 8150 w 10117"/>
                <a:gd name="connsiteY68" fmla="*/ 7463 h 10610"/>
                <a:gd name="connsiteX69" fmla="*/ 8293 w 10117"/>
                <a:gd name="connsiteY69" fmla="*/ 7296 h 10610"/>
                <a:gd name="connsiteX70" fmla="*/ 8433 w 10117"/>
                <a:gd name="connsiteY70" fmla="*/ 7132 h 10610"/>
                <a:gd name="connsiteX71" fmla="*/ 8569 w 10117"/>
                <a:gd name="connsiteY71" fmla="*/ 6962 h 10610"/>
                <a:gd name="connsiteX72" fmla="*/ 8695 w 10117"/>
                <a:gd name="connsiteY72" fmla="*/ 6788 h 10610"/>
                <a:gd name="connsiteX73" fmla="*/ 8819 w 10117"/>
                <a:gd name="connsiteY73" fmla="*/ 6614 h 10610"/>
                <a:gd name="connsiteX74" fmla="*/ 8945 w 10117"/>
                <a:gd name="connsiteY74" fmla="*/ 6440 h 10610"/>
                <a:gd name="connsiteX75" fmla="*/ 9063 w 10117"/>
                <a:gd name="connsiteY75" fmla="*/ 6262 h 10610"/>
                <a:gd name="connsiteX76" fmla="*/ 9167 w 10117"/>
                <a:gd name="connsiteY76" fmla="*/ 6084 h 10610"/>
                <a:gd name="connsiteX77" fmla="*/ 9274 w 10117"/>
                <a:gd name="connsiteY77" fmla="*/ 5902 h 10610"/>
                <a:gd name="connsiteX78" fmla="*/ 9369 w 10117"/>
                <a:gd name="connsiteY78" fmla="*/ 5716 h 10610"/>
                <a:gd name="connsiteX79" fmla="*/ 9465 w 10117"/>
                <a:gd name="connsiteY79" fmla="*/ 5533 h 10610"/>
                <a:gd name="connsiteX80" fmla="*/ 9549 w 10117"/>
                <a:gd name="connsiteY80" fmla="*/ 5344 h 10610"/>
                <a:gd name="connsiteX81" fmla="*/ 9630 w 10117"/>
                <a:gd name="connsiteY81" fmla="*/ 5153 h 10610"/>
                <a:gd name="connsiteX82" fmla="*/ 9704 w 10117"/>
                <a:gd name="connsiteY82" fmla="*/ 4961 h 10610"/>
                <a:gd name="connsiteX83" fmla="*/ 9777 w 10117"/>
                <a:gd name="connsiteY83" fmla="*/ 4771 h 10610"/>
                <a:gd name="connsiteX84" fmla="*/ 9839 w 10117"/>
                <a:gd name="connsiteY84" fmla="*/ 4578 h 10610"/>
                <a:gd name="connsiteX85" fmla="*/ 9898 w 10117"/>
                <a:gd name="connsiteY85" fmla="*/ 4381 h 10610"/>
                <a:gd name="connsiteX86" fmla="*/ 9635 w 10117"/>
                <a:gd name="connsiteY86" fmla="*/ 0 h 10610"/>
                <a:gd name="connsiteX87" fmla="*/ 6408 w 10117"/>
                <a:gd name="connsiteY87" fmla="*/ 1883 h 10610"/>
                <a:gd name="connsiteX88" fmla="*/ 2423 w 10117"/>
                <a:gd name="connsiteY88" fmla="*/ 1506 h 10610"/>
                <a:gd name="connsiteX0" fmla="*/ 2450 w 10117"/>
                <a:gd name="connsiteY0" fmla="*/ 1500 h 10610"/>
                <a:gd name="connsiteX1" fmla="*/ 2592 w 10117"/>
                <a:gd name="connsiteY1" fmla="*/ 3145 h 10610"/>
                <a:gd name="connsiteX2" fmla="*/ 2577 w 10117"/>
                <a:gd name="connsiteY2" fmla="*/ 3230 h 10610"/>
                <a:gd name="connsiteX3" fmla="*/ 2554 w 10117"/>
                <a:gd name="connsiteY3" fmla="*/ 3314 h 10610"/>
                <a:gd name="connsiteX4" fmla="*/ 2533 w 10117"/>
                <a:gd name="connsiteY4" fmla="*/ 3399 h 10610"/>
                <a:gd name="connsiteX5" fmla="*/ 2506 w 10117"/>
                <a:gd name="connsiteY5" fmla="*/ 3479 h 10610"/>
                <a:gd name="connsiteX6" fmla="*/ 2472 w 10117"/>
                <a:gd name="connsiteY6" fmla="*/ 3560 h 10610"/>
                <a:gd name="connsiteX7" fmla="*/ 2441 w 10117"/>
                <a:gd name="connsiteY7" fmla="*/ 3643 h 10610"/>
                <a:gd name="connsiteX8" fmla="*/ 2413 w 10117"/>
                <a:gd name="connsiteY8" fmla="*/ 3722 h 10610"/>
                <a:gd name="connsiteX9" fmla="*/ 2379 w 10117"/>
                <a:gd name="connsiteY9" fmla="*/ 3804 h 10610"/>
                <a:gd name="connsiteX10" fmla="*/ 2339 w 10117"/>
                <a:gd name="connsiteY10" fmla="*/ 3883 h 10610"/>
                <a:gd name="connsiteX11" fmla="*/ 2297 w 10117"/>
                <a:gd name="connsiteY11" fmla="*/ 3960 h 10610"/>
                <a:gd name="connsiteX12" fmla="*/ 2257 w 10117"/>
                <a:gd name="connsiteY12" fmla="*/ 4039 h 10610"/>
                <a:gd name="connsiteX13" fmla="*/ 2209 w 10117"/>
                <a:gd name="connsiteY13" fmla="*/ 4118 h 10610"/>
                <a:gd name="connsiteX14" fmla="*/ 2158 w 10117"/>
                <a:gd name="connsiteY14" fmla="*/ 4189 h 10610"/>
                <a:gd name="connsiteX15" fmla="*/ 2110 w 10117"/>
                <a:gd name="connsiteY15" fmla="*/ 4265 h 10610"/>
                <a:gd name="connsiteX16" fmla="*/ 2058 w 10117"/>
                <a:gd name="connsiteY16" fmla="*/ 4339 h 10610"/>
                <a:gd name="connsiteX17" fmla="*/ 2001 w 10117"/>
                <a:gd name="connsiteY17" fmla="*/ 4412 h 10610"/>
                <a:gd name="connsiteX18" fmla="*/ 1950 w 10117"/>
                <a:gd name="connsiteY18" fmla="*/ 4486 h 10610"/>
                <a:gd name="connsiteX19" fmla="*/ 1890 w 10117"/>
                <a:gd name="connsiteY19" fmla="*/ 4557 h 10610"/>
                <a:gd name="connsiteX20" fmla="*/ 1827 w 10117"/>
                <a:gd name="connsiteY20" fmla="*/ 4623 h 10610"/>
                <a:gd name="connsiteX21" fmla="*/ 1762 w 10117"/>
                <a:gd name="connsiteY21" fmla="*/ 4691 h 10610"/>
                <a:gd name="connsiteX22" fmla="*/ 1702 w 10117"/>
                <a:gd name="connsiteY22" fmla="*/ 4758 h 10610"/>
                <a:gd name="connsiteX23" fmla="*/ 1632 w 10117"/>
                <a:gd name="connsiteY23" fmla="*/ 4830 h 10610"/>
                <a:gd name="connsiteX24" fmla="*/ 1563 w 10117"/>
                <a:gd name="connsiteY24" fmla="*/ 4893 h 10610"/>
                <a:gd name="connsiteX25" fmla="*/ 1490 w 10117"/>
                <a:gd name="connsiteY25" fmla="*/ 4952 h 10610"/>
                <a:gd name="connsiteX26" fmla="*/ 1415 w 10117"/>
                <a:gd name="connsiteY26" fmla="*/ 5019 h 10610"/>
                <a:gd name="connsiteX27" fmla="*/ 1341 w 10117"/>
                <a:gd name="connsiteY27" fmla="*/ 5081 h 10610"/>
                <a:gd name="connsiteX28" fmla="*/ 1262 w 10117"/>
                <a:gd name="connsiteY28" fmla="*/ 5140 h 10610"/>
                <a:gd name="connsiteX29" fmla="*/ 1184 w 10117"/>
                <a:gd name="connsiteY29" fmla="*/ 5204 h 10610"/>
                <a:gd name="connsiteX30" fmla="*/ 1105 w 10117"/>
                <a:gd name="connsiteY30" fmla="*/ 5262 h 10610"/>
                <a:gd name="connsiteX31" fmla="*/ 1017 w 10117"/>
                <a:gd name="connsiteY31" fmla="*/ 5319 h 10610"/>
                <a:gd name="connsiteX32" fmla="*/ 937 w 10117"/>
                <a:gd name="connsiteY32" fmla="*/ 5373 h 10610"/>
                <a:gd name="connsiteX33" fmla="*/ 850 w 10117"/>
                <a:gd name="connsiteY33" fmla="*/ 5429 h 10610"/>
                <a:gd name="connsiteX34" fmla="*/ 765 w 10117"/>
                <a:gd name="connsiteY34" fmla="*/ 5481 h 10610"/>
                <a:gd name="connsiteX35" fmla="*/ 670 w 10117"/>
                <a:gd name="connsiteY35" fmla="*/ 5534 h 10610"/>
                <a:gd name="connsiteX36" fmla="*/ 581 w 10117"/>
                <a:gd name="connsiteY36" fmla="*/ 5583 h 10610"/>
                <a:gd name="connsiteX37" fmla="*/ 488 w 10117"/>
                <a:gd name="connsiteY37" fmla="*/ 5633 h 10610"/>
                <a:gd name="connsiteX38" fmla="*/ 393 w 10117"/>
                <a:gd name="connsiteY38" fmla="*/ 5681 h 10610"/>
                <a:gd name="connsiteX39" fmla="*/ 295 w 10117"/>
                <a:gd name="connsiteY39" fmla="*/ 5725 h 10610"/>
                <a:gd name="connsiteX40" fmla="*/ 198 w 10117"/>
                <a:gd name="connsiteY40" fmla="*/ 5773 h 10610"/>
                <a:gd name="connsiteX41" fmla="*/ 103 w 10117"/>
                <a:gd name="connsiteY41" fmla="*/ 5816 h 10610"/>
                <a:gd name="connsiteX42" fmla="*/ 0 w 10117"/>
                <a:gd name="connsiteY42" fmla="*/ 5857 h 10610"/>
                <a:gd name="connsiteX43" fmla="*/ 210 w 10117"/>
                <a:gd name="connsiteY43" fmla="*/ 8550 h 10610"/>
                <a:gd name="connsiteX44" fmla="*/ 3301 w 10117"/>
                <a:gd name="connsiteY44" fmla="*/ 10610 h 10610"/>
                <a:gd name="connsiteX45" fmla="*/ 3606 w 10117"/>
                <a:gd name="connsiteY45" fmla="*/ 10485 h 10610"/>
                <a:gd name="connsiteX46" fmla="*/ 3848 w 10117"/>
                <a:gd name="connsiteY46" fmla="*/ 10386 h 10610"/>
                <a:gd name="connsiteX47" fmla="*/ 4084 w 10117"/>
                <a:gd name="connsiteY47" fmla="*/ 10287 h 10610"/>
                <a:gd name="connsiteX48" fmla="*/ 4317 w 10117"/>
                <a:gd name="connsiteY48" fmla="*/ 10183 h 10610"/>
                <a:gd name="connsiteX49" fmla="*/ 4549 w 10117"/>
                <a:gd name="connsiteY49" fmla="*/ 10074 h 10610"/>
                <a:gd name="connsiteX50" fmla="*/ 4767 w 10117"/>
                <a:gd name="connsiteY50" fmla="*/ 9967 h 10610"/>
                <a:gd name="connsiteX51" fmla="*/ 4988 w 10117"/>
                <a:gd name="connsiteY51" fmla="*/ 9849 h 10610"/>
                <a:gd name="connsiteX52" fmla="*/ 5209 w 10117"/>
                <a:gd name="connsiteY52" fmla="*/ 9736 h 10610"/>
                <a:gd name="connsiteX53" fmla="*/ 5419 w 10117"/>
                <a:gd name="connsiteY53" fmla="*/ 9615 h 10610"/>
                <a:gd name="connsiteX54" fmla="*/ 5635 w 10117"/>
                <a:gd name="connsiteY54" fmla="*/ 9491 h 10610"/>
                <a:gd name="connsiteX55" fmla="*/ 5839 w 10117"/>
                <a:gd name="connsiteY55" fmla="*/ 9362 h 10610"/>
                <a:gd name="connsiteX56" fmla="*/ 6043 w 10117"/>
                <a:gd name="connsiteY56" fmla="*/ 9235 h 10610"/>
                <a:gd name="connsiteX57" fmla="*/ 6239 w 10117"/>
                <a:gd name="connsiteY57" fmla="*/ 9105 h 10610"/>
                <a:gd name="connsiteX58" fmla="*/ 6438 w 10117"/>
                <a:gd name="connsiteY58" fmla="*/ 8967 h 10610"/>
                <a:gd name="connsiteX59" fmla="*/ 6629 w 10117"/>
                <a:gd name="connsiteY59" fmla="*/ 8825 h 10610"/>
                <a:gd name="connsiteX60" fmla="*/ 6814 w 10117"/>
                <a:gd name="connsiteY60" fmla="*/ 8689 h 10610"/>
                <a:gd name="connsiteX61" fmla="*/ 6997 w 10117"/>
                <a:gd name="connsiteY61" fmla="*/ 8544 h 10610"/>
                <a:gd name="connsiteX62" fmla="*/ 7173 w 10117"/>
                <a:gd name="connsiteY62" fmla="*/ 8396 h 10610"/>
                <a:gd name="connsiteX63" fmla="*/ 7349 w 10117"/>
                <a:gd name="connsiteY63" fmla="*/ 8248 h 10610"/>
                <a:gd name="connsiteX64" fmla="*/ 7518 w 10117"/>
                <a:gd name="connsiteY64" fmla="*/ 8097 h 10610"/>
                <a:gd name="connsiteX65" fmla="*/ 7686 w 10117"/>
                <a:gd name="connsiteY65" fmla="*/ 7940 h 10610"/>
                <a:gd name="connsiteX66" fmla="*/ 7842 w 10117"/>
                <a:gd name="connsiteY66" fmla="*/ 7782 h 10610"/>
                <a:gd name="connsiteX67" fmla="*/ 7995 w 10117"/>
                <a:gd name="connsiteY67" fmla="*/ 7623 h 10610"/>
                <a:gd name="connsiteX68" fmla="*/ 8150 w 10117"/>
                <a:gd name="connsiteY68" fmla="*/ 7463 h 10610"/>
                <a:gd name="connsiteX69" fmla="*/ 8293 w 10117"/>
                <a:gd name="connsiteY69" fmla="*/ 7296 h 10610"/>
                <a:gd name="connsiteX70" fmla="*/ 8433 w 10117"/>
                <a:gd name="connsiteY70" fmla="*/ 7132 h 10610"/>
                <a:gd name="connsiteX71" fmla="*/ 8569 w 10117"/>
                <a:gd name="connsiteY71" fmla="*/ 6962 h 10610"/>
                <a:gd name="connsiteX72" fmla="*/ 8695 w 10117"/>
                <a:gd name="connsiteY72" fmla="*/ 6788 h 10610"/>
                <a:gd name="connsiteX73" fmla="*/ 8819 w 10117"/>
                <a:gd name="connsiteY73" fmla="*/ 6614 h 10610"/>
                <a:gd name="connsiteX74" fmla="*/ 8945 w 10117"/>
                <a:gd name="connsiteY74" fmla="*/ 6440 h 10610"/>
                <a:gd name="connsiteX75" fmla="*/ 9063 w 10117"/>
                <a:gd name="connsiteY75" fmla="*/ 6262 h 10610"/>
                <a:gd name="connsiteX76" fmla="*/ 9167 w 10117"/>
                <a:gd name="connsiteY76" fmla="*/ 6084 h 10610"/>
                <a:gd name="connsiteX77" fmla="*/ 9274 w 10117"/>
                <a:gd name="connsiteY77" fmla="*/ 5902 h 10610"/>
                <a:gd name="connsiteX78" fmla="*/ 9369 w 10117"/>
                <a:gd name="connsiteY78" fmla="*/ 5716 h 10610"/>
                <a:gd name="connsiteX79" fmla="*/ 9465 w 10117"/>
                <a:gd name="connsiteY79" fmla="*/ 5533 h 10610"/>
                <a:gd name="connsiteX80" fmla="*/ 9549 w 10117"/>
                <a:gd name="connsiteY80" fmla="*/ 5344 h 10610"/>
                <a:gd name="connsiteX81" fmla="*/ 9630 w 10117"/>
                <a:gd name="connsiteY81" fmla="*/ 5153 h 10610"/>
                <a:gd name="connsiteX82" fmla="*/ 9704 w 10117"/>
                <a:gd name="connsiteY82" fmla="*/ 4961 h 10610"/>
                <a:gd name="connsiteX83" fmla="*/ 9777 w 10117"/>
                <a:gd name="connsiteY83" fmla="*/ 4771 h 10610"/>
                <a:gd name="connsiteX84" fmla="*/ 9839 w 10117"/>
                <a:gd name="connsiteY84" fmla="*/ 4578 h 10610"/>
                <a:gd name="connsiteX85" fmla="*/ 9898 w 10117"/>
                <a:gd name="connsiteY85" fmla="*/ 4381 h 10610"/>
                <a:gd name="connsiteX86" fmla="*/ 9635 w 10117"/>
                <a:gd name="connsiteY86" fmla="*/ 0 h 10610"/>
                <a:gd name="connsiteX87" fmla="*/ 6408 w 10117"/>
                <a:gd name="connsiteY87" fmla="*/ 1883 h 10610"/>
                <a:gd name="connsiteX88" fmla="*/ 2450 w 10117"/>
                <a:gd name="connsiteY88" fmla="*/ 1500 h 10610"/>
                <a:gd name="connsiteX0" fmla="*/ 2450 w 10117"/>
                <a:gd name="connsiteY0" fmla="*/ 1500 h 10610"/>
                <a:gd name="connsiteX1" fmla="*/ 2577 w 10117"/>
                <a:gd name="connsiteY1" fmla="*/ 3230 h 10610"/>
                <a:gd name="connsiteX2" fmla="*/ 2554 w 10117"/>
                <a:gd name="connsiteY2" fmla="*/ 3314 h 10610"/>
                <a:gd name="connsiteX3" fmla="*/ 2533 w 10117"/>
                <a:gd name="connsiteY3" fmla="*/ 3399 h 10610"/>
                <a:gd name="connsiteX4" fmla="*/ 2506 w 10117"/>
                <a:gd name="connsiteY4" fmla="*/ 3479 h 10610"/>
                <a:gd name="connsiteX5" fmla="*/ 2472 w 10117"/>
                <a:gd name="connsiteY5" fmla="*/ 3560 h 10610"/>
                <a:gd name="connsiteX6" fmla="*/ 2441 w 10117"/>
                <a:gd name="connsiteY6" fmla="*/ 3643 h 10610"/>
                <a:gd name="connsiteX7" fmla="*/ 2413 w 10117"/>
                <a:gd name="connsiteY7" fmla="*/ 3722 h 10610"/>
                <a:gd name="connsiteX8" fmla="*/ 2379 w 10117"/>
                <a:gd name="connsiteY8" fmla="*/ 3804 h 10610"/>
                <a:gd name="connsiteX9" fmla="*/ 2339 w 10117"/>
                <a:gd name="connsiteY9" fmla="*/ 3883 h 10610"/>
                <a:gd name="connsiteX10" fmla="*/ 2297 w 10117"/>
                <a:gd name="connsiteY10" fmla="*/ 3960 h 10610"/>
                <a:gd name="connsiteX11" fmla="*/ 2257 w 10117"/>
                <a:gd name="connsiteY11" fmla="*/ 4039 h 10610"/>
                <a:gd name="connsiteX12" fmla="*/ 2209 w 10117"/>
                <a:gd name="connsiteY12" fmla="*/ 4118 h 10610"/>
                <a:gd name="connsiteX13" fmla="*/ 2158 w 10117"/>
                <a:gd name="connsiteY13" fmla="*/ 4189 h 10610"/>
                <a:gd name="connsiteX14" fmla="*/ 2110 w 10117"/>
                <a:gd name="connsiteY14" fmla="*/ 4265 h 10610"/>
                <a:gd name="connsiteX15" fmla="*/ 2058 w 10117"/>
                <a:gd name="connsiteY15" fmla="*/ 4339 h 10610"/>
                <a:gd name="connsiteX16" fmla="*/ 2001 w 10117"/>
                <a:gd name="connsiteY16" fmla="*/ 4412 h 10610"/>
                <a:gd name="connsiteX17" fmla="*/ 1950 w 10117"/>
                <a:gd name="connsiteY17" fmla="*/ 4486 h 10610"/>
                <a:gd name="connsiteX18" fmla="*/ 1890 w 10117"/>
                <a:gd name="connsiteY18" fmla="*/ 4557 h 10610"/>
                <a:gd name="connsiteX19" fmla="*/ 1827 w 10117"/>
                <a:gd name="connsiteY19" fmla="*/ 4623 h 10610"/>
                <a:gd name="connsiteX20" fmla="*/ 1762 w 10117"/>
                <a:gd name="connsiteY20" fmla="*/ 4691 h 10610"/>
                <a:gd name="connsiteX21" fmla="*/ 1702 w 10117"/>
                <a:gd name="connsiteY21" fmla="*/ 4758 h 10610"/>
                <a:gd name="connsiteX22" fmla="*/ 1632 w 10117"/>
                <a:gd name="connsiteY22" fmla="*/ 4830 h 10610"/>
                <a:gd name="connsiteX23" fmla="*/ 1563 w 10117"/>
                <a:gd name="connsiteY23" fmla="*/ 4893 h 10610"/>
                <a:gd name="connsiteX24" fmla="*/ 1490 w 10117"/>
                <a:gd name="connsiteY24" fmla="*/ 4952 h 10610"/>
                <a:gd name="connsiteX25" fmla="*/ 1415 w 10117"/>
                <a:gd name="connsiteY25" fmla="*/ 5019 h 10610"/>
                <a:gd name="connsiteX26" fmla="*/ 1341 w 10117"/>
                <a:gd name="connsiteY26" fmla="*/ 5081 h 10610"/>
                <a:gd name="connsiteX27" fmla="*/ 1262 w 10117"/>
                <a:gd name="connsiteY27" fmla="*/ 5140 h 10610"/>
                <a:gd name="connsiteX28" fmla="*/ 1184 w 10117"/>
                <a:gd name="connsiteY28" fmla="*/ 5204 h 10610"/>
                <a:gd name="connsiteX29" fmla="*/ 1105 w 10117"/>
                <a:gd name="connsiteY29" fmla="*/ 5262 h 10610"/>
                <a:gd name="connsiteX30" fmla="*/ 1017 w 10117"/>
                <a:gd name="connsiteY30" fmla="*/ 5319 h 10610"/>
                <a:gd name="connsiteX31" fmla="*/ 937 w 10117"/>
                <a:gd name="connsiteY31" fmla="*/ 5373 h 10610"/>
                <a:gd name="connsiteX32" fmla="*/ 850 w 10117"/>
                <a:gd name="connsiteY32" fmla="*/ 5429 h 10610"/>
                <a:gd name="connsiteX33" fmla="*/ 765 w 10117"/>
                <a:gd name="connsiteY33" fmla="*/ 5481 h 10610"/>
                <a:gd name="connsiteX34" fmla="*/ 670 w 10117"/>
                <a:gd name="connsiteY34" fmla="*/ 5534 h 10610"/>
                <a:gd name="connsiteX35" fmla="*/ 581 w 10117"/>
                <a:gd name="connsiteY35" fmla="*/ 5583 h 10610"/>
                <a:gd name="connsiteX36" fmla="*/ 488 w 10117"/>
                <a:gd name="connsiteY36" fmla="*/ 5633 h 10610"/>
                <a:gd name="connsiteX37" fmla="*/ 393 w 10117"/>
                <a:gd name="connsiteY37" fmla="*/ 5681 h 10610"/>
                <a:gd name="connsiteX38" fmla="*/ 295 w 10117"/>
                <a:gd name="connsiteY38" fmla="*/ 5725 h 10610"/>
                <a:gd name="connsiteX39" fmla="*/ 198 w 10117"/>
                <a:gd name="connsiteY39" fmla="*/ 5773 h 10610"/>
                <a:gd name="connsiteX40" fmla="*/ 103 w 10117"/>
                <a:gd name="connsiteY40" fmla="*/ 5816 h 10610"/>
                <a:gd name="connsiteX41" fmla="*/ 0 w 10117"/>
                <a:gd name="connsiteY41" fmla="*/ 5857 h 10610"/>
                <a:gd name="connsiteX42" fmla="*/ 210 w 10117"/>
                <a:gd name="connsiteY42" fmla="*/ 8550 h 10610"/>
                <a:gd name="connsiteX43" fmla="*/ 3301 w 10117"/>
                <a:gd name="connsiteY43" fmla="*/ 10610 h 10610"/>
                <a:gd name="connsiteX44" fmla="*/ 3606 w 10117"/>
                <a:gd name="connsiteY44" fmla="*/ 10485 h 10610"/>
                <a:gd name="connsiteX45" fmla="*/ 3848 w 10117"/>
                <a:gd name="connsiteY45" fmla="*/ 10386 h 10610"/>
                <a:gd name="connsiteX46" fmla="*/ 4084 w 10117"/>
                <a:gd name="connsiteY46" fmla="*/ 10287 h 10610"/>
                <a:gd name="connsiteX47" fmla="*/ 4317 w 10117"/>
                <a:gd name="connsiteY47" fmla="*/ 10183 h 10610"/>
                <a:gd name="connsiteX48" fmla="*/ 4549 w 10117"/>
                <a:gd name="connsiteY48" fmla="*/ 10074 h 10610"/>
                <a:gd name="connsiteX49" fmla="*/ 4767 w 10117"/>
                <a:gd name="connsiteY49" fmla="*/ 9967 h 10610"/>
                <a:gd name="connsiteX50" fmla="*/ 4988 w 10117"/>
                <a:gd name="connsiteY50" fmla="*/ 9849 h 10610"/>
                <a:gd name="connsiteX51" fmla="*/ 5209 w 10117"/>
                <a:gd name="connsiteY51" fmla="*/ 9736 h 10610"/>
                <a:gd name="connsiteX52" fmla="*/ 5419 w 10117"/>
                <a:gd name="connsiteY52" fmla="*/ 9615 h 10610"/>
                <a:gd name="connsiteX53" fmla="*/ 5635 w 10117"/>
                <a:gd name="connsiteY53" fmla="*/ 9491 h 10610"/>
                <a:gd name="connsiteX54" fmla="*/ 5839 w 10117"/>
                <a:gd name="connsiteY54" fmla="*/ 9362 h 10610"/>
                <a:gd name="connsiteX55" fmla="*/ 6043 w 10117"/>
                <a:gd name="connsiteY55" fmla="*/ 9235 h 10610"/>
                <a:gd name="connsiteX56" fmla="*/ 6239 w 10117"/>
                <a:gd name="connsiteY56" fmla="*/ 9105 h 10610"/>
                <a:gd name="connsiteX57" fmla="*/ 6438 w 10117"/>
                <a:gd name="connsiteY57" fmla="*/ 8967 h 10610"/>
                <a:gd name="connsiteX58" fmla="*/ 6629 w 10117"/>
                <a:gd name="connsiteY58" fmla="*/ 8825 h 10610"/>
                <a:gd name="connsiteX59" fmla="*/ 6814 w 10117"/>
                <a:gd name="connsiteY59" fmla="*/ 8689 h 10610"/>
                <a:gd name="connsiteX60" fmla="*/ 6997 w 10117"/>
                <a:gd name="connsiteY60" fmla="*/ 8544 h 10610"/>
                <a:gd name="connsiteX61" fmla="*/ 7173 w 10117"/>
                <a:gd name="connsiteY61" fmla="*/ 8396 h 10610"/>
                <a:gd name="connsiteX62" fmla="*/ 7349 w 10117"/>
                <a:gd name="connsiteY62" fmla="*/ 8248 h 10610"/>
                <a:gd name="connsiteX63" fmla="*/ 7518 w 10117"/>
                <a:gd name="connsiteY63" fmla="*/ 8097 h 10610"/>
                <a:gd name="connsiteX64" fmla="*/ 7686 w 10117"/>
                <a:gd name="connsiteY64" fmla="*/ 7940 h 10610"/>
                <a:gd name="connsiteX65" fmla="*/ 7842 w 10117"/>
                <a:gd name="connsiteY65" fmla="*/ 7782 h 10610"/>
                <a:gd name="connsiteX66" fmla="*/ 7995 w 10117"/>
                <a:gd name="connsiteY66" fmla="*/ 7623 h 10610"/>
                <a:gd name="connsiteX67" fmla="*/ 8150 w 10117"/>
                <a:gd name="connsiteY67" fmla="*/ 7463 h 10610"/>
                <a:gd name="connsiteX68" fmla="*/ 8293 w 10117"/>
                <a:gd name="connsiteY68" fmla="*/ 7296 h 10610"/>
                <a:gd name="connsiteX69" fmla="*/ 8433 w 10117"/>
                <a:gd name="connsiteY69" fmla="*/ 7132 h 10610"/>
                <a:gd name="connsiteX70" fmla="*/ 8569 w 10117"/>
                <a:gd name="connsiteY70" fmla="*/ 6962 h 10610"/>
                <a:gd name="connsiteX71" fmla="*/ 8695 w 10117"/>
                <a:gd name="connsiteY71" fmla="*/ 6788 h 10610"/>
                <a:gd name="connsiteX72" fmla="*/ 8819 w 10117"/>
                <a:gd name="connsiteY72" fmla="*/ 6614 h 10610"/>
                <a:gd name="connsiteX73" fmla="*/ 8945 w 10117"/>
                <a:gd name="connsiteY73" fmla="*/ 6440 h 10610"/>
                <a:gd name="connsiteX74" fmla="*/ 9063 w 10117"/>
                <a:gd name="connsiteY74" fmla="*/ 6262 h 10610"/>
                <a:gd name="connsiteX75" fmla="*/ 9167 w 10117"/>
                <a:gd name="connsiteY75" fmla="*/ 6084 h 10610"/>
                <a:gd name="connsiteX76" fmla="*/ 9274 w 10117"/>
                <a:gd name="connsiteY76" fmla="*/ 5902 h 10610"/>
                <a:gd name="connsiteX77" fmla="*/ 9369 w 10117"/>
                <a:gd name="connsiteY77" fmla="*/ 5716 h 10610"/>
                <a:gd name="connsiteX78" fmla="*/ 9465 w 10117"/>
                <a:gd name="connsiteY78" fmla="*/ 5533 h 10610"/>
                <a:gd name="connsiteX79" fmla="*/ 9549 w 10117"/>
                <a:gd name="connsiteY79" fmla="*/ 5344 h 10610"/>
                <a:gd name="connsiteX80" fmla="*/ 9630 w 10117"/>
                <a:gd name="connsiteY80" fmla="*/ 5153 h 10610"/>
                <a:gd name="connsiteX81" fmla="*/ 9704 w 10117"/>
                <a:gd name="connsiteY81" fmla="*/ 4961 h 10610"/>
                <a:gd name="connsiteX82" fmla="*/ 9777 w 10117"/>
                <a:gd name="connsiteY82" fmla="*/ 4771 h 10610"/>
                <a:gd name="connsiteX83" fmla="*/ 9839 w 10117"/>
                <a:gd name="connsiteY83" fmla="*/ 4578 h 10610"/>
                <a:gd name="connsiteX84" fmla="*/ 9898 w 10117"/>
                <a:gd name="connsiteY84" fmla="*/ 4381 h 10610"/>
                <a:gd name="connsiteX85" fmla="*/ 9635 w 10117"/>
                <a:gd name="connsiteY85" fmla="*/ 0 h 10610"/>
                <a:gd name="connsiteX86" fmla="*/ 6408 w 10117"/>
                <a:gd name="connsiteY86" fmla="*/ 1883 h 10610"/>
                <a:gd name="connsiteX87" fmla="*/ 2450 w 10117"/>
                <a:gd name="connsiteY87" fmla="*/ 1500 h 10610"/>
                <a:gd name="connsiteX0" fmla="*/ 2450 w 10117"/>
                <a:gd name="connsiteY0" fmla="*/ 1500 h 10610"/>
                <a:gd name="connsiteX1" fmla="*/ 2554 w 10117"/>
                <a:gd name="connsiteY1" fmla="*/ 3314 h 10610"/>
                <a:gd name="connsiteX2" fmla="*/ 2533 w 10117"/>
                <a:gd name="connsiteY2" fmla="*/ 3399 h 10610"/>
                <a:gd name="connsiteX3" fmla="*/ 2506 w 10117"/>
                <a:gd name="connsiteY3" fmla="*/ 3479 h 10610"/>
                <a:gd name="connsiteX4" fmla="*/ 2472 w 10117"/>
                <a:gd name="connsiteY4" fmla="*/ 3560 h 10610"/>
                <a:gd name="connsiteX5" fmla="*/ 2441 w 10117"/>
                <a:gd name="connsiteY5" fmla="*/ 3643 h 10610"/>
                <a:gd name="connsiteX6" fmla="*/ 2413 w 10117"/>
                <a:gd name="connsiteY6" fmla="*/ 3722 h 10610"/>
                <a:gd name="connsiteX7" fmla="*/ 2379 w 10117"/>
                <a:gd name="connsiteY7" fmla="*/ 3804 h 10610"/>
                <a:gd name="connsiteX8" fmla="*/ 2339 w 10117"/>
                <a:gd name="connsiteY8" fmla="*/ 3883 h 10610"/>
                <a:gd name="connsiteX9" fmla="*/ 2297 w 10117"/>
                <a:gd name="connsiteY9" fmla="*/ 3960 h 10610"/>
                <a:gd name="connsiteX10" fmla="*/ 2257 w 10117"/>
                <a:gd name="connsiteY10" fmla="*/ 4039 h 10610"/>
                <a:gd name="connsiteX11" fmla="*/ 2209 w 10117"/>
                <a:gd name="connsiteY11" fmla="*/ 4118 h 10610"/>
                <a:gd name="connsiteX12" fmla="*/ 2158 w 10117"/>
                <a:gd name="connsiteY12" fmla="*/ 4189 h 10610"/>
                <a:gd name="connsiteX13" fmla="*/ 2110 w 10117"/>
                <a:gd name="connsiteY13" fmla="*/ 4265 h 10610"/>
                <a:gd name="connsiteX14" fmla="*/ 2058 w 10117"/>
                <a:gd name="connsiteY14" fmla="*/ 4339 h 10610"/>
                <a:gd name="connsiteX15" fmla="*/ 2001 w 10117"/>
                <a:gd name="connsiteY15" fmla="*/ 4412 h 10610"/>
                <a:gd name="connsiteX16" fmla="*/ 1950 w 10117"/>
                <a:gd name="connsiteY16" fmla="*/ 4486 h 10610"/>
                <a:gd name="connsiteX17" fmla="*/ 1890 w 10117"/>
                <a:gd name="connsiteY17" fmla="*/ 4557 h 10610"/>
                <a:gd name="connsiteX18" fmla="*/ 1827 w 10117"/>
                <a:gd name="connsiteY18" fmla="*/ 4623 h 10610"/>
                <a:gd name="connsiteX19" fmla="*/ 1762 w 10117"/>
                <a:gd name="connsiteY19" fmla="*/ 4691 h 10610"/>
                <a:gd name="connsiteX20" fmla="*/ 1702 w 10117"/>
                <a:gd name="connsiteY20" fmla="*/ 4758 h 10610"/>
                <a:gd name="connsiteX21" fmla="*/ 1632 w 10117"/>
                <a:gd name="connsiteY21" fmla="*/ 4830 h 10610"/>
                <a:gd name="connsiteX22" fmla="*/ 1563 w 10117"/>
                <a:gd name="connsiteY22" fmla="*/ 4893 h 10610"/>
                <a:gd name="connsiteX23" fmla="*/ 1490 w 10117"/>
                <a:gd name="connsiteY23" fmla="*/ 4952 h 10610"/>
                <a:gd name="connsiteX24" fmla="*/ 1415 w 10117"/>
                <a:gd name="connsiteY24" fmla="*/ 5019 h 10610"/>
                <a:gd name="connsiteX25" fmla="*/ 1341 w 10117"/>
                <a:gd name="connsiteY25" fmla="*/ 5081 h 10610"/>
                <a:gd name="connsiteX26" fmla="*/ 1262 w 10117"/>
                <a:gd name="connsiteY26" fmla="*/ 5140 h 10610"/>
                <a:gd name="connsiteX27" fmla="*/ 1184 w 10117"/>
                <a:gd name="connsiteY27" fmla="*/ 5204 h 10610"/>
                <a:gd name="connsiteX28" fmla="*/ 1105 w 10117"/>
                <a:gd name="connsiteY28" fmla="*/ 5262 h 10610"/>
                <a:gd name="connsiteX29" fmla="*/ 1017 w 10117"/>
                <a:gd name="connsiteY29" fmla="*/ 5319 h 10610"/>
                <a:gd name="connsiteX30" fmla="*/ 937 w 10117"/>
                <a:gd name="connsiteY30" fmla="*/ 5373 h 10610"/>
                <a:gd name="connsiteX31" fmla="*/ 850 w 10117"/>
                <a:gd name="connsiteY31" fmla="*/ 5429 h 10610"/>
                <a:gd name="connsiteX32" fmla="*/ 765 w 10117"/>
                <a:gd name="connsiteY32" fmla="*/ 5481 h 10610"/>
                <a:gd name="connsiteX33" fmla="*/ 670 w 10117"/>
                <a:gd name="connsiteY33" fmla="*/ 5534 h 10610"/>
                <a:gd name="connsiteX34" fmla="*/ 581 w 10117"/>
                <a:gd name="connsiteY34" fmla="*/ 5583 h 10610"/>
                <a:gd name="connsiteX35" fmla="*/ 488 w 10117"/>
                <a:gd name="connsiteY35" fmla="*/ 5633 h 10610"/>
                <a:gd name="connsiteX36" fmla="*/ 393 w 10117"/>
                <a:gd name="connsiteY36" fmla="*/ 5681 h 10610"/>
                <a:gd name="connsiteX37" fmla="*/ 295 w 10117"/>
                <a:gd name="connsiteY37" fmla="*/ 5725 h 10610"/>
                <a:gd name="connsiteX38" fmla="*/ 198 w 10117"/>
                <a:gd name="connsiteY38" fmla="*/ 5773 h 10610"/>
                <a:gd name="connsiteX39" fmla="*/ 103 w 10117"/>
                <a:gd name="connsiteY39" fmla="*/ 5816 h 10610"/>
                <a:gd name="connsiteX40" fmla="*/ 0 w 10117"/>
                <a:gd name="connsiteY40" fmla="*/ 5857 h 10610"/>
                <a:gd name="connsiteX41" fmla="*/ 210 w 10117"/>
                <a:gd name="connsiteY41" fmla="*/ 8550 h 10610"/>
                <a:gd name="connsiteX42" fmla="*/ 3301 w 10117"/>
                <a:gd name="connsiteY42" fmla="*/ 10610 h 10610"/>
                <a:gd name="connsiteX43" fmla="*/ 3606 w 10117"/>
                <a:gd name="connsiteY43" fmla="*/ 10485 h 10610"/>
                <a:gd name="connsiteX44" fmla="*/ 3848 w 10117"/>
                <a:gd name="connsiteY44" fmla="*/ 10386 h 10610"/>
                <a:gd name="connsiteX45" fmla="*/ 4084 w 10117"/>
                <a:gd name="connsiteY45" fmla="*/ 10287 h 10610"/>
                <a:gd name="connsiteX46" fmla="*/ 4317 w 10117"/>
                <a:gd name="connsiteY46" fmla="*/ 10183 h 10610"/>
                <a:gd name="connsiteX47" fmla="*/ 4549 w 10117"/>
                <a:gd name="connsiteY47" fmla="*/ 10074 h 10610"/>
                <a:gd name="connsiteX48" fmla="*/ 4767 w 10117"/>
                <a:gd name="connsiteY48" fmla="*/ 9967 h 10610"/>
                <a:gd name="connsiteX49" fmla="*/ 4988 w 10117"/>
                <a:gd name="connsiteY49" fmla="*/ 9849 h 10610"/>
                <a:gd name="connsiteX50" fmla="*/ 5209 w 10117"/>
                <a:gd name="connsiteY50" fmla="*/ 9736 h 10610"/>
                <a:gd name="connsiteX51" fmla="*/ 5419 w 10117"/>
                <a:gd name="connsiteY51" fmla="*/ 9615 h 10610"/>
                <a:gd name="connsiteX52" fmla="*/ 5635 w 10117"/>
                <a:gd name="connsiteY52" fmla="*/ 9491 h 10610"/>
                <a:gd name="connsiteX53" fmla="*/ 5839 w 10117"/>
                <a:gd name="connsiteY53" fmla="*/ 9362 h 10610"/>
                <a:gd name="connsiteX54" fmla="*/ 6043 w 10117"/>
                <a:gd name="connsiteY54" fmla="*/ 9235 h 10610"/>
                <a:gd name="connsiteX55" fmla="*/ 6239 w 10117"/>
                <a:gd name="connsiteY55" fmla="*/ 9105 h 10610"/>
                <a:gd name="connsiteX56" fmla="*/ 6438 w 10117"/>
                <a:gd name="connsiteY56" fmla="*/ 8967 h 10610"/>
                <a:gd name="connsiteX57" fmla="*/ 6629 w 10117"/>
                <a:gd name="connsiteY57" fmla="*/ 8825 h 10610"/>
                <a:gd name="connsiteX58" fmla="*/ 6814 w 10117"/>
                <a:gd name="connsiteY58" fmla="*/ 8689 h 10610"/>
                <a:gd name="connsiteX59" fmla="*/ 6997 w 10117"/>
                <a:gd name="connsiteY59" fmla="*/ 8544 h 10610"/>
                <a:gd name="connsiteX60" fmla="*/ 7173 w 10117"/>
                <a:gd name="connsiteY60" fmla="*/ 8396 h 10610"/>
                <a:gd name="connsiteX61" fmla="*/ 7349 w 10117"/>
                <a:gd name="connsiteY61" fmla="*/ 8248 h 10610"/>
                <a:gd name="connsiteX62" fmla="*/ 7518 w 10117"/>
                <a:gd name="connsiteY62" fmla="*/ 8097 h 10610"/>
                <a:gd name="connsiteX63" fmla="*/ 7686 w 10117"/>
                <a:gd name="connsiteY63" fmla="*/ 7940 h 10610"/>
                <a:gd name="connsiteX64" fmla="*/ 7842 w 10117"/>
                <a:gd name="connsiteY64" fmla="*/ 7782 h 10610"/>
                <a:gd name="connsiteX65" fmla="*/ 7995 w 10117"/>
                <a:gd name="connsiteY65" fmla="*/ 7623 h 10610"/>
                <a:gd name="connsiteX66" fmla="*/ 8150 w 10117"/>
                <a:gd name="connsiteY66" fmla="*/ 7463 h 10610"/>
                <a:gd name="connsiteX67" fmla="*/ 8293 w 10117"/>
                <a:gd name="connsiteY67" fmla="*/ 7296 h 10610"/>
                <a:gd name="connsiteX68" fmla="*/ 8433 w 10117"/>
                <a:gd name="connsiteY68" fmla="*/ 7132 h 10610"/>
                <a:gd name="connsiteX69" fmla="*/ 8569 w 10117"/>
                <a:gd name="connsiteY69" fmla="*/ 6962 h 10610"/>
                <a:gd name="connsiteX70" fmla="*/ 8695 w 10117"/>
                <a:gd name="connsiteY70" fmla="*/ 6788 h 10610"/>
                <a:gd name="connsiteX71" fmla="*/ 8819 w 10117"/>
                <a:gd name="connsiteY71" fmla="*/ 6614 h 10610"/>
                <a:gd name="connsiteX72" fmla="*/ 8945 w 10117"/>
                <a:gd name="connsiteY72" fmla="*/ 6440 h 10610"/>
                <a:gd name="connsiteX73" fmla="*/ 9063 w 10117"/>
                <a:gd name="connsiteY73" fmla="*/ 6262 h 10610"/>
                <a:gd name="connsiteX74" fmla="*/ 9167 w 10117"/>
                <a:gd name="connsiteY74" fmla="*/ 6084 h 10610"/>
                <a:gd name="connsiteX75" fmla="*/ 9274 w 10117"/>
                <a:gd name="connsiteY75" fmla="*/ 5902 h 10610"/>
                <a:gd name="connsiteX76" fmla="*/ 9369 w 10117"/>
                <a:gd name="connsiteY76" fmla="*/ 5716 h 10610"/>
                <a:gd name="connsiteX77" fmla="*/ 9465 w 10117"/>
                <a:gd name="connsiteY77" fmla="*/ 5533 h 10610"/>
                <a:gd name="connsiteX78" fmla="*/ 9549 w 10117"/>
                <a:gd name="connsiteY78" fmla="*/ 5344 h 10610"/>
                <a:gd name="connsiteX79" fmla="*/ 9630 w 10117"/>
                <a:gd name="connsiteY79" fmla="*/ 5153 h 10610"/>
                <a:gd name="connsiteX80" fmla="*/ 9704 w 10117"/>
                <a:gd name="connsiteY80" fmla="*/ 4961 h 10610"/>
                <a:gd name="connsiteX81" fmla="*/ 9777 w 10117"/>
                <a:gd name="connsiteY81" fmla="*/ 4771 h 10610"/>
                <a:gd name="connsiteX82" fmla="*/ 9839 w 10117"/>
                <a:gd name="connsiteY82" fmla="*/ 4578 h 10610"/>
                <a:gd name="connsiteX83" fmla="*/ 9898 w 10117"/>
                <a:gd name="connsiteY83" fmla="*/ 4381 h 10610"/>
                <a:gd name="connsiteX84" fmla="*/ 9635 w 10117"/>
                <a:gd name="connsiteY84" fmla="*/ 0 h 10610"/>
                <a:gd name="connsiteX85" fmla="*/ 6408 w 10117"/>
                <a:gd name="connsiteY85" fmla="*/ 1883 h 10610"/>
                <a:gd name="connsiteX86" fmla="*/ 2450 w 10117"/>
                <a:gd name="connsiteY86" fmla="*/ 1500 h 10610"/>
                <a:gd name="connsiteX0" fmla="*/ 2450 w 10117"/>
                <a:gd name="connsiteY0" fmla="*/ 1500 h 10610"/>
                <a:gd name="connsiteX1" fmla="*/ 2549 w 10117"/>
                <a:gd name="connsiteY1" fmla="*/ 3279 h 10610"/>
                <a:gd name="connsiteX2" fmla="*/ 2554 w 10117"/>
                <a:gd name="connsiteY2" fmla="*/ 3314 h 10610"/>
                <a:gd name="connsiteX3" fmla="*/ 2533 w 10117"/>
                <a:gd name="connsiteY3" fmla="*/ 3399 h 10610"/>
                <a:gd name="connsiteX4" fmla="*/ 2506 w 10117"/>
                <a:gd name="connsiteY4" fmla="*/ 3479 h 10610"/>
                <a:gd name="connsiteX5" fmla="*/ 2472 w 10117"/>
                <a:gd name="connsiteY5" fmla="*/ 3560 h 10610"/>
                <a:gd name="connsiteX6" fmla="*/ 2441 w 10117"/>
                <a:gd name="connsiteY6" fmla="*/ 3643 h 10610"/>
                <a:gd name="connsiteX7" fmla="*/ 2413 w 10117"/>
                <a:gd name="connsiteY7" fmla="*/ 3722 h 10610"/>
                <a:gd name="connsiteX8" fmla="*/ 2379 w 10117"/>
                <a:gd name="connsiteY8" fmla="*/ 3804 h 10610"/>
                <a:gd name="connsiteX9" fmla="*/ 2339 w 10117"/>
                <a:gd name="connsiteY9" fmla="*/ 3883 h 10610"/>
                <a:gd name="connsiteX10" fmla="*/ 2297 w 10117"/>
                <a:gd name="connsiteY10" fmla="*/ 3960 h 10610"/>
                <a:gd name="connsiteX11" fmla="*/ 2257 w 10117"/>
                <a:gd name="connsiteY11" fmla="*/ 4039 h 10610"/>
                <a:gd name="connsiteX12" fmla="*/ 2209 w 10117"/>
                <a:gd name="connsiteY12" fmla="*/ 4118 h 10610"/>
                <a:gd name="connsiteX13" fmla="*/ 2158 w 10117"/>
                <a:gd name="connsiteY13" fmla="*/ 4189 h 10610"/>
                <a:gd name="connsiteX14" fmla="*/ 2110 w 10117"/>
                <a:gd name="connsiteY14" fmla="*/ 4265 h 10610"/>
                <a:gd name="connsiteX15" fmla="*/ 2058 w 10117"/>
                <a:gd name="connsiteY15" fmla="*/ 4339 h 10610"/>
                <a:gd name="connsiteX16" fmla="*/ 2001 w 10117"/>
                <a:gd name="connsiteY16" fmla="*/ 4412 h 10610"/>
                <a:gd name="connsiteX17" fmla="*/ 1950 w 10117"/>
                <a:gd name="connsiteY17" fmla="*/ 4486 h 10610"/>
                <a:gd name="connsiteX18" fmla="*/ 1890 w 10117"/>
                <a:gd name="connsiteY18" fmla="*/ 4557 h 10610"/>
                <a:gd name="connsiteX19" fmla="*/ 1827 w 10117"/>
                <a:gd name="connsiteY19" fmla="*/ 4623 h 10610"/>
                <a:gd name="connsiteX20" fmla="*/ 1762 w 10117"/>
                <a:gd name="connsiteY20" fmla="*/ 4691 h 10610"/>
                <a:gd name="connsiteX21" fmla="*/ 1702 w 10117"/>
                <a:gd name="connsiteY21" fmla="*/ 4758 h 10610"/>
                <a:gd name="connsiteX22" fmla="*/ 1632 w 10117"/>
                <a:gd name="connsiteY22" fmla="*/ 4830 h 10610"/>
                <a:gd name="connsiteX23" fmla="*/ 1563 w 10117"/>
                <a:gd name="connsiteY23" fmla="*/ 4893 h 10610"/>
                <a:gd name="connsiteX24" fmla="*/ 1490 w 10117"/>
                <a:gd name="connsiteY24" fmla="*/ 4952 h 10610"/>
                <a:gd name="connsiteX25" fmla="*/ 1415 w 10117"/>
                <a:gd name="connsiteY25" fmla="*/ 5019 h 10610"/>
                <a:gd name="connsiteX26" fmla="*/ 1341 w 10117"/>
                <a:gd name="connsiteY26" fmla="*/ 5081 h 10610"/>
                <a:gd name="connsiteX27" fmla="*/ 1262 w 10117"/>
                <a:gd name="connsiteY27" fmla="*/ 5140 h 10610"/>
                <a:gd name="connsiteX28" fmla="*/ 1184 w 10117"/>
                <a:gd name="connsiteY28" fmla="*/ 5204 h 10610"/>
                <a:gd name="connsiteX29" fmla="*/ 1105 w 10117"/>
                <a:gd name="connsiteY29" fmla="*/ 5262 h 10610"/>
                <a:gd name="connsiteX30" fmla="*/ 1017 w 10117"/>
                <a:gd name="connsiteY30" fmla="*/ 5319 h 10610"/>
                <a:gd name="connsiteX31" fmla="*/ 937 w 10117"/>
                <a:gd name="connsiteY31" fmla="*/ 5373 h 10610"/>
                <a:gd name="connsiteX32" fmla="*/ 850 w 10117"/>
                <a:gd name="connsiteY32" fmla="*/ 5429 h 10610"/>
                <a:gd name="connsiteX33" fmla="*/ 765 w 10117"/>
                <a:gd name="connsiteY33" fmla="*/ 5481 h 10610"/>
                <a:gd name="connsiteX34" fmla="*/ 670 w 10117"/>
                <a:gd name="connsiteY34" fmla="*/ 5534 h 10610"/>
                <a:gd name="connsiteX35" fmla="*/ 581 w 10117"/>
                <a:gd name="connsiteY35" fmla="*/ 5583 h 10610"/>
                <a:gd name="connsiteX36" fmla="*/ 488 w 10117"/>
                <a:gd name="connsiteY36" fmla="*/ 5633 h 10610"/>
                <a:gd name="connsiteX37" fmla="*/ 393 w 10117"/>
                <a:gd name="connsiteY37" fmla="*/ 5681 h 10610"/>
                <a:gd name="connsiteX38" fmla="*/ 295 w 10117"/>
                <a:gd name="connsiteY38" fmla="*/ 5725 h 10610"/>
                <a:gd name="connsiteX39" fmla="*/ 198 w 10117"/>
                <a:gd name="connsiteY39" fmla="*/ 5773 h 10610"/>
                <a:gd name="connsiteX40" fmla="*/ 103 w 10117"/>
                <a:gd name="connsiteY40" fmla="*/ 5816 h 10610"/>
                <a:gd name="connsiteX41" fmla="*/ 0 w 10117"/>
                <a:gd name="connsiteY41" fmla="*/ 5857 h 10610"/>
                <a:gd name="connsiteX42" fmla="*/ 210 w 10117"/>
                <a:gd name="connsiteY42" fmla="*/ 8550 h 10610"/>
                <a:gd name="connsiteX43" fmla="*/ 3301 w 10117"/>
                <a:gd name="connsiteY43" fmla="*/ 10610 h 10610"/>
                <a:gd name="connsiteX44" fmla="*/ 3606 w 10117"/>
                <a:gd name="connsiteY44" fmla="*/ 10485 h 10610"/>
                <a:gd name="connsiteX45" fmla="*/ 3848 w 10117"/>
                <a:gd name="connsiteY45" fmla="*/ 10386 h 10610"/>
                <a:gd name="connsiteX46" fmla="*/ 4084 w 10117"/>
                <a:gd name="connsiteY46" fmla="*/ 10287 h 10610"/>
                <a:gd name="connsiteX47" fmla="*/ 4317 w 10117"/>
                <a:gd name="connsiteY47" fmla="*/ 10183 h 10610"/>
                <a:gd name="connsiteX48" fmla="*/ 4549 w 10117"/>
                <a:gd name="connsiteY48" fmla="*/ 10074 h 10610"/>
                <a:gd name="connsiteX49" fmla="*/ 4767 w 10117"/>
                <a:gd name="connsiteY49" fmla="*/ 9967 h 10610"/>
                <a:gd name="connsiteX50" fmla="*/ 4988 w 10117"/>
                <a:gd name="connsiteY50" fmla="*/ 9849 h 10610"/>
                <a:gd name="connsiteX51" fmla="*/ 5209 w 10117"/>
                <a:gd name="connsiteY51" fmla="*/ 9736 h 10610"/>
                <a:gd name="connsiteX52" fmla="*/ 5419 w 10117"/>
                <a:gd name="connsiteY52" fmla="*/ 9615 h 10610"/>
                <a:gd name="connsiteX53" fmla="*/ 5635 w 10117"/>
                <a:gd name="connsiteY53" fmla="*/ 9491 h 10610"/>
                <a:gd name="connsiteX54" fmla="*/ 5839 w 10117"/>
                <a:gd name="connsiteY54" fmla="*/ 9362 h 10610"/>
                <a:gd name="connsiteX55" fmla="*/ 6043 w 10117"/>
                <a:gd name="connsiteY55" fmla="*/ 9235 h 10610"/>
                <a:gd name="connsiteX56" fmla="*/ 6239 w 10117"/>
                <a:gd name="connsiteY56" fmla="*/ 9105 h 10610"/>
                <a:gd name="connsiteX57" fmla="*/ 6438 w 10117"/>
                <a:gd name="connsiteY57" fmla="*/ 8967 h 10610"/>
                <a:gd name="connsiteX58" fmla="*/ 6629 w 10117"/>
                <a:gd name="connsiteY58" fmla="*/ 8825 h 10610"/>
                <a:gd name="connsiteX59" fmla="*/ 6814 w 10117"/>
                <a:gd name="connsiteY59" fmla="*/ 8689 h 10610"/>
                <a:gd name="connsiteX60" fmla="*/ 6997 w 10117"/>
                <a:gd name="connsiteY60" fmla="*/ 8544 h 10610"/>
                <a:gd name="connsiteX61" fmla="*/ 7173 w 10117"/>
                <a:gd name="connsiteY61" fmla="*/ 8396 h 10610"/>
                <a:gd name="connsiteX62" fmla="*/ 7349 w 10117"/>
                <a:gd name="connsiteY62" fmla="*/ 8248 h 10610"/>
                <a:gd name="connsiteX63" fmla="*/ 7518 w 10117"/>
                <a:gd name="connsiteY63" fmla="*/ 8097 h 10610"/>
                <a:gd name="connsiteX64" fmla="*/ 7686 w 10117"/>
                <a:gd name="connsiteY64" fmla="*/ 7940 h 10610"/>
                <a:gd name="connsiteX65" fmla="*/ 7842 w 10117"/>
                <a:gd name="connsiteY65" fmla="*/ 7782 h 10610"/>
                <a:gd name="connsiteX66" fmla="*/ 7995 w 10117"/>
                <a:gd name="connsiteY66" fmla="*/ 7623 h 10610"/>
                <a:gd name="connsiteX67" fmla="*/ 8150 w 10117"/>
                <a:gd name="connsiteY67" fmla="*/ 7463 h 10610"/>
                <a:gd name="connsiteX68" fmla="*/ 8293 w 10117"/>
                <a:gd name="connsiteY68" fmla="*/ 7296 h 10610"/>
                <a:gd name="connsiteX69" fmla="*/ 8433 w 10117"/>
                <a:gd name="connsiteY69" fmla="*/ 7132 h 10610"/>
                <a:gd name="connsiteX70" fmla="*/ 8569 w 10117"/>
                <a:gd name="connsiteY70" fmla="*/ 6962 h 10610"/>
                <a:gd name="connsiteX71" fmla="*/ 8695 w 10117"/>
                <a:gd name="connsiteY71" fmla="*/ 6788 h 10610"/>
                <a:gd name="connsiteX72" fmla="*/ 8819 w 10117"/>
                <a:gd name="connsiteY72" fmla="*/ 6614 h 10610"/>
                <a:gd name="connsiteX73" fmla="*/ 8945 w 10117"/>
                <a:gd name="connsiteY73" fmla="*/ 6440 h 10610"/>
                <a:gd name="connsiteX74" fmla="*/ 9063 w 10117"/>
                <a:gd name="connsiteY74" fmla="*/ 6262 h 10610"/>
                <a:gd name="connsiteX75" fmla="*/ 9167 w 10117"/>
                <a:gd name="connsiteY75" fmla="*/ 6084 h 10610"/>
                <a:gd name="connsiteX76" fmla="*/ 9274 w 10117"/>
                <a:gd name="connsiteY76" fmla="*/ 5902 h 10610"/>
                <a:gd name="connsiteX77" fmla="*/ 9369 w 10117"/>
                <a:gd name="connsiteY77" fmla="*/ 5716 h 10610"/>
                <a:gd name="connsiteX78" fmla="*/ 9465 w 10117"/>
                <a:gd name="connsiteY78" fmla="*/ 5533 h 10610"/>
                <a:gd name="connsiteX79" fmla="*/ 9549 w 10117"/>
                <a:gd name="connsiteY79" fmla="*/ 5344 h 10610"/>
                <a:gd name="connsiteX80" fmla="*/ 9630 w 10117"/>
                <a:gd name="connsiteY80" fmla="*/ 5153 h 10610"/>
                <a:gd name="connsiteX81" fmla="*/ 9704 w 10117"/>
                <a:gd name="connsiteY81" fmla="*/ 4961 h 10610"/>
                <a:gd name="connsiteX82" fmla="*/ 9777 w 10117"/>
                <a:gd name="connsiteY82" fmla="*/ 4771 h 10610"/>
                <a:gd name="connsiteX83" fmla="*/ 9839 w 10117"/>
                <a:gd name="connsiteY83" fmla="*/ 4578 h 10610"/>
                <a:gd name="connsiteX84" fmla="*/ 9898 w 10117"/>
                <a:gd name="connsiteY84" fmla="*/ 4381 h 10610"/>
                <a:gd name="connsiteX85" fmla="*/ 9635 w 10117"/>
                <a:gd name="connsiteY85" fmla="*/ 0 h 10610"/>
                <a:gd name="connsiteX86" fmla="*/ 6408 w 10117"/>
                <a:gd name="connsiteY86" fmla="*/ 1883 h 10610"/>
                <a:gd name="connsiteX87" fmla="*/ 2450 w 10117"/>
                <a:gd name="connsiteY87" fmla="*/ 1500 h 10610"/>
                <a:gd name="connsiteX0" fmla="*/ 2450 w 10117"/>
                <a:gd name="connsiteY0" fmla="*/ 1500 h 10610"/>
                <a:gd name="connsiteX1" fmla="*/ 2549 w 10117"/>
                <a:gd name="connsiteY1" fmla="*/ 3279 h 10610"/>
                <a:gd name="connsiteX2" fmla="*/ 2533 w 10117"/>
                <a:gd name="connsiteY2" fmla="*/ 3399 h 10610"/>
                <a:gd name="connsiteX3" fmla="*/ 2506 w 10117"/>
                <a:gd name="connsiteY3" fmla="*/ 3479 h 10610"/>
                <a:gd name="connsiteX4" fmla="*/ 2472 w 10117"/>
                <a:gd name="connsiteY4" fmla="*/ 3560 h 10610"/>
                <a:gd name="connsiteX5" fmla="*/ 2441 w 10117"/>
                <a:gd name="connsiteY5" fmla="*/ 3643 h 10610"/>
                <a:gd name="connsiteX6" fmla="*/ 2413 w 10117"/>
                <a:gd name="connsiteY6" fmla="*/ 3722 h 10610"/>
                <a:gd name="connsiteX7" fmla="*/ 2379 w 10117"/>
                <a:gd name="connsiteY7" fmla="*/ 3804 h 10610"/>
                <a:gd name="connsiteX8" fmla="*/ 2339 w 10117"/>
                <a:gd name="connsiteY8" fmla="*/ 3883 h 10610"/>
                <a:gd name="connsiteX9" fmla="*/ 2297 w 10117"/>
                <a:gd name="connsiteY9" fmla="*/ 3960 h 10610"/>
                <a:gd name="connsiteX10" fmla="*/ 2257 w 10117"/>
                <a:gd name="connsiteY10" fmla="*/ 4039 h 10610"/>
                <a:gd name="connsiteX11" fmla="*/ 2209 w 10117"/>
                <a:gd name="connsiteY11" fmla="*/ 4118 h 10610"/>
                <a:gd name="connsiteX12" fmla="*/ 2158 w 10117"/>
                <a:gd name="connsiteY12" fmla="*/ 4189 h 10610"/>
                <a:gd name="connsiteX13" fmla="*/ 2110 w 10117"/>
                <a:gd name="connsiteY13" fmla="*/ 4265 h 10610"/>
                <a:gd name="connsiteX14" fmla="*/ 2058 w 10117"/>
                <a:gd name="connsiteY14" fmla="*/ 4339 h 10610"/>
                <a:gd name="connsiteX15" fmla="*/ 2001 w 10117"/>
                <a:gd name="connsiteY15" fmla="*/ 4412 h 10610"/>
                <a:gd name="connsiteX16" fmla="*/ 1950 w 10117"/>
                <a:gd name="connsiteY16" fmla="*/ 4486 h 10610"/>
                <a:gd name="connsiteX17" fmla="*/ 1890 w 10117"/>
                <a:gd name="connsiteY17" fmla="*/ 4557 h 10610"/>
                <a:gd name="connsiteX18" fmla="*/ 1827 w 10117"/>
                <a:gd name="connsiteY18" fmla="*/ 4623 h 10610"/>
                <a:gd name="connsiteX19" fmla="*/ 1762 w 10117"/>
                <a:gd name="connsiteY19" fmla="*/ 4691 h 10610"/>
                <a:gd name="connsiteX20" fmla="*/ 1702 w 10117"/>
                <a:gd name="connsiteY20" fmla="*/ 4758 h 10610"/>
                <a:gd name="connsiteX21" fmla="*/ 1632 w 10117"/>
                <a:gd name="connsiteY21" fmla="*/ 4830 h 10610"/>
                <a:gd name="connsiteX22" fmla="*/ 1563 w 10117"/>
                <a:gd name="connsiteY22" fmla="*/ 4893 h 10610"/>
                <a:gd name="connsiteX23" fmla="*/ 1490 w 10117"/>
                <a:gd name="connsiteY23" fmla="*/ 4952 h 10610"/>
                <a:gd name="connsiteX24" fmla="*/ 1415 w 10117"/>
                <a:gd name="connsiteY24" fmla="*/ 5019 h 10610"/>
                <a:gd name="connsiteX25" fmla="*/ 1341 w 10117"/>
                <a:gd name="connsiteY25" fmla="*/ 5081 h 10610"/>
                <a:gd name="connsiteX26" fmla="*/ 1262 w 10117"/>
                <a:gd name="connsiteY26" fmla="*/ 5140 h 10610"/>
                <a:gd name="connsiteX27" fmla="*/ 1184 w 10117"/>
                <a:gd name="connsiteY27" fmla="*/ 5204 h 10610"/>
                <a:gd name="connsiteX28" fmla="*/ 1105 w 10117"/>
                <a:gd name="connsiteY28" fmla="*/ 5262 h 10610"/>
                <a:gd name="connsiteX29" fmla="*/ 1017 w 10117"/>
                <a:gd name="connsiteY29" fmla="*/ 5319 h 10610"/>
                <a:gd name="connsiteX30" fmla="*/ 937 w 10117"/>
                <a:gd name="connsiteY30" fmla="*/ 5373 h 10610"/>
                <a:gd name="connsiteX31" fmla="*/ 850 w 10117"/>
                <a:gd name="connsiteY31" fmla="*/ 5429 h 10610"/>
                <a:gd name="connsiteX32" fmla="*/ 765 w 10117"/>
                <a:gd name="connsiteY32" fmla="*/ 5481 h 10610"/>
                <a:gd name="connsiteX33" fmla="*/ 670 w 10117"/>
                <a:gd name="connsiteY33" fmla="*/ 5534 h 10610"/>
                <a:gd name="connsiteX34" fmla="*/ 581 w 10117"/>
                <a:gd name="connsiteY34" fmla="*/ 5583 h 10610"/>
                <a:gd name="connsiteX35" fmla="*/ 488 w 10117"/>
                <a:gd name="connsiteY35" fmla="*/ 5633 h 10610"/>
                <a:gd name="connsiteX36" fmla="*/ 393 w 10117"/>
                <a:gd name="connsiteY36" fmla="*/ 5681 h 10610"/>
                <a:gd name="connsiteX37" fmla="*/ 295 w 10117"/>
                <a:gd name="connsiteY37" fmla="*/ 5725 h 10610"/>
                <a:gd name="connsiteX38" fmla="*/ 198 w 10117"/>
                <a:gd name="connsiteY38" fmla="*/ 5773 h 10610"/>
                <a:gd name="connsiteX39" fmla="*/ 103 w 10117"/>
                <a:gd name="connsiteY39" fmla="*/ 5816 h 10610"/>
                <a:gd name="connsiteX40" fmla="*/ 0 w 10117"/>
                <a:gd name="connsiteY40" fmla="*/ 5857 h 10610"/>
                <a:gd name="connsiteX41" fmla="*/ 210 w 10117"/>
                <a:gd name="connsiteY41" fmla="*/ 8550 h 10610"/>
                <a:gd name="connsiteX42" fmla="*/ 3301 w 10117"/>
                <a:gd name="connsiteY42" fmla="*/ 10610 h 10610"/>
                <a:gd name="connsiteX43" fmla="*/ 3606 w 10117"/>
                <a:gd name="connsiteY43" fmla="*/ 10485 h 10610"/>
                <a:gd name="connsiteX44" fmla="*/ 3848 w 10117"/>
                <a:gd name="connsiteY44" fmla="*/ 10386 h 10610"/>
                <a:gd name="connsiteX45" fmla="*/ 4084 w 10117"/>
                <a:gd name="connsiteY45" fmla="*/ 10287 h 10610"/>
                <a:gd name="connsiteX46" fmla="*/ 4317 w 10117"/>
                <a:gd name="connsiteY46" fmla="*/ 10183 h 10610"/>
                <a:gd name="connsiteX47" fmla="*/ 4549 w 10117"/>
                <a:gd name="connsiteY47" fmla="*/ 10074 h 10610"/>
                <a:gd name="connsiteX48" fmla="*/ 4767 w 10117"/>
                <a:gd name="connsiteY48" fmla="*/ 9967 h 10610"/>
                <a:gd name="connsiteX49" fmla="*/ 4988 w 10117"/>
                <a:gd name="connsiteY49" fmla="*/ 9849 h 10610"/>
                <a:gd name="connsiteX50" fmla="*/ 5209 w 10117"/>
                <a:gd name="connsiteY50" fmla="*/ 9736 h 10610"/>
                <a:gd name="connsiteX51" fmla="*/ 5419 w 10117"/>
                <a:gd name="connsiteY51" fmla="*/ 9615 h 10610"/>
                <a:gd name="connsiteX52" fmla="*/ 5635 w 10117"/>
                <a:gd name="connsiteY52" fmla="*/ 9491 h 10610"/>
                <a:gd name="connsiteX53" fmla="*/ 5839 w 10117"/>
                <a:gd name="connsiteY53" fmla="*/ 9362 h 10610"/>
                <a:gd name="connsiteX54" fmla="*/ 6043 w 10117"/>
                <a:gd name="connsiteY54" fmla="*/ 9235 h 10610"/>
                <a:gd name="connsiteX55" fmla="*/ 6239 w 10117"/>
                <a:gd name="connsiteY55" fmla="*/ 9105 h 10610"/>
                <a:gd name="connsiteX56" fmla="*/ 6438 w 10117"/>
                <a:gd name="connsiteY56" fmla="*/ 8967 h 10610"/>
                <a:gd name="connsiteX57" fmla="*/ 6629 w 10117"/>
                <a:gd name="connsiteY57" fmla="*/ 8825 h 10610"/>
                <a:gd name="connsiteX58" fmla="*/ 6814 w 10117"/>
                <a:gd name="connsiteY58" fmla="*/ 8689 h 10610"/>
                <a:gd name="connsiteX59" fmla="*/ 6997 w 10117"/>
                <a:gd name="connsiteY59" fmla="*/ 8544 h 10610"/>
                <a:gd name="connsiteX60" fmla="*/ 7173 w 10117"/>
                <a:gd name="connsiteY60" fmla="*/ 8396 h 10610"/>
                <a:gd name="connsiteX61" fmla="*/ 7349 w 10117"/>
                <a:gd name="connsiteY61" fmla="*/ 8248 h 10610"/>
                <a:gd name="connsiteX62" fmla="*/ 7518 w 10117"/>
                <a:gd name="connsiteY62" fmla="*/ 8097 h 10610"/>
                <a:gd name="connsiteX63" fmla="*/ 7686 w 10117"/>
                <a:gd name="connsiteY63" fmla="*/ 7940 h 10610"/>
                <a:gd name="connsiteX64" fmla="*/ 7842 w 10117"/>
                <a:gd name="connsiteY64" fmla="*/ 7782 h 10610"/>
                <a:gd name="connsiteX65" fmla="*/ 7995 w 10117"/>
                <a:gd name="connsiteY65" fmla="*/ 7623 h 10610"/>
                <a:gd name="connsiteX66" fmla="*/ 8150 w 10117"/>
                <a:gd name="connsiteY66" fmla="*/ 7463 h 10610"/>
                <a:gd name="connsiteX67" fmla="*/ 8293 w 10117"/>
                <a:gd name="connsiteY67" fmla="*/ 7296 h 10610"/>
                <a:gd name="connsiteX68" fmla="*/ 8433 w 10117"/>
                <a:gd name="connsiteY68" fmla="*/ 7132 h 10610"/>
                <a:gd name="connsiteX69" fmla="*/ 8569 w 10117"/>
                <a:gd name="connsiteY69" fmla="*/ 6962 h 10610"/>
                <a:gd name="connsiteX70" fmla="*/ 8695 w 10117"/>
                <a:gd name="connsiteY70" fmla="*/ 6788 h 10610"/>
                <a:gd name="connsiteX71" fmla="*/ 8819 w 10117"/>
                <a:gd name="connsiteY71" fmla="*/ 6614 h 10610"/>
                <a:gd name="connsiteX72" fmla="*/ 8945 w 10117"/>
                <a:gd name="connsiteY72" fmla="*/ 6440 h 10610"/>
                <a:gd name="connsiteX73" fmla="*/ 9063 w 10117"/>
                <a:gd name="connsiteY73" fmla="*/ 6262 h 10610"/>
                <a:gd name="connsiteX74" fmla="*/ 9167 w 10117"/>
                <a:gd name="connsiteY74" fmla="*/ 6084 h 10610"/>
                <a:gd name="connsiteX75" fmla="*/ 9274 w 10117"/>
                <a:gd name="connsiteY75" fmla="*/ 5902 h 10610"/>
                <a:gd name="connsiteX76" fmla="*/ 9369 w 10117"/>
                <a:gd name="connsiteY76" fmla="*/ 5716 h 10610"/>
                <a:gd name="connsiteX77" fmla="*/ 9465 w 10117"/>
                <a:gd name="connsiteY77" fmla="*/ 5533 h 10610"/>
                <a:gd name="connsiteX78" fmla="*/ 9549 w 10117"/>
                <a:gd name="connsiteY78" fmla="*/ 5344 h 10610"/>
                <a:gd name="connsiteX79" fmla="*/ 9630 w 10117"/>
                <a:gd name="connsiteY79" fmla="*/ 5153 h 10610"/>
                <a:gd name="connsiteX80" fmla="*/ 9704 w 10117"/>
                <a:gd name="connsiteY80" fmla="*/ 4961 h 10610"/>
                <a:gd name="connsiteX81" fmla="*/ 9777 w 10117"/>
                <a:gd name="connsiteY81" fmla="*/ 4771 h 10610"/>
                <a:gd name="connsiteX82" fmla="*/ 9839 w 10117"/>
                <a:gd name="connsiteY82" fmla="*/ 4578 h 10610"/>
                <a:gd name="connsiteX83" fmla="*/ 9898 w 10117"/>
                <a:gd name="connsiteY83" fmla="*/ 4381 h 10610"/>
                <a:gd name="connsiteX84" fmla="*/ 9635 w 10117"/>
                <a:gd name="connsiteY84" fmla="*/ 0 h 10610"/>
                <a:gd name="connsiteX85" fmla="*/ 6408 w 10117"/>
                <a:gd name="connsiteY85" fmla="*/ 1883 h 10610"/>
                <a:gd name="connsiteX86" fmla="*/ 2450 w 10117"/>
                <a:gd name="connsiteY86" fmla="*/ 1500 h 10610"/>
                <a:gd name="connsiteX0" fmla="*/ 2450 w 10117"/>
                <a:gd name="connsiteY0" fmla="*/ 1500 h 10610"/>
                <a:gd name="connsiteX1" fmla="*/ 2549 w 10117"/>
                <a:gd name="connsiteY1" fmla="*/ 3279 h 10610"/>
                <a:gd name="connsiteX2" fmla="*/ 2506 w 10117"/>
                <a:gd name="connsiteY2" fmla="*/ 3479 h 10610"/>
                <a:gd name="connsiteX3" fmla="*/ 2472 w 10117"/>
                <a:gd name="connsiteY3" fmla="*/ 3560 h 10610"/>
                <a:gd name="connsiteX4" fmla="*/ 2441 w 10117"/>
                <a:gd name="connsiteY4" fmla="*/ 3643 h 10610"/>
                <a:gd name="connsiteX5" fmla="*/ 2413 w 10117"/>
                <a:gd name="connsiteY5" fmla="*/ 3722 h 10610"/>
                <a:gd name="connsiteX6" fmla="*/ 2379 w 10117"/>
                <a:gd name="connsiteY6" fmla="*/ 3804 h 10610"/>
                <a:gd name="connsiteX7" fmla="*/ 2339 w 10117"/>
                <a:gd name="connsiteY7" fmla="*/ 3883 h 10610"/>
                <a:gd name="connsiteX8" fmla="*/ 2297 w 10117"/>
                <a:gd name="connsiteY8" fmla="*/ 3960 h 10610"/>
                <a:gd name="connsiteX9" fmla="*/ 2257 w 10117"/>
                <a:gd name="connsiteY9" fmla="*/ 4039 h 10610"/>
                <a:gd name="connsiteX10" fmla="*/ 2209 w 10117"/>
                <a:gd name="connsiteY10" fmla="*/ 4118 h 10610"/>
                <a:gd name="connsiteX11" fmla="*/ 2158 w 10117"/>
                <a:gd name="connsiteY11" fmla="*/ 4189 h 10610"/>
                <a:gd name="connsiteX12" fmla="*/ 2110 w 10117"/>
                <a:gd name="connsiteY12" fmla="*/ 4265 h 10610"/>
                <a:gd name="connsiteX13" fmla="*/ 2058 w 10117"/>
                <a:gd name="connsiteY13" fmla="*/ 4339 h 10610"/>
                <a:gd name="connsiteX14" fmla="*/ 2001 w 10117"/>
                <a:gd name="connsiteY14" fmla="*/ 4412 h 10610"/>
                <a:gd name="connsiteX15" fmla="*/ 1950 w 10117"/>
                <a:gd name="connsiteY15" fmla="*/ 4486 h 10610"/>
                <a:gd name="connsiteX16" fmla="*/ 1890 w 10117"/>
                <a:gd name="connsiteY16" fmla="*/ 4557 h 10610"/>
                <a:gd name="connsiteX17" fmla="*/ 1827 w 10117"/>
                <a:gd name="connsiteY17" fmla="*/ 4623 h 10610"/>
                <a:gd name="connsiteX18" fmla="*/ 1762 w 10117"/>
                <a:gd name="connsiteY18" fmla="*/ 4691 h 10610"/>
                <a:gd name="connsiteX19" fmla="*/ 1702 w 10117"/>
                <a:gd name="connsiteY19" fmla="*/ 4758 h 10610"/>
                <a:gd name="connsiteX20" fmla="*/ 1632 w 10117"/>
                <a:gd name="connsiteY20" fmla="*/ 4830 h 10610"/>
                <a:gd name="connsiteX21" fmla="*/ 1563 w 10117"/>
                <a:gd name="connsiteY21" fmla="*/ 4893 h 10610"/>
                <a:gd name="connsiteX22" fmla="*/ 1490 w 10117"/>
                <a:gd name="connsiteY22" fmla="*/ 4952 h 10610"/>
                <a:gd name="connsiteX23" fmla="*/ 1415 w 10117"/>
                <a:gd name="connsiteY23" fmla="*/ 5019 h 10610"/>
                <a:gd name="connsiteX24" fmla="*/ 1341 w 10117"/>
                <a:gd name="connsiteY24" fmla="*/ 5081 h 10610"/>
                <a:gd name="connsiteX25" fmla="*/ 1262 w 10117"/>
                <a:gd name="connsiteY25" fmla="*/ 5140 h 10610"/>
                <a:gd name="connsiteX26" fmla="*/ 1184 w 10117"/>
                <a:gd name="connsiteY26" fmla="*/ 5204 h 10610"/>
                <a:gd name="connsiteX27" fmla="*/ 1105 w 10117"/>
                <a:gd name="connsiteY27" fmla="*/ 5262 h 10610"/>
                <a:gd name="connsiteX28" fmla="*/ 1017 w 10117"/>
                <a:gd name="connsiteY28" fmla="*/ 5319 h 10610"/>
                <a:gd name="connsiteX29" fmla="*/ 937 w 10117"/>
                <a:gd name="connsiteY29" fmla="*/ 5373 h 10610"/>
                <a:gd name="connsiteX30" fmla="*/ 850 w 10117"/>
                <a:gd name="connsiteY30" fmla="*/ 5429 h 10610"/>
                <a:gd name="connsiteX31" fmla="*/ 765 w 10117"/>
                <a:gd name="connsiteY31" fmla="*/ 5481 h 10610"/>
                <a:gd name="connsiteX32" fmla="*/ 670 w 10117"/>
                <a:gd name="connsiteY32" fmla="*/ 5534 h 10610"/>
                <a:gd name="connsiteX33" fmla="*/ 581 w 10117"/>
                <a:gd name="connsiteY33" fmla="*/ 5583 h 10610"/>
                <a:gd name="connsiteX34" fmla="*/ 488 w 10117"/>
                <a:gd name="connsiteY34" fmla="*/ 5633 h 10610"/>
                <a:gd name="connsiteX35" fmla="*/ 393 w 10117"/>
                <a:gd name="connsiteY35" fmla="*/ 5681 h 10610"/>
                <a:gd name="connsiteX36" fmla="*/ 295 w 10117"/>
                <a:gd name="connsiteY36" fmla="*/ 5725 h 10610"/>
                <a:gd name="connsiteX37" fmla="*/ 198 w 10117"/>
                <a:gd name="connsiteY37" fmla="*/ 5773 h 10610"/>
                <a:gd name="connsiteX38" fmla="*/ 103 w 10117"/>
                <a:gd name="connsiteY38" fmla="*/ 5816 h 10610"/>
                <a:gd name="connsiteX39" fmla="*/ 0 w 10117"/>
                <a:gd name="connsiteY39" fmla="*/ 5857 h 10610"/>
                <a:gd name="connsiteX40" fmla="*/ 210 w 10117"/>
                <a:gd name="connsiteY40" fmla="*/ 8550 h 10610"/>
                <a:gd name="connsiteX41" fmla="*/ 3301 w 10117"/>
                <a:gd name="connsiteY41" fmla="*/ 10610 h 10610"/>
                <a:gd name="connsiteX42" fmla="*/ 3606 w 10117"/>
                <a:gd name="connsiteY42" fmla="*/ 10485 h 10610"/>
                <a:gd name="connsiteX43" fmla="*/ 3848 w 10117"/>
                <a:gd name="connsiteY43" fmla="*/ 10386 h 10610"/>
                <a:gd name="connsiteX44" fmla="*/ 4084 w 10117"/>
                <a:gd name="connsiteY44" fmla="*/ 10287 h 10610"/>
                <a:gd name="connsiteX45" fmla="*/ 4317 w 10117"/>
                <a:gd name="connsiteY45" fmla="*/ 10183 h 10610"/>
                <a:gd name="connsiteX46" fmla="*/ 4549 w 10117"/>
                <a:gd name="connsiteY46" fmla="*/ 10074 h 10610"/>
                <a:gd name="connsiteX47" fmla="*/ 4767 w 10117"/>
                <a:gd name="connsiteY47" fmla="*/ 9967 h 10610"/>
                <a:gd name="connsiteX48" fmla="*/ 4988 w 10117"/>
                <a:gd name="connsiteY48" fmla="*/ 9849 h 10610"/>
                <a:gd name="connsiteX49" fmla="*/ 5209 w 10117"/>
                <a:gd name="connsiteY49" fmla="*/ 9736 h 10610"/>
                <a:gd name="connsiteX50" fmla="*/ 5419 w 10117"/>
                <a:gd name="connsiteY50" fmla="*/ 9615 h 10610"/>
                <a:gd name="connsiteX51" fmla="*/ 5635 w 10117"/>
                <a:gd name="connsiteY51" fmla="*/ 9491 h 10610"/>
                <a:gd name="connsiteX52" fmla="*/ 5839 w 10117"/>
                <a:gd name="connsiteY52" fmla="*/ 9362 h 10610"/>
                <a:gd name="connsiteX53" fmla="*/ 6043 w 10117"/>
                <a:gd name="connsiteY53" fmla="*/ 9235 h 10610"/>
                <a:gd name="connsiteX54" fmla="*/ 6239 w 10117"/>
                <a:gd name="connsiteY54" fmla="*/ 9105 h 10610"/>
                <a:gd name="connsiteX55" fmla="*/ 6438 w 10117"/>
                <a:gd name="connsiteY55" fmla="*/ 8967 h 10610"/>
                <a:gd name="connsiteX56" fmla="*/ 6629 w 10117"/>
                <a:gd name="connsiteY56" fmla="*/ 8825 h 10610"/>
                <a:gd name="connsiteX57" fmla="*/ 6814 w 10117"/>
                <a:gd name="connsiteY57" fmla="*/ 8689 h 10610"/>
                <a:gd name="connsiteX58" fmla="*/ 6997 w 10117"/>
                <a:gd name="connsiteY58" fmla="*/ 8544 h 10610"/>
                <a:gd name="connsiteX59" fmla="*/ 7173 w 10117"/>
                <a:gd name="connsiteY59" fmla="*/ 8396 h 10610"/>
                <a:gd name="connsiteX60" fmla="*/ 7349 w 10117"/>
                <a:gd name="connsiteY60" fmla="*/ 8248 h 10610"/>
                <a:gd name="connsiteX61" fmla="*/ 7518 w 10117"/>
                <a:gd name="connsiteY61" fmla="*/ 8097 h 10610"/>
                <a:gd name="connsiteX62" fmla="*/ 7686 w 10117"/>
                <a:gd name="connsiteY62" fmla="*/ 7940 h 10610"/>
                <a:gd name="connsiteX63" fmla="*/ 7842 w 10117"/>
                <a:gd name="connsiteY63" fmla="*/ 7782 h 10610"/>
                <a:gd name="connsiteX64" fmla="*/ 7995 w 10117"/>
                <a:gd name="connsiteY64" fmla="*/ 7623 h 10610"/>
                <a:gd name="connsiteX65" fmla="*/ 8150 w 10117"/>
                <a:gd name="connsiteY65" fmla="*/ 7463 h 10610"/>
                <a:gd name="connsiteX66" fmla="*/ 8293 w 10117"/>
                <a:gd name="connsiteY66" fmla="*/ 7296 h 10610"/>
                <a:gd name="connsiteX67" fmla="*/ 8433 w 10117"/>
                <a:gd name="connsiteY67" fmla="*/ 7132 h 10610"/>
                <a:gd name="connsiteX68" fmla="*/ 8569 w 10117"/>
                <a:gd name="connsiteY68" fmla="*/ 6962 h 10610"/>
                <a:gd name="connsiteX69" fmla="*/ 8695 w 10117"/>
                <a:gd name="connsiteY69" fmla="*/ 6788 h 10610"/>
                <a:gd name="connsiteX70" fmla="*/ 8819 w 10117"/>
                <a:gd name="connsiteY70" fmla="*/ 6614 h 10610"/>
                <a:gd name="connsiteX71" fmla="*/ 8945 w 10117"/>
                <a:gd name="connsiteY71" fmla="*/ 6440 h 10610"/>
                <a:gd name="connsiteX72" fmla="*/ 9063 w 10117"/>
                <a:gd name="connsiteY72" fmla="*/ 6262 h 10610"/>
                <a:gd name="connsiteX73" fmla="*/ 9167 w 10117"/>
                <a:gd name="connsiteY73" fmla="*/ 6084 h 10610"/>
                <a:gd name="connsiteX74" fmla="*/ 9274 w 10117"/>
                <a:gd name="connsiteY74" fmla="*/ 5902 h 10610"/>
                <a:gd name="connsiteX75" fmla="*/ 9369 w 10117"/>
                <a:gd name="connsiteY75" fmla="*/ 5716 h 10610"/>
                <a:gd name="connsiteX76" fmla="*/ 9465 w 10117"/>
                <a:gd name="connsiteY76" fmla="*/ 5533 h 10610"/>
                <a:gd name="connsiteX77" fmla="*/ 9549 w 10117"/>
                <a:gd name="connsiteY77" fmla="*/ 5344 h 10610"/>
                <a:gd name="connsiteX78" fmla="*/ 9630 w 10117"/>
                <a:gd name="connsiteY78" fmla="*/ 5153 h 10610"/>
                <a:gd name="connsiteX79" fmla="*/ 9704 w 10117"/>
                <a:gd name="connsiteY79" fmla="*/ 4961 h 10610"/>
                <a:gd name="connsiteX80" fmla="*/ 9777 w 10117"/>
                <a:gd name="connsiteY80" fmla="*/ 4771 h 10610"/>
                <a:gd name="connsiteX81" fmla="*/ 9839 w 10117"/>
                <a:gd name="connsiteY81" fmla="*/ 4578 h 10610"/>
                <a:gd name="connsiteX82" fmla="*/ 9898 w 10117"/>
                <a:gd name="connsiteY82" fmla="*/ 4381 h 10610"/>
                <a:gd name="connsiteX83" fmla="*/ 9635 w 10117"/>
                <a:gd name="connsiteY83" fmla="*/ 0 h 10610"/>
                <a:gd name="connsiteX84" fmla="*/ 6408 w 10117"/>
                <a:gd name="connsiteY84" fmla="*/ 1883 h 10610"/>
                <a:gd name="connsiteX85" fmla="*/ 2450 w 10117"/>
                <a:gd name="connsiteY85" fmla="*/ 1500 h 10610"/>
                <a:gd name="connsiteX0" fmla="*/ 2450 w 10117"/>
                <a:gd name="connsiteY0" fmla="*/ 1500 h 10610"/>
                <a:gd name="connsiteX1" fmla="*/ 2549 w 10117"/>
                <a:gd name="connsiteY1" fmla="*/ 3279 h 10610"/>
                <a:gd name="connsiteX2" fmla="*/ 2472 w 10117"/>
                <a:gd name="connsiteY2" fmla="*/ 3560 h 10610"/>
                <a:gd name="connsiteX3" fmla="*/ 2441 w 10117"/>
                <a:gd name="connsiteY3" fmla="*/ 3643 h 10610"/>
                <a:gd name="connsiteX4" fmla="*/ 2413 w 10117"/>
                <a:gd name="connsiteY4" fmla="*/ 3722 h 10610"/>
                <a:gd name="connsiteX5" fmla="*/ 2379 w 10117"/>
                <a:gd name="connsiteY5" fmla="*/ 3804 h 10610"/>
                <a:gd name="connsiteX6" fmla="*/ 2339 w 10117"/>
                <a:gd name="connsiteY6" fmla="*/ 3883 h 10610"/>
                <a:gd name="connsiteX7" fmla="*/ 2297 w 10117"/>
                <a:gd name="connsiteY7" fmla="*/ 3960 h 10610"/>
                <a:gd name="connsiteX8" fmla="*/ 2257 w 10117"/>
                <a:gd name="connsiteY8" fmla="*/ 4039 h 10610"/>
                <a:gd name="connsiteX9" fmla="*/ 2209 w 10117"/>
                <a:gd name="connsiteY9" fmla="*/ 4118 h 10610"/>
                <a:gd name="connsiteX10" fmla="*/ 2158 w 10117"/>
                <a:gd name="connsiteY10" fmla="*/ 4189 h 10610"/>
                <a:gd name="connsiteX11" fmla="*/ 2110 w 10117"/>
                <a:gd name="connsiteY11" fmla="*/ 4265 h 10610"/>
                <a:gd name="connsiteX12" fmla="*/ 2058 w 10117"/>
                <a:gd name="connsiteY12" fmla="*/ 4339 h 10610"/>
                <a:gd name="connsiteX13" fmla="*/ 2001 w 10117"/>
                <a:gd name="connsiteY13" fmla="*/ 4412 h 10610"/>
                <a:gd name="connsiteX14" fmla="*/ 1950 w 10117"/>
                <a:gd name="connsiteY14" fmla="*/ 4486 h 10610"/>
                <a:gd name="connsiteX15" fmla="*/ 1890 w 10117"/>
                <a:gd name="connsiteY15" fmla="*/ 4557 h 10610"/>
                <a:gd name="connsiteX16" fmla="*/ 1827 w 10117"/>
                <a:gd name="connsiteY16" fmla="*/ 4623 h 10610"/>
                <a:gd name="connsiteX17" fmla="*/ 1762 w 10117"/>
                <a:gd name="connsiteY17" fmla="*/ 4691 h 10610"/>
                <a:gd name="connsiteX18" fmla="*/ 1702 w 10117"/>
                <a:gd name="connsiteY18" fmla="*/ 4758 h 10610"/>
                <a:gd name="connsiteX19" fmla="*/ 1632 w 10117"/>
                <a:gd name="connsiteY19" fmla="*/ 4830 h 10610"/>
                <a:gd name="connsiteX20" fmla="*/ 1563 w 10117"/>
                <a:gd name="connsiteY20" fmla="*/ 4893 h 10610"/>
                <a:gd name="connsiteX21" fmla="*/ 1490 w 10117"/>
                <a:gd name="connsiteY21" fmla="*/ 4952 h 10610"/>
                <a:gd name="connsiteX22" fmla="*/ 1415 w 10117"/>
                <a:gd name="connsiteY22" fmla="*/ 5019 h 10610"/>
                <a:gd name="connsiteX23" fmla="*/ 1341 w 10117"/>
                <a:gd name="connsiteY23" fmla="*/ 5081 h 10610"/>
                <a:gd name="connsiteX24" fmla="*/ 1262 w 10117"/>
                <a:gd name="connsiteY24" fmla="*/ 5140 h 10610"/>
                <a:gd name="connsiteX25" fmla="*/ 1184 w 10117"/>
                <a:gd name="connsiteY25" fmla="*/ 5204 h 10610"/>
                <a:gd name="connsiteX26" fmla="*/ 1105 w 10117"/>
                <a:gd name="connsiteY26" fmla="*/ 5262 h 10610"/>
                <a:gd name="connsiteX27" fmla="*/ 1017 w 10117"/>
                <a:gd name="connsiteY27" fmla="*/ 5319 h 10610"/>
                <a:gd name="connsiteX28" fmla="*/ 937 w 10117"/>
                <a:gd name="connsiteY28" fmla="*/ 5373 h 10610"/>
                <a:gd name="connsiteX29" fmla="*/ 850 w 10117"/>
                <a:gd name="connsiteY29" fmla="*/ 5429 h 10610"/>
                <a:gd name="connsiteX30" fmla="*/ 765 w 10117"/>
                <a:gd name="connsiteY30" fmla="*/ 5481 h 10610"/>
                <a:gd name="connsiteX31" fmla="*/ 670 w 10117"/>
                <a:gd name="connsiteY31" fmla="*/ 5534 h 10610"/>
                <a:gd name="connsiteX32" fmla="*/ 581 w 10117"/>
                <a:gd name="connsiteY32" fmla="*/ 5583 h 10610"/>
                <a:gd name="connsiteX33" fmla="*/ 488 w 10117"/>
                <a:gd name="connsiteY33" fmla="*/ 5633 h 10610"/>
                <a:gd name="connsiteX34" fmla="*/ 393 w 10117"/>
                <a:gd name="connsiteY34" fmla="*/ 5681 h 10610"/>
                <a:gd name="connsiteX35" fmla="*/ 295 w 10117"/>
                <a:gd name="connsiteY35" fmla="*/ 5725 h 10610"/>
                <a:gd name="connsiteX36" fmla="*/ 198 w 10117"/>
                <a:gd name="connsiteY36" fmla="*/ 5773 h 10610"/>
                <a:gd name="connsiteX37" fmla="*/ 103 w 10117"/>
                <a:gd name="connsiteY37" fmla="*/ 5816 h 10610"/>
                <a:gd name="connsiteX38" fmla="*/ 0 w 10117"/>
                <a:gd name="connsiteY38" fmla="*/ 5857 h 10610"/>
                <a:gd name="connsiteX39" fmla="*/ 210 w 10117"/>
                <a:gd name="connsiteY39" fmla="*/ 8550 h 10610"/>
                <a:gd name="connsiteX40" fmla="*/ 3301 w 10117"/>
                <a:gd name="connsiteY40" fmla="*/ 10610 h 10610"/>
                <a:gd name="connsiteX41" fmla="*/ 3606 w 10117"/>
                <a:gd name="connsiteY41" fmla="*/ 10485 h 10610"/>
                <a:gd name="connsiteX42" fmla="*/ 3848 w 10117"/>
                <a:gd name="connsiteY42" fmla="*/ 10386 h 10610"/>
                <a:gd name="connsiteX43" fmla="*/ 4084 w 10117"/>
                <a:gd name="connsiteY43" fmla="*/ 10287 h 10610"/>
                <a:gd name="connsiteX44" fmla="*/ 4317 w 10117"/>
                <a:gd name="connsiteY44" fmla="*/ 10183 h 10610"/>
                <a:gd name="connsiteX45" fmla="*/ 4549 w 10117"/>
                <a:gd name="connsiteY45" fmla="*/ 10074 h 10610"/>
                <a:gd name="connsiteX46" fmla="*/ 4767 w 10117"/>
                <a:gd name="connsiteY46" fmla="*/ 9967 h 10610"/>
                <a:gd name="connsiteX47" fmla="*/ 4988 w 10117"/>
                <a:gd name="connsiteY47" fmla="*/ 9849 h 10610"/>
                <a:gd name="connsiteX48" fmla="*/ 5209 w 10117"/>
                <a:gd name="connsiteY48" fmla="*/ 9736 h 10610"/>
                <a:gd name="connsiteX49" fmla="*/ 5419 w 10117"/>
                <a:gd name="connsiteY49" fmla="*/ 9615 h 10610"/>
                <a:gd name="connsiteX50" fmla="*/ 5635 w 10117"/>
                <a:gd name="connsiteY50" fmla="*/ 9491 h 10610"/>
                <a:gd name="connsiteX51" fmla="*/ 5839 w 10117"/>
                <a:gd name="connsiteY51" fmla="*/ 9362 h 10610"/>
                <a:gd name="connsiteX52" fmla="*/ 6043 w 10117"/>
                <a:gd name="connsiteY52" fmla="*/ 9235 h 10610"/>
                <a:gd name="connsiteX53" fmla="*/ 6239 w 10117"/>
                <a:gd name="connsiteY53" fmla="*/ 9105 h 10610"/>
                <a:gd name="connsiteX54" fmla="*/ 6438 w 10117"/>
                <a:gd name="connsiteY54" fmla="*/ 8967 h 10610"/>
                <a:gd name="connsiteX55" fmla="*/ 6629 w 10117"/>
                <a:gd name="connsiteY55" fmla="*/ 8825 h 10610"/>
                <a:gd name="connsiteX56" fmla="*/ 6814 w 10117"/>
                <a:gd name="connsiteY56" fmla="*/ 8689 h 10610"/>
                <a:gd name="connsiteX57" fmla="*/ 6997 w 10117"/>
                <a:gd name="connsiteY57" fmla="*/ 8544 h 10610"/>
                <a:gd name="connsiteX58" fmla="*/ 7173 w 10117"/>
                <a:gd name="connsiteY58" fmla="*/ 8396 h 10610"/>
                <a:gd name="connsiteX59" fmla="*/ 7349 w 10117"/>
                <a:gd name="connsiteY59" fmla="*/ 8248 h 10610"/>
                <a:gd name="connsiteX60" fmla="*/ 7518 w 10117"/>
                <a:gd name="connsiteY60" fmla="*/ 8097 h 10610"/>
                <a:gd name="connsiteX61" fmla="*/ 7686 w 10117"/>
                <a:gd name="connsiteY61" fmla="*/ 7940 h 10610"/>
                <a:gd name="connsiteX62" fmla="*/ 7842 w 10117"/>
                <a:gd name="connsiteY62" fmla="*/ 7782 h 10610"/>
                <a:gd name="connsiteX63" fmla="*/ 7995 w 10117"/>
                <a:gd name="connsiteY63" fmla="*/ 7623 h 10610"/>
                <a:gd name="connsiteX64" fmla="*/ 8150 w 10117"/>
                <a:gd name="connsiteY64" fmla="*/ 7463 h 10610"/>
                <a:gd name="connsiteX65" fmla="*/ 8293 w 10117"/>
                <a:gd name="connsiteY65" fmla="*/ 7296 h 10610"/>
                <a:gd name="connsiteX66" fmla="*/ 8433 w 10117"/>
                <a:gd name="connsiteY66" fmla="*/ 7132 h 10610"/>
                <a:gd name="connsiteX67" fmla="*/ 8569 w 10117"/>
                <a:gd name="connsiteY67" fmla="*/ 6962 h 10610"/>
                <a:gd name="connsiteX68" fmla="*/ 8695 w 10117"/>
                <a:gd name="connsiteY68" fmla="*/ 6788 h 10610"/>
                <a:gd name="connsiteX69" fmla="*/ 8819 w 10117"/>
                <a:gd name="connsiteY69" fmla="*/ 6614 h 10610"/>
                <a:gd name="connsiteX70" fmla="*/ 8945 w 10117"/>
                <a:gd name="connsiteY70" fmla="*/ 6440 h 10610"/>
                <a:gd name="connsiteX71" fmla="*/ 9063 w 10117"/>
                <a:gd name="connsiteY71" fmla="*/ 6262 h 10610"/>
                <a:gd name="connsiteX72" fmla="*/ 9167 w 10117"/>
                <a:gd name="connsiteY72" fmla="*/ 6084 h 10610"/>
                <a:gd name="connsiteX73" fmla="*/ 9274 w 10117"/>
                <a:gd name="connsiteY73" fmla="*/ 5902 h 10610"/>
                <a:gd name="connsiteX74" fmla="*/ 9369 w 10117"/>
                <a:gd name="connsiteY74" fmla="*/ 5716 h 10610"/>
                <a:gd name="connsiteX75" fmla="*/ 9465 w 10117"/>
                <a:gd name="connsiteY75" fmla="*/ 5533 h 10610"/>
                <a:gd name="connsiteX76" fmla="*/ 9549 w 10117"/>
                <a:gd name="connsiteY76" fmla="*/ 5344 h 10610"/>
                <a:gd name="connsiteX77" fmla="*/ 9630 w 10117"/>
                <a:gd name="connsiteY77" fmla="*/ 5153 h 10610"/>
                <a:gd name="connsiteX78" fmla="*/ 9704 w 10117"/>
                <a:gd name="connsiteY78" fmla="*/ 4961 h 10610"/>
                <a:gd name="connsiteX79" fmla="*/ 9777 w 10117"/>
                <a:gd name="connsiteY79" fmla="*/ 4771 h 10610"/>
                <a:gd name="connsiteX80" fmla="*/ 9839 w 10117"/>
                <a:gd name="connsiteY80" fmla="*/ 4578 h 10610"/>
                <a:gd name="connsiteX81" fmla="*/ 9898 w 10117"/>
                <a:gd name="connsiteY81" fmla="*/ 4381 h 10610"/>
                <a:gd name="connsiteX82" fmla="*/ 9635 w 10117"/>
                <a:gd name="connsiteY82" fmla="*/ 0 h 10610"/>
                <a:gd name="connsiteX83" fmla="*/ 6408 w 10117"/>
                <a:gd name="connsiteY83" fmla="*/ 1883 h 10610"/>
                <a:gd name="connsiteX84" fmla="*/ 2450 w 10117"/>
                <a:gd name="connsiteY84" fmla="*/ 1500 h 10610"/>
                <a:gd name="connsiteX0" fmla="*/ 2450 w 10117"/>
                <a:gd name="connsiteY0" fmla="*/ 1500 h 10610"/>
                <a:gd name="connsiteX1" fmla="*/ 2472 w 10117"/>
                <a:gd name="connsiteY1" fmla="*/ 3560 h 10610"/>
                <a:gd name="connsiteX2" fmla="*/ 2441 w 10117"/>
                <a:gd name="connsiteY2" fmla="*/ 3643 h 10610"/>
                <a:gd name="connsiteX3" fmla="*/ 2413 w 10117"/>
                <a:gd name="connsiteY3" fmla="*/ 3722 h 10610"/>
                <a:gd name="connsiteX4" fmla="*/ 2379 w 10117"/>
                <a:gd name="connsiteY4" fmla="*/ 3804 h 10610"/>
                <a:gd name="connsiteX5" fmla="*/ 2339 w 10117"/>
                <a:gd name="connsiteY5" fmla="*/ 3883 h 10610"/>
                <a:gd name="connsiteX6" fmla="*/ 2297 w 10117"/>
                <a:gd name="connsiteY6" fmla="*/ 3960 h 10610"/>
                <a:gd name="connsiteX7" fmla="*/ 2257 w 10117"/>
                <a:gd name="connsiteY7" fmla="*/ 4039 h 10610"/>
                <a:gd name="connsiteX8" fmla="*/ 2209 w 10117"/>
                <a:gd name="connsiteY8" fmla="*/ 4118 h 10610"/>
                <a:gd name="connsiteX9" fmla="*/ 2158 w 10117"/>
                <a:gd name="connsiteY9" fmla="*/ 4189 h 10610"/>
                <a:gd name="connsiteX10" fmla="*/ 2110 w 10117"/>
                <a:gd name="connsiteY10" fmla="*/ 4265 h 10610"/>
                <a:gd name="connsiteX11" fmla="*/ 2058 w 10117"/>
                <a:gd name="connsiteY11" fmla="*/ 4339 h 10610"/>
                <a:gd name="connsiteX12" fmla="*/ 2001 w 10117"/>
                <a:gd name="connsiteY12" fmla="*/ 4412 h 10610"/>
                <a:gd name="connsiteX13" fmla="*/ 1950 w 10117"/>
                <a:gd name="connsiteY13" fmla="*/ 4486 h 10610"/>
                <a:gd name="connsiteX14" fmla="*/ 1890 w 10117"/>
                <a:gd name="connsiteY14" fmla="*/ 4557 h 10610"/>
                <a:gd name="connsiteX15" fmla="*/ 1827 w 10117"/>
                <a:gd name="connsiteY15" fmla="*/ 4623 h 10610"/>
                <a:gd name="connsiteX16" fmla="*/ 1762 w 10117"/>
                <a:gd name="connsiteY16" fmla="*/ 4691 h 10610"/>
                <a:gd name="connsiteX17" fmla="*/ 1702 w 10117"/>
                <a:gd name="connsiteY17" fmla="*/ 4758 h 10610"/>
                <a:gd name="connsiteX18" fmla="*/ 1632 w 10117"/>
                <a:gd name="connsiteY18" fmla="*/ 4830 h 10610"/>
                <a:gd name="connsiteX19" fmla="*/ 1563 w 10117"/>
                <a:gd name="connsiteY19" fmla="*/ 4893 h 10610"/>
                <a:gd name="connsiteX20" fmla="*/ 1490 w 10117"/>
                <a:gd name="connsiteY20" fmla="*/ 4952 h 10610"/>
                <a:gd name="connsiteX21" fmla="*/ 1415 w 10117"/>
                <a:gd name="connsiteY21" fmla="*/ 5019 h 10610"/>
                <a:gd name="connsiteX22" fmla="*/ 1341 w 10117"/>
                <a:gd name="connsiteY22" fmla="*/ 5081 h 10610"/>
                <a:gd name="connsiteX23" fmla="*/ 1262 w 10117"/>
                <a:gd name="connsiteY23" fmla="*/ 5140 h 10610"/>
                <a:gd name="connsiteX24" fmla="*/ 1184 w 10117"/>
                <a:gd name="connsiteY24" fmla="*/ 5204 h 10610"/>
                <a:gd name="connsiteX25" fmla="*/ 1105 w 10117"/>
                <a:gd name="connsiteY25" fmla="*/ 5262 h 10610"/>
                <a:gd name="connsiteX26" fmla="*/ 1017 w 10117"/>
                <a:gd name="connsiteY26" fmla="*/ 5319 h 10610"/>
                <a:gd name="connsiteX27" fmla="*/ 937 w 10117"/>
                <a:gd name="connsiteY27" fmla="*/ 5373 h 10610"/>
                <a:gd name="connsiteX28" fmla="*/ 850 w 10117"/>
                <a:gd name="connsiteY28" fmla="*/ 5429 h 10610"/>
                <a:gd name="connsiteX29" fmla="*/ 765 w 10117"/>
                <a:gd name="connsiteY29" fmla="*/ 5481 h 10610"/>
                <a:gd name="connsiteX30" fmla="*/ 670 w 10117"/>
                <a:gd name="connsiteY30" fmla="*/ 5534 h 10610"/>
                <a:gd name="connsiteX31" fmla="*/ 581 w 10117"/>
                <a:gd name="connsiteY31" fmla="*/ 5583 h 10610"/>
                <a:gd name="connsiteX32" fmla="*/ 488 w 10117"/>
                <a:gd name="connsiteY32" fmla="*/ 5633 h 10610"/>
                <a:gd name="connsiteX33" fmla="*/ 393 w 10117"/>
                <a:gd name="connsiteY33" fmla="*/ 5681 h 10610"/>
                <a:gd name="connsiteX34" fmla="*/ 295 w 10117"/>
                <a:gd name="connsiteY34" fmla="*/ 5725 h 10610"/>
                <a:gd name="connsiteX35" fmla="*/ 198 w 10117"/>
                <a:gd name="connsiteY35" fmla="*/ 5773 h 10610"/>
                <a:gd name="connsiteX36" fmla="*/ 103 w 10117"/>
                <a:gd name="connsiteY36" fmla="*/ 5816 h 10610"/>
                <a:gd name="connsiteX37" fmla="*/ 0 w 10117"/>
                <a:gd name="connsiteY37" fmla="*/ 5857 h 10610"/>
                <a:gd name="connsiteX38" fmla="*/ 210 w 10117"/>
                <a:gd name="connsiteY38" fmla="*/ 8550 h 10610"/>
                <a:gd name="connsiteX39" fmla="*/ 3301 w 10117"/>
                <a:gd name="connsiteY39" fmla="*/ 10610 h 10610"/>
                <a:gd name="connsiteX40" fmla="*/ 3606 w 10117"/>
                <a:gd name="connsiteY40" fmla="*/ 10485 h 10610"/>
                <a:gd name="connsiteX41" fmla="*/ 3848 w 10117"/>
                <a:gd name="connsiteY41" fmla="*/ 10386 h 10610"/>
                <a:gd name="connsiteX42" fmla="*/ 4084 w 10117"/>
                <a:gd name="connsiteY42" fmla="*/ 10287 h 10610"/>
                <a:gd name="connsiteX43" fmla="*/ 4317 w 10117"/>
                <a:gd name="connsiteY43" fmla="*/ 10183 h 10610"/>
                <a:gd name="connsiteX44" fmla="*/ 4549 w 10117"/>
                <a:gd name="connsiteY44" fmla="*/ 10074 h 10610"/>
                <a:gd name="connsiteX45" fmla="*/ 4767 w 10117"/>
                <a:gd name="connsiteY45" fmla="*/ 9967 h 10610"/>
                <a:gd name="connsiteX46" fmla="*/ 4988 w 10117"/>
                <a:gd name="connsiteY46" fmla="*/ 9849 h 10610"/>
                <a:gd name="connsiteX47" fmla="*/ 5209 w 10117"/>
                <a:gd name="connsiteY47" fmla="*/ 9736 h 10610"/>
                <a:gd name="connsiteX48" fmla="*/ 5419 w 10117"/>
                <a:gd name="connsiteY48" fmla="*/ 9615 h 10610"/>
                <a:gd name="connsiteX49" fmla="*/ 5635 w 10117"/>
                <a:gd name="connsiteY49" fmla="*/ 9491 h 10610"/>
                <a:gd name="connsiteX50" fmla="*/ 5839 w 10117"/>
                <a:gd name="connsiteY50" fmla="*/ 9362 h 10610"/>
                <a:gd name="connsiteX51" fmla="*/ 6043 w 10117"/>
                <a:gd name="connsiteY51" fmla="*/ 9235 h 10610"/>
                <a:gd name="connsiteX52" fmla="*/ 6239 w 10117"/>
                <a:gd name="connsiteY52" fmla="*/ 9105 h 10610"/>
                <a:gd name="connsiteX53" fmla="*/ 6438 w 10117"/>
                <a:gd name="connsiteY53" fmla="*/ 8967 h 10610"/>
                <a:gd name="connsiteX54" fmla="*/ 6629 w 10117"/>
                <a:gd name="connsiteY54" fmla="*/ 8825 h 10610"/>
                <a:gd name="connsiteX55" fmla="*/ 6814 w 10117"/>
                <a:gd name="connsiteY55" fmla="*/ 8689 h 10610"/>
                <a:gd name="connsiteX56" fmla="*/ 6997 w 10117"/>
                <a:gd name="connsiteY56" fmla="*/ 8544 h 10610"/>
                <a:gd name="connsiteX57" fmla="*/ 7173 w 10117"/>
                <a:gd name="connsiteY57" fmla="*/ 8396 h 10610"/>
                <a:gd name="connsiteX58" fmla="*/ 7349 w 10117"/>
                <a:gd name="connsiteY58" fmla="*/ 8248 h 10610"/>
                <a:gd name="connsiteX59" fmla="*/ 7518 w 10117"/>
                <a:gd name="connsiteY59" fmla="*/ 8097 h 10610"/>
                <a:gd name="connsiteX60" fmla="*/ 7686 w 10117"/>
                <a:gd name="connsiteY60" fmla="*/ 7940 h 10610"/>
                <a:gd name="connsiteX61" fmla="*/ 7842 w 10117"/>
                <a:gd name="connsiteY61" fmla="*/ 7782 h 10610"/>
                <a:gd name="connsiteX62" fmla="*/ 7995 w 10117"/>
                <a:gd name="connsiteY62" fmla="*/ 7623 h 10610"/>
                <a:gd name="connsiteX63" fmla="*/ 8150 w 10117"/>
                <a:gd name="connsiteY63" fmla="*/ 7463 h 10610"/>
                <a:gd name="connsiteX64" fmla="*/ 8293 w 10117"/>
                <a:gd name="connsiteY64" fmla="*/ 7296 h 10610"/>
                <a:gd name="connsiteX65" fmla="*/ 8433 w 10117"/>
                <a:gd name="connsiteY65" fmla="*/ 7132 h 10610"/>
                <a:gd name="connsiteX66" fmla="*/ 8569 w 10117"/>
                <a:gd name="connsiteY66" fmla="*/ 6962 h 10610"/>
                <a:gd name="connsiteX67" fmla="*/ 8695 w 10117"/>
                <a:gd name="connsiteY67" fmla="*/ 6788 h 10610"/>
                <a:gd name="connsiteX68" fmla="*/ 8819 w 10117"/>
                <a:gd name="connsiteY68" fmla="*/ 6614 h 10610"/>
                <a:gd name="connsiteX69" fmla="*/ 8945 w 10117"/>
                <a:gd name="connsiteY69" fmla="*/ 6440 h 10610"/>
                <a:gd name="connsiteX70" fmla="*/ 9063 w 10117"/>
                <a:gd name="connsiteY70" fmla="*/ 6262 h 10610"/>
                <a:gd name="connsiteX71" fmla="*/ 9167 w 10117"/>
                <a:gd name="connsiteY71" fmla="*/ 6084 h 10610"/>
                <a:gd name="connsiteX72" fmla="*/ 9274 w 10117"/>
                <a:gd name="connsiteY72" fmla="*/ 5902 h 10610"/>
                <a:gd name="connsiteX73" fmla="*/ 9369 w 10117"/>
                <a:gd name="connsiteY73" fmla="*/ 5716 h 10610"/>
                <a:gd name="connsiteX74" fmla="*/ 9465 w 10117"/>
                <a:gd name="connsiteY74" fmla="*/ 5533 h 10610"/>
                <a:gd name="connsiteX75" fmla="*/ 9549 w 10117"/>
                <a:gd name="connsiteY75" fmla="*/ 5344 h 10610"/>
                <a:gd name="connsiteX76" fmla="*/ 9630 w 10117"/>
                <a:gd name="connsiteY76" fmla="*/ 5153 h 10610"/>
                <a:gd name="connsiteX77" fmla="*/ 9704 w 10117"/>
                <a:gd name="connsiteY77" fmla="*/ 4961 h 10610"/>
                <a:gd name="connsiteX78" fmla="*/ 9777 w 10117"/>
                <a:gd name="connsiteY78" fmla="*/ 4771 h 10610"/>
                <a:gd name="connsiteX79" fmla="*/ 9839 w 10117"/>
                <a:gd name="connsiteY79" fmla="*/ 4578 h 10610"/>
                <a:gd name="connsiteX80" fmla="*/ 9898 w 10117"/>
                <a:gd name="connsiteY80" fmla="*/ 4381 h 10610"/>
                <a:gd name="connsiteX81" fmla="*/ 9635 w 10117"/>
                <a:gd name="connsiteY81" fmla="*/ 0 h 10610"/>
                <a:gd name="connsiteX82" fmla="*/ 6408 w 10117"/>
                <a:gd name="connsiteY82" fmla="*/ 1883 h 10610"/>
                <a:gd name="connsiteX83" fmla="*/ 2450 w 10117"/>
                <a:gd name="connsiteY83" fmla="*/ 1500 h 10610"/>
                <a:gd name="connsiteX0" fmla="*/ 2450 w 10117"/>
                <a:gd name="connsiteY0" fmla="*/ 1500 h 10610"/>
                <a:gd name="connsiteX1" fmla="*/ 2441 w 10117"/>
                <a:gd name="connsiteY1" fmla="*/ 3643 h 10610"/>
                <a:gd name="connsiteX2" fmla="*/ 2413 w 10117"/>
                <a:gd name="connsiteY2" fmla="*/ 3722 h 10610"/>
                <a:gd name="connsiteX3" fmla="*/ 2379 w 10117"/>
                <a:gd name="connsiteY3" fmla="*/ 3804 h 10610"/>
                <a:gd name="connsiteX4" fmla="*/ 2339 w 10117"/>
                <a:gd name="connsiteY4" fmla="*/ 3883 h 10610"/>
                <a:gd name="connsiteX5" fmla="*/ 2297 w 10117"/>
                <a:gd name="connsiteY5" fmla="*/ 3960 h 10610"/>
                <a:gd name="connsiteX6" fmla="*/ 2257 w 10117"/>
                <a:gd name="connsiteY6" fmla="*/ 4039 h 10610"/>
                <a:gd name="connsiteX7" fmla="*/ 2209 w 10117"/>
                <a:gd name="connsiteY7" fmla="*/ 4118 h 10610"/>
                <a:gd name="connsiteX8" fmla="*/ 2158 w 10117"/>
                <a:gd name="connsiteY8" fmla="*/ 4189 h 10610"/>
                <a:gd name="connsiteX9" fmla="*/ 2110 w 10117"/>
                <a:gd name="connsiteY9" fmla="*/ 4265 h 10610"/>
                <a:gd name="connsiteX10" fmla="*/ 2058 w 10117"/>
                <a:gd name="connsiteY10" fmla="*/ 4339 h 10610"/>
                <a:gd name="connsiteX11" fmla="*/ 2001 w 10117"/>
                <a:gd name="connsiteY11" fmla="*/ 4412 h 10610"/>
                <a:gd name="connsiteX12" fmla="*/ 1950 w 10117"/>
                <a:gd name="connsiteY12" fmla="*/ 4486 h 10610"/>
                <a:gd name="connsiteX13" fmla="*/ 1890 w 10117"/>
                <a:gd name="connsiteY13" fmla="*/ 4557 h 10610"/>
                <a:gd name="connsiteX14" fmla="*/ 1827 w 10117"/>
                <a:gd name="connsiteY14" fmla="*/ 4623 h 10610"/>
                <a:gd name="connsiteX15" fmla="*/ 1762 w 10117"/>
                <a:gd name="connsiteY15" fmla="*/ 4691 h 10610"/>
                <a:gd name="connsiteX16" fmla="*/ 1702 w 10117"/>
                <a:gd name="connsiteY16" fmla="*/ 4758 h 10610"/>
                <a:gd name="connsiteX17" fmla="*/ 1632 w 10117"/>
                <a:gd name="connsiteY17" fmla="*/ 4830 h 10610"/>
                <a:gd name="connsiteX18" fmla="*/ 1563 w 10117"/>
                <a:gd name="connsiteY18" fmla="*/ 4893 h 10610"/>
                <a:gd name="connsiteX19" fmla="*/ 1490 w 10117"/>
                <a:gd name="connsiteY19" fmla="*/ 4952 h 10610"/>
                <a:gd name="connsiteX20" fmla="*/ 1415 w 10117"/>
                <a:gd name="connsiteY20" fmla="*/ 5019 h 10610"/>
                <a:gd name="connsiteX21" fmla="*/ 1341 w 10117"/>
                <a:gd name="connsiteY21" fmla="*/ 5081 h 10610"/>
                <a:gd name="connsiteX22" fmla="*/ 1262 w 10117"/>
                <a:gd name="connsiteY22" fmla="*/ 5140 h 10610"/>
                <a:gd name="connsiteX23" fmla="*/ 1184 w 10117"/>
                <a:gd name="connsiteY23" fmla="*/ 5204 h 10610"/>
                <a:gd name="connsiteX24" fmla="*/ 1105 w 10117"/>
                <a:gd name="connsiteY24" fmla="*/ 5262 h 10610"/>
                <a:gd name="connsiteX25" fmla="*/ 1017 w 10117"/>
                <a:gd name="connsiteY25" fmla="*/ 5319 h 10610"/>
                <a:gd name="connsiteX26" fmla="*/ 937 w 10117"/>
                <a:gd name="connsiteY26" fmla="*/ 5373 h 10610"/>
                <a:gd name="connsiteX27" fmla="*/ 850 w 10117"/>
                <a:gd name="connsiteY27" fmla="*/ 5429 h 10610"/>
                <a:gd name="connsiteX28" fmla="*/ 765 w 10117"/>
                <a:gd name="connsiteY28" fmla="*/ 5481 h 10610"/>
                <a:gd name="connsiteX29" fmla="*/ 670 w 10117"/>
                <a:gd name="connsiteY29" fmla="*/ 5534 h 10610"/>
                <a:gd name="connsiteX30" fmla="*/ 581 w 10117"/>
                <a:gd name="connsiteY30" fmla="*/ 5583 h 10610"/>
                <a:gd name="connsiteX31" fmla="*/ 488 w 10117"/>
                <a:gd name="connsiteY31" fmla="*/ 5633 h 10610"/>
                <a:gd name="connsiteX32" fmla="*/ 393 w 10117"/>
                <a:gd name="connsiteY32" fmla="*/ 5681 h 10610"/>
                <a:gd name="connsiteX33" fmla="*/ 295 w 10117"/>
                <a:gd name="connsiteY33" fmla="*/ 5725 h 10610"/>
                <a:gd name="connsiteX34" fmla="*/ 198 w 10117"/>
                <a:gd name="connsiteY34" fmla="*/ 5773 h 10610"/>
                <a:gd name="connsiteX35" fmla="*/ 103 w 10117"/>
                <a:gd name="connsiteY35" fmla="*/ 5816 h 10610"/>
                <a:gd name="connsiteX36" fmla="*/ 0 w 10117"/>
                <a:gd name="connsiteY36" fmla="*/ 5857 h 10610"/>
                <a:gd name="connsiteX37" fmla="*/ 210 w 10117"/>
                <a:gd name="connsiteY37" fmla="*/ 8550 h 10610"/>
                <a:gd name="connsiteX38" fmla="*/ 3301 w 10117"/>
                <a:gd name="connsiteY38" fmla="*/ 10610 h 10610"/>
                <a:gd name="connsiteX39" fmla="*/ 3606 w 10117"/>
                <a:gd name="connsiteY39" fmla="*/ 10485 h 10610"/>
                <a:gd name="connsiteX40" fmla="*/ 3848 w 10117"/>
                <a:gd name="connsiteY40" fmla="*/ 10386 h 10610"/>
                <a:gd name="connsiteX41" fmla="*/ 4084 w 10117"/>
                <a:gd name="connsiteY41" fmla="*/ 10287 h 10610"/>
                <a:gd name="connsiteX42" fmla="*/ 4317 w 10117"/>
                <a:gd name="connsiteY42" fmla="*/ 10183 h 10610"/>
                <a:gd name="connsiteX43" fmla="*/ 4549 w 10117"/>
                <a:gd name="connsiteY43" fmla="*/ 10074 h 10610"/>
                <a:gd name="connsiteX44" fmla="*/ 4767 w 10117"/>
                <a:gd name="connsiteY44" fmla="*/ 9967 h 10610"/>
                <a:gd name="connsiteX45" fmla="*/ 4988 w 10117"/>
                <a:gd name="connsiteY45" fmla="*/ 9849 h 10610"/>
                <a:gd name="connsiteX46" fmla="*/ 5209 w 10117"/>
                <a:gd name="connsiteY46" fmla="*/ 9736 h 10610"/>
                <a:gd name="connsiteX47" fmla="*/ 5419 w 10117"/>
                <a:gd name="connsiteY47" fmla="*/ 9615 h 10610"/>
                <a:gd name="connsiteX48" fmla="*/ 5635 w 10117"/>
                <a:gd name="connsiteY48" fmla="*/ 9491 h 10610"/>
                <a:gd name="connsiteX49" fmla="*/ 5839 w 10117"/>
                <a:gd name="connsiteY49" fmla="*/ 9362 h 10610"/>
                <a:gd name="connsiteX50" fmla="*/ 6043 w 10117"/>
                <a:gd name="connsiteY50" fmla="*/ 9235 h 10610"/>
                <a:gd name="connsiteX51" fmla="*/ 6239 w 10117"/>
                <a:gd name="connsiteY51" fmla="*/ 9105 h 10610"/>
                <a:gd name="connsiteX52" fmla="*/ 6438 w 10117"/>
                <a:gd name="connsiteY52" fmla="*/ 8967 h 10610"/>
                <a:gd name="connsiteX53" fmla="*/ 6629 w 10117"/>
                <a:gd name="connsiteY53" fmla="*/ 8825 h 10610"/>
                <a:gd name="connsiteX54" fmla="*/ 6814 w 10117"/>
                <a:gd name="connsiteY54" fmla="*/ 8689 h 10610"/>
                <a:gd name="connsiteX55" fmla="*/ 6997 w 10117"/>
                <a:gd name="connsiteY55" fmla="*/ 8544 h 10610"/>
                <a:gd name="connsiteX56" fmla="*/ 7173 w 10117"/>
                <a:gd name="connsiteY56" fmla="*/ 8396 h 10610"/>
                <a:gd name="connsiteX57" fmla="*/ 7349 w 10117"/>
                <a:gd name="connsiteY57" fmla="*/ 8248 h 10610"/>
                <a:gd name="connsiteX58" fmla="*/ 7518 w 10117"/>
                <a:gd name="connsiteY58" fmla="*/ 8097 h 10610"/>
                <a:gd name="connsiteX59" fmla="*/ 7686 w 10117"/>
                <a:gd name="connsiteY59" fmla="*/ 7940 h 10610"/>
                <a:gd name="connsiteX60" fmla="*/ 7842 w 10117"/>
                <a:gd name="connsiteY60" fmla="*/ 7782 h 10610"/>
                <a:gd name="connsiteX61" fmla="*/ 7995 w 10117"/>
                <a:gd name="connsiteY61" fmla="*/ 7623 h 10610"/>
                <a:gd name="connsiteX62" fmla="*/ 8150 w 10117"/>
                <a:gd name="connsiteY62" fmla="*/ 7463 h 10610"/>
                <a:gd name="connsiteX63" fmla="*/ 8293 w 10117"/>
                <a:gd name="connsiteY63" fmla="*/ 7296 h 10610"/>
                <a:gd name="connsiteX64" fmla="*/ 8433 w 10117"/>
                <a:gd name="connsiteY64" fmla="*/ 7132 h 10610"/>
                <a:gd name="connsiteX65" fmla="*/ 8569 w 10117"/>
                <a:gd name="connsiteY65" fmla="*/ 6962 h 10610"/>
                <a:gd name="connsiteX66" fmla="*/ 8695 w 10117"/>
                <a:gd name="connsiteY66" fmla="*/ 6788 h 10610"/>
                <a:gd name="connsiteX67" fmla="*/ 8819 w 10117"/>
                <a:gd name="connsiteY67" fmla="*/ 6614 h 10610"/>
                <a:gd name="connsiteX68" fmla="*/ 8945 w 10117"/>
                <a:gd name="connsiteY68" fmla="*/ 6440 h 10610"/>
                <a:gd name="connsiteX69" fmla="*/ 9063 w 10117"/>
                <a:gd name="connsiteY69" fmla="*/ 6262 h 10610"/>
                <a:gd name="connsiteX70" fmla="*/ 9167 w 10117"/>
                <a:gd name="connsiteY70" fmla="*/ 6084 h 10610"/>
                <a:gd name="connsiteX71" fmla="*/ 9274 w 10117"/>
                <a:gd name="connsiteY71" fmla="*/ 5902 h 10610"/>
                <a:gd name="connsiteX72" fmla="*/ 9369 w 10117"/>
                <a:gd name="connsiteY72" fmla="*/ 5716 h 10610"/>
                <a:gd name="connsiteX73" fmla="*/ 9465 w 10117"/>
                <a:gd name="connsiteY73" fmla="*/ 5533 h 10610"/>
                <a:gd name="connsiteX74" fmla="*/ 9549 w 10117"/>
                <a:gd name="connsiteY74" fmla="*/ 5344 h 10610"/>
                <a:gd name="connsiteX75" fmla="*/ 9630 w 10117"/>
                <a:gd name="connsiteY75" fmla="*/ 5153 h 10610"/>
                <a:gd name="connsiteX76" fmla="*/ 9704 w 10117"/>
                <a:gd name="connsiteY76" fmla="*/ 4961 h 10610"/>
                <a:gd name="connsiteX77" fmla="*/ 9777 w 10117"/>
                <a:gd name="connsiteY77" fmla="*/ 4771 h 10610"/>
                <a:gd name="connsiteX78" fmla="*/ 9839 w 10117"/>
                <a:gd name="connsiteY78" fmla="*/ 4578 h 10610"/>
                <a:gd name="connsiteX79" fmla="*/ 9898 w 10117"/>
                <a:gd name="connsiteY79" fmla="*/ 4381 h 10610"/>
                <a:gd name="connsiteX80" fmla="*/ 9635 w 10117"/>
                <a:gd name="connsiteY80" fmla="*/ 0 h 10610"/>
                <a:gd name="connsiteX81" fmla="*/ 6408 w 10117"/>
                <a:gd name="connsiteY81" fmla="*/ 1883 h 10610"/>
                <a:gd name="connsiteX82" fmla="*/ 2450 w 10117"/>
                <a:gd name="connsiteY82" fmla="*/ 1500 h 10610"/>
                <a:gd name="connsiteX0" fmla="*/ 2450 w 10117"/>
                <a:gd name="connsiteY0" fmla="*/ 1500 h 10610"/>
                <a:gd name="connsiteX1" fmla="*/ 2413 w 10117"/>
                <a:gd name="connsiteY1" fmla="*/ 3722 h 10610"/>
                <a:gd name="connsiteX2" fmla="*/ 2379 w 10117"/>
                <a:gd name="connsiteY2" fmla="*/ 3804 h 10610"/>
                <a:gd name="connsiteX3" fmla="*/ 2339 w 10117"/>
                <a:gd name="connsiteY3" fmla="*/ 3883 h 10610"/>
                <a:gd name="connsiteX4" fmla="*/ 2297 w 10117"/>
                <a:gd name="connsiteY4" fmla="*/ 3960 h 10610"/>
                <a:gd name="connsiteX5" fmla="*/ 2257 w 10117"/>
                <a:gd name="connsiteY5" fmla="*/ 4039 h 10610"/>
                <a:gd name="connsiteX6" fmla="*/ 2209 w 10117"/>
                <a:gd name="connsiteY6" fmla="*/ 4118 h 10610"/>
                <a:gd name="connsiteX7" fmla="*/ 2158 w 10117"/>
                <a:gd name="connsiteY7" fmla="*/ 4189 h 10610"/>
                <a:gd name="connsiteX8" fmla="*/ 2110 w 10117"/>
                <a:gd name="connsiteY8" fmla="*/ 4265 h 10610"/>
                <a:gd name="connsiteX9" fmla="*/ 2058 w 10117"/>
                <a:gd name="connsiteY9" fmla="*/ 4339 h 10610"/>
                <a:gd name="connsiteX10" fmla="*/ 2001 w 10117"/>
                <a:gd name="connsiteY10" fmla="*/ 4412 h 10610"/>
                <a:gd name="connsiteX11" fmla="*/ 1950 w 10117"/>
                <a:gd name="connsiteY11" fmla="*/ 4486 h 10610"/>
                <a:gd name="connsiteX12" fmla="*/ 1890 w 10117"/>
                <a:gd name="connsiteY12" fmla="*/ 4557 h 10610"/>
                <a:gd name="connsiteX13" fmla="*/ 1827 w 10117"/>
                <a:gd name="connsiteY13" fmla="*/ 4623 h 10610"/>
                <a:gd name="connsiteX14" fmla="*/ 1762 w 10117"/>
                <a:gd name="connsiteY14" fmla="*/ 4691 h 10610"/>
                <a:gd name="connsiteX15" fmla="*/ 1702 w 10117"/>
                <a:gd name="connsiteY15" fmla="*/ 4758 h 10610"/>
                <a:gd name="connsiteX16" fmla="*/ 1632 w 10117"/>
                <a:gd name="connsiteY16" fmla="*/ 4830 h 10610"/>
                <a:gd name="connsiteX17" fmla="*/ 1563 w 10117"/>
                <a:gd name="connsiteY17" fmla="*/ 4893 h 10610"/>
                <a:gd name="connsiteX18" fmla="*/ 1490 w 10117"/>
                <a:gd name="connsiteY18" fmla="*/ 4952 h 10610"/>
                <a:gd name="connsiteX19" fmla="*/ 1415 w 10117"/>
                <a:gd name="connsiteY19" fmla="*/ 5019 h 10610"/>
                <a:gd name="connsiteX20" fmla="*/ 1341 w 10117"/>
                <a:gd name="connsiteY20" fmla="*/ 5081 h 10610"/>
                <a:gd name="connsiteX21" fmla="*/ 1262 w 10117"/>
                <a:gd name="connsiteY21" fmla="*/ 5140 h 10610"/>
                <a:gd name="connsiteX22" fmla="*/ 1184 w 10117"/>
                <a:gd name="connsiteY22" fmla="*/ 5204 h 10610"/>
                <a:gd name="connsiteX23" fmla="*/ 1105 w 10117"/>
                <a:gd name="connsiteY23" fmla="*/ 5262 h 10610"/>
                <a:gd name="connsiteX24" fmla="*/ 1017 w 10117"/>
                <a:gd name="connsiteY24" fmla="*/ 5319 h 10610"/>
                <a:gd name="connsiteX25" fmla="*/ 937 w 10117"/>
                <a:gd name="connsiteY25" fmla="*/ 5373 h 10610"/>
                <a:gd name="connsiteX26" fmla="*/ 850 w 10117"/>
                <a:gd name="connsiteY26" fmla="*/ 5429 h 10610"/>
                <a:gd name="connsiteX27" fmla="*/ 765 w 10117"/>
                <a:gd name="connsiteY27" fmla="*/ 5481 h 10610"/>
                <a:gd name="connsiteX28" fmla="*/ 670 w 10117"/>
                <a:gd name="connsiteY28" fmla="*/ 5534 h 10610"/>
                <a:gd name="connsiteX29" fmla="*/ 581 w 10117"/>
                <a:gd name="connsiteY29" fmla="*/ 5583 h 10610"/>
                <a:gd name="connsiteX30" fmla="*/ 488 w 10117"/>
                <a:gd name="connsiteY30" fmla="*/ 5633 h 10610"/>
                <a:gd name="connsiteX31" fmla="*/ 393 w 10117"/>
                <a:gd name="connsiteY31" fmla="*/ 5681 h 10610"/>
                <a:gd name="connsiteX32" fmla="*/ 295 w 10117"/>
                <a:gd name="connsiteY32" fmla="*/ 5725 h 10610"/>
                <a:gd name="connsiteX33" fmla="*/ 198 w 10117"/>
                <a:gd name="connsiteY33" fmla="*/ 5773 h 10610"/>
                <a:gd name="connsiteX34" fmla="*/ 103 w 10117"/>
                <a:gd name="connsiteY34" fmla="*/ 5816 h 10610"/>
                <a:gd name="connsiteX35" fmla="*/ 0 w 10117"/>
                <a:gd name="connsiteY35" fmla="*/ 5857 h 10610"/>
                <a:gd name="connsiteX36" fmla="*/ 210 w 10117"/>
                <a:gd name="connsiteY36" fmla="*/ 8550 h 10610"/>
                <a:gd name="connsiteX37" fmla="*/ 3301 w 10117"/>
                <a:gd name="connsiteY37" fmla="*/ 10610 h 10610"/>
                <a:gd name="connsiteX38" fmla="*/ 3606 w 10117"/>
                <a:gd name="connsiteY38" fmla="*/ 10485 h 10610"/>
                <a:gd name="connsiteX39" fmla="*/ 3848 w 10117"/>
                <a:gd name="connsiteY39" fmla="*/ 10386 h 10610"/>
                <a:gd name="connsiteX40" fmla="*/ 4084 w 10117"/>
                <a:gd name="connsiteY40" fmla="*/ 10287 h 10610"/>
                <a:gd name="connsiteX41" fmla="*/ 4317 w 10117"/>
                <a:gd name="connsiteY41" fmla="*/ 10183 h 10610"/>
                <a:gd name="connsiteX42" fmla="*/ 4549 w 10117"/>
                <a:gd name="connsiteY42" fmla="*/ 10074 h 10610"/>
                <a:gd name="connsiteX43" fmla="*/ 4767 w 10117"/>
                <a:gd name="connsiteY43" fmla="*/ 9967 h 10610"/>
                <a:gd name="connsiteX44" fmla="*/ 4988 w 10117"/>
                <a:gd name="connsiteY44" fmla="*/ 9849 h 10610"/>
                <a:gd name="connsiteX45" fmla="*/ 5209 w 10117"/>
                <a:gd name="connsiteY45" fmla="*/ 9736 h 10610"/>
                <a:gd name="connsiteX46" fmla="*/ 5419 w 10117"/>
                <a:gd name="connsiteY46" fmla="*/ 9615 h 10610"/>
                <a:gd name="connsiteX47" fmla="*/ 5635 w 10117"/>
                <a:gd name="connsiteY47" fmla="*/ 9491 h 10610"/>
                <a:gd name="connsiteX48" fmla="*/ 5839 w 10117"/>
                <a:gd name="connsiteY48" fmla="*/ 9362 h 10610"/>
                <a:gd name="connsiteX49" fmla="*/ 6043 w 10117"/>
                <a:gd name="connsiteY49" fmla="*/ 9235 h 10610"/>
                <a:gd name="connsiteX50" fmla="*/ 6239 w 10117"/>
                <a:gd name="connsiteY50" fmla="*/ 9105 h 10610"/>
                <a:gd name="connsiteX51" fmla="*/ 6438 w 10117"/>
                <a:gd name="connsiteY51" fmla="*/ 8967 h 10610"/>
                <a:gd name="connsiteX52" fmla="*/ 6629 w 10117"/>
                <a:gd name="connsiteY52" fmla="*/ 8825 h 10610"/>
                <a:gd name="connsiteX53" fmla="*/ 6814 w 10117"/>
                <a:gd name="connsiteY53" fmla="*/ 8689 h 10610"/>
                <a:gd name="connsiteX54" fmla="*/ 6997 w 10117"/>
                <a:gd name="connsiteY54" fmla="*/ 8544 h 10610"/>
                <a:gd name="connsiteX55" fmla="*/ 7173 w 10117"/>
                <a:gd name="connsiteY55" fmla="*/ 8396 h 10610"/>
                <a:gd name="connsiteX56" fmla="*/ 7349 w 10117"/>
                <a:gd name="connsiteY56" fmla="*/ 8248 h 10610"/>
                <a:gd name="connsiteX57" fmla="*/ 7518 w 10117"/>
                <a:gd name="connsiteY57" fmla="*/ 8097 h 10610"/>
                <a:gd name="connsiteX58" fmla="*/ 7686 w 10117"/>
                <a:gd name="connsiteY58" fmla="*/ 7940 h 10610"/>
                <a:gd name="connsiteX59" fmla="*/ 7842 w 10117"/>
                <a:gd name="connsiteY59" fmla="*/ 7782 h 10610"/>
                <a:gd name="connsiteX60" fmla="*/ 7995 w 10117"/>
                <a:gd name="connsiteY60" fmla="*/ 7623 h 10610"/>
                <a:gd name="connsiteX61" fmla="*/ 8150 w 10117"/>
                <a:gd name="connsiteY61" fmla="*/ 7463 h 10610"/>
                <a:gd name="connsiteX62" fmla="*/ 8293 w 10117"/>
                <a:gd name="connsiteY62" fmla="*/ 7296 h 10610"/>
                <a:gd name="connsiteX63" fmla="*/ 8433 w 10117"/>
                <a:gd name="connsiteY63" fmla="*/ 7132 h 10610"/>
                <a:gd name="connsiteX64" fmla="*/ 8569 w 10117"/>
                <a:gd name="connsiteY64" fmla="*/ 6962 h 10610"/>
                <a:gd name="connsiteX65" fmla="*/ 8695 w 10117"/>
                <a:gd name="connsiteY65" fmla="*/ 6788 h 10610"/>
                <a:gd name="connsiteX66" fmla="*/ 8819 w 10117"/>
                <a:gd name="connsiteY66" fmla="*/ 6614 h 10610"/>
                <a:gd name="connsiteX67" fmla="*/ 8945 w 10117"/>
                <a:gd name="connsiteY67" fmla="*/ 6440 h 10610"/>
                <a:gd name="connsiteX68" fmla="*/ 9063 w 10117"/>
                <a:gd name="connsiteY68" fmla="*/ 6262 h 10610"/>
                <a:gd name="connsiteX69" fmla="*/ 9167 w 10117"/>
                <a:gd name="connsiteY69" fmla="*/ 6084 h 10610"/>
                <a:gd name="connsiteX70" fmla="*/ 9274 w 10117"/>
                <a:gd name="connsiteY70" fmla="*/ 5902 h 10610"/>
                <a:gd name="connsiteX71" fmla="*/ 9369 w 10117"/>
                <a:gd name="connsiteY71" fmla="*/ 5716 h 10610"/>
                <a:gd name="connsiteX72" fmla="*/ 9465 w 10117"/>
                <a:gd name="connsiteY72" fmla="*/ 5533 h 10610"/>
                <a:gd name="connsiteX73" fmla="*/ 9549 w 10117"/>
                <a:gd name="connsiteY73" fmla="*/ 5344 h 10610"/>
                <a:gd name="connsiteX74" fmla="*/ 9630 w 10117"/>
                <a:gd name="connsiteY74" fmla="*/ 5153 h 10610"/>
                <a:gd name="connsiteX75" fmla="*/ 9704 w 10117"/>
                <a:gd name="connsiteY75" fmla="*/ 4961 h 10610"/>
                <a:gd name="connsiteX76" fmla="*/ 9777 w 10117"/>
                <a:gd name="connsiteY76" fmla="*/ 4771 h 10610"/>
                <a:gd name="connsiteX77" fmla="*/ 9839 w 10117"/>
                <a:gd name="connsiteY77" fmla="*/ 4578 h 10610"/>
                <a:gd name="connsiteX78" fmla="*/ 9898 w 10117"/>
                <a:gd name="connsiteY78" fmla="*/ 4381 h 10610"/>
                <a:gd name="connsiteX79" fmla="*/ 9635 w 10117"/>
                <a:gd name="connsiteY79" fmla="*/ 0 h 10610"/>
                <a:gd name="connsiteX80" fmla="*/ 6408 w 10117"/>
                <a:gd name="connsiteY80" fmla="*/ 1883 h 10610"/>
                <a:gd name="connsiteX81" fmla="*/ 2450 w 10117"/>
                <a:gd name="connsiteY81" fmla="*/ 1500 h 10610"/>
                <a:gd name="connsiteX0" fmla="*/ 2450 w 10117"/>
                <a:gd name="connsiteY0" fmla="*/ 1500 h 10610"/>
                <a:gd name="connsiteX1" fmla="*/ 2379 w 10117"/>
                <a:gd name="connsiteY1" fmla="*/ 3804 h 10610"/>
                <a:gd name="connsiteX2" fmla="*/ 2339 w 10117"/>
                <a:gd name="connsiteY2" fmla="*/ 3883 h 10610"/>
                <a:gd name="connsiteX3" fmla="*/ 2297 w 10117"/>
                <a:gd name="connsiteY3" fmla="*/ 3960 h 10610"/>
                <a:gd name="connsiteX4" fmla="*/ 2257 w 10117"/>
                <a:gd name="connsiteY4" fmla="*/ 4039 h 10610"/>
                <a:gd name="connsiteX5" fmla="*/ 2209 w 10117"/>
                <a:gd name="connsiteY5" fmla="*/ 4118 h 10610"/>
                <a:gd name="connsiteX6" fmla="*/ 2158 w 10117"/>
                <a:gd name="connsiteY6" fmla="*/ 4189 h 10610"/>
                <a:gd name="connsiteX7" fmla="*/ 2110 w 10117"/>
                <a:gd name="connsiteY7" fmla="*/ 4265 h 10610"/>
                <a:gd name="connsiteX8" fmla="*/ 2058 w 10117"/>
                <a:gd name="connsiteY8" fmla="*/ 4339 h 10610"/>
                <a:gd name="connsiteX9" fmla="*/ 2001 w 10117"/>
                <a:gd name="connsiteY9" fmla="*/ 4412 h 10610"/>
                <a:gd name="connsiteX10" fmla="*/ 1950 w 10117"/>
                <a:gd name="connsiteY10" fmla="*/ 4486 h 10610"/>
                <a:gd name="connsiteX11" fmla="*/ 1890 w 10117"/>
                <a:gd name="connsiteY11" fmla="*/ 4557 h 10610"/>
                <a:gd name="connsiteX12" fmla="*/ 1827 w 10117"/>
                <a:gd name="connsiteY12" fmla="*/ 4623 h 10610"/>
                <a:gd name="connsiteX13" fmla="*/ 1762 w 10117"/>
                <a:gd name="connsiteY13" fmla="*/ 4691 h 10610"/>
                <a:gd name="connsiteX14" fmla="*/ 1702 w 10117"/>
                <a:gd name="connsiteY14" fmla="*/ 4758 h 10610"/>
                <a:gd name="connsiteX15" fmla="*/ 1632 w 10117"/>
                <a:gd name="connsiteY15" fmla="*/ 4830 h 10610"/>
                <a:gd name="connsiteX16" fmla="*/ 1563 w 10117"/>
                <a:gd name="connsiteY16" fmla="*/ 4893 h 10610"/>
                <a:gd name="connsiteX17" fmla="*/ 1490 w 10117"/>
                <a:gd name="connsiteY17" fmla="*/ 4952 h 10610"/>
                <a:gd name="connsiteX18" fmla="*/ 1415 w 10117"/>
                <a:gd name="connsiteY18" fmla="*/ 5019 h 10610"/>
                <a:gd name="connsiteX19" fmla="*/ 1341 w 10117"/>
                <a:gd name="connsiteY19" fmla="*/ 5081 h 10610"/>
                <a:gd name="connsiteX20" fmla="*/ 1262 w 10117"/>
                <a:gd name="connsiteY20" fmla="*/ 5140 h 10610"/>
                <a:gd name="connsiteX21" fmla="*/ 1184 w 10117"/>
                <a:gd name="connsiteY21" fmla="*/ 5204 h 10610"/>
                <a:gd name="connsiteX22" fmla="*/ 1105 w 10117"/>
                <a:gd name="connsiteY22" fmla="*/ 5262 h 10610"/>
                <a:gd name="connsiteX23" fmla="*/ 1017 w 10117"/>
                <a:gd name="connsiteY23" fmla="*/ 5319 h 10610"/>
                <a:gd name="connsiteX24" fmla="*/ 937 w 10117"/>
                <a:gd name="connsiteY24" fmla="*/ 5373 h 10610"/>
                <a:gd name="connsiteX25" fmla="*/ 850 w 10117"/>
                <a:gd name="connsiteY25" fmla="*/ 5429 h 10610"/>
                <a:gd name="connsiteX26" fmla="*/ 765 w 10117"/>
                <a:gd name="connsiteY26" fmla="*/ 5481 h 10610"/>
                <a:gd name="connsiteX27" fmla="*/ 670 w 10117"/>
                <a:gd name="connsiteY27" fmla="*/ 5534 h 10610"/>
                <a:gd name="connsiteX28" fmla="*/ 581 w 10117"/>
                <a:gd name="connsiteY28" fmla="*/ 5583 h 10610"/>
                <a:gd name="connsiteX29" fmla="*/ 488 w 10117"/>
                <a:gd name="connsiteY29" fmla="*/ 5633 h 10610"/>
                <a:gd name="connsiteX30" fmla="*/ 393 w 10117"/>
                <a:gd name="connsiteY30" fmla="*/ 5681 h 10610"/>
                <a:gd name="connsiteX31" fmla="*/ 295 w 10117"/>
                <a:gd name="connsiteY31" fmla="*/ 5725 h 10610"/>
                <a:gd name="connsiteX32" fmla="*/ 198 w 10117"/>
                <a:gd name="connsiteY32" fmla="*/ 5773 h 10610"/>
                <a:gd name="connsiteX33" fmla="*/ 103 w 10117"/>
                <a:gd name="connsiteY33" fmla="*/ 5816 h 10610"/>
                <a:gd name="connsiteX34" fmla="*/ 0 w 10117"/>
                <a:gd name="connsiteY34" fmla="*/ 5857 h 10610"/>
                <a:gd name="connsiteX35" fmla="*/ 210 w 10117"/>
                <a:gd name="connsiteY35" fmla="*/ 8550 h 10610"/>
                <a:gd name="connsiteX36" fmla="*/ 3301 w 10117"/>
                <a:gd name="connsiteY36" fmla="*/ 10610 h 10610"/>
                <a:gd name="connsiteX37" fmla="*/ 3606 w 10117"/>
                <a:gd name="connsiteY37" fmla="*/ 10485 h 10610"/>
                <a:gd name="connsiteX38" fmla="*/ 3848 w 10117"/>
                <a:gd name="connsiteY38" fmla="*/ 10386 h 10610"/>
                <a:gd name="connsiteX39" fmla="*/ 4084 w 10117"/>
                <a:gd name="connsiteY39" fmla="*/ 10287 h 10610"/>
                <a:gd name="connsiteX40" fmla="*/ 4317 w 10117"/>
                <a:gd name="connsiteY40" fmla="*/ 10183 h 10610"/>
                <a:gd name="connsiteX41" fmla="*/ 4549 w 10117"/>
                <a:gd name="connsiteY41" fmla="*/ 10074 h 10610"/>
                <a:gd name="connsiteX42" fmla="*/ 4767 w 10117"/>
                <a:gd name="connsiteY42" fmla="*/ 9967 h 10610"/>
                <a:gd name="connsiteX43" fmla="*/ 4988 w 10117"/>
                <a:gd name="connsiteY43" fmla="*/ 9849 h 10610"/>
                <a:gd name="connsiteX44" fmla="*/ 5209 w 10117"/>
                <a:gd name="connsiteY44" fmla="*/ 9736 h 10610"/>
                <a:gd name="connsiteX45" fmla="*/ 5419 w 10117"/>
                <a:gd name="connsiteY45" fmla="*/ 9615 h 10610"/>
                <a:gd name="connsiteX46" fmla="*/ 5635 w 10117"/>
                <a:gd name="connsiteY46" fmla="*/ 9491 h 10610"/>
                <a:gd name="connsiteX47" fmla="*/ 5839 w 10117"/>
                <a:gd name="connsiteY47" fmla="*/ 9362 h 10610"/>
                <a:gd name="connsiteX48" fmla="*/ 6043 w 10117"/>
                <a:gd name="connsiteY48" fmla="*/ 9235 h 10610"/>
                <a:gd name="connsiteX49" fmla="*/ 6239 w 10117"/>
                <a:gd name="connsiteY49" fmla="*/ 9105 h 10610"/>
                <a:gd name="connsiteX50" fmla="*/ 6438 w 10117"/>
                <a:gd name="connsiteY50" fmla="*/ 8967 h 10610"/>
                <a:gd name="connsiteX51" fmla="*/ 6629 w 10117"/>
                <a:gd name="connsiteY51" fmla="*/ 8825 h 10610"/>
                <a:gd name="connsiteX52" fmla="*/ 6814 w 10117"/>
                <a:gd name="connsiteY52" fmla="*/ 8689 h 10610"/>
                <a:gd name="connsiteX53" fmla="*/ 6997 w 10117"/>
                <a:gd name="connsiteY53" fmla="*/ 8544 h 10610"/>
                <a:gd name="connsiteX54" fmla="*/ 7173 w 10117"/>
                <a:gd name="connsiteY54" fmla="*/ 8396 h 10610"/>
                <a:gd name="connsiteX55" fmla="*/ 7349 w 10117"/>
                <a:gd name="connsiteY55" fmla="*/ 8248 h 10610"/>
                <a:gd name="connsiteX56" fmla="*/ 7518 w 10117"/>
                <a:gd name="connsiteY56" fmla="*/ 8097 h 10610"/>
                <a:gd name="connsiteX57" fmla="*/ 7686 w 10117"/>
                <a:gd name="connsiteY57" fmla="*/ 7940 h 10610"/>
                <a:gd name="connsiteX58" fmla="*/ 7842 w 10117"/>
                <a:gd name="connsiteY58" fmla="*/ 7782 h 10610"/>
                <a:gd name="connsiteX59" fmla="*/ 7995 w 10117"/>
                <a:gd name="connsiteY59" fmla="*/ 7623 h 10610"/>
                <a:gd name="connsiteX60" fmla="*/ 8150 w 10117"/>
                <a:gd name="connsiteY60" fmla="*/ 7463 h 10610"/>
                <a:gd name="connsiteX61" fmla="*/ 8293 w 10117"/>
                <a:gd name="connsiteY61" fmla="*/ 7296 h 10610"/>
                <a:gd name="connsiteX62" fmla="*/ 8433 w 10117"/>
                <a:gd name="connsiteY62" fmla="*/ 7132 h 10610"/>
                <a:gd name="connsiteX63" fmla="*/ 8569 w 10117"/>
                <a:gd name="connsiteY63" fmla="*/ 6962 h 10610"/>
                <a:gd name="connsiteX64" fmla="*/ 8695 w 10117"/>
                <a:gd name="connsiteY64" fmla="*/ 6788 h 10610"/>
                <a:gd name="connsiteX65" fmla="*/ 8819 w 10117"/>
                <a:gd name="connsiteY65" fmla="*/ 6614 h 10610"/>
                <a:gd name="connsiteX66" fmla="*/ 8945 w 10117"/>
                <a:gd name="connsiteY66" fmla="*/ 6440 h 10610"/>
                <a:gd name="connsiteX67" fmla="*/ 9063 w 10117"/>
                <a:gd name="connsiteY67" fmla="*/ 6262 h 10610"/>
                <a:gd name="connsiteX68" fmla="*/ 9167 w 10117"/>
                <a:gd name="connsiteY68" fmla="*/ 6084 h 10610"/>
                <a:gd name="connsiteX69" fmla="*/ 9274 w 10117"/>
                <a:gd name="connsiteY69" fmla="*/ 5902 h 10610"/>
                <a:gd name="connsiteX70" fmla="*/ 9369 w 10117"/>
                <a:gd name="connsiteY70" fmla="*/ 5716 h 10610"/>
                <a:gd name="connsiteX71" fmla="*/ 9465 w 10117"/>
                <a:gd name="connsiteY71" fmla="*/ 5533 h 10610"/>
                <a:gd name="connsiteX72" fmla="*/ 9549 w 10117"/>
                <a:gd name="connsiteY72" fmla="*/ 5344 h 10610"/>
                <a:gd name="connsiteX73" fmla="*/ 9630 w 10117"/>
                <a:gd name="connsiteY73" fmla="*/ 5153 h 10610"/>
                <a:gd name="connsiteX74" fmla="*/ 9704 w 10117"/>
                <a:gd name="connsiteY74" fmla="*/ 4961 h 10610"/>
                <a:gd name="connsiteX75" fmla="*/ 9777 w 10117"/>
                <a:gd name="connsiteY75" fmla="*/ 4771 h 10610"/>
                <a:gd name="connsiteX76" fmla="*/ 9839 w 10117"/>
                <a:gd name="connsiteY76" fmla="*/ 4578 h 10610"/>
                <a:gd name="connsiteX77" fmla="*/ 9898 w 10117"/>
                <a:gd name="connsiteY77" fmla="*/ 4381 h 10610"/>
                <a:gd name="connsiteX78" fmla="*/ 9635 w 10117"/>
                <a:gd name="connsiteY78" fmla="*/ 0 h 10610"/>
                <a:gd name="connsiteX79" fmla="*/ 6408 w 10117"/>
                <a:gd name="connsiteY79" fmla="*/ 1883 h 10610"/>
                <a:gd name="connsiteX80" fmla="*/ 2450 w 10117"/>
                <a:gd name="connsiteY80" fmla="*/ 1500 h 10610"/>
                <a:gd name="connsiteX0" fmla="*/ 2450 w 10117"/>
                <a:gd name="connsiteY0" fmla="*/ 1500 h 10610"/>
                <a:gd name="connsiteX1" fmla="*/ 2339 w 10117"/>
                <a:gd name="connsiteY1" fmla="*/ 3883 h 10610"/>
                <a:gd name="connsiteX2" fmla="*/ 2297 w 10117"/>
                <a:gd name="connsiteY2" fmla="*/ 3960 h 10610"/>
                <a:gd name="connsiteX3" fmla="*/ 2257 w 10117"/>
                <a:gd name="connsiteY3" fmla="*/ 4039 h 10610"/>
                <a:gd name="connsiteX4" fmla="*/ 2209 w 10117"/>
                <a:gd name="connsiteY4" fmla="*/ 4118 h 10610"/>
                <a:gd name="connsiteX5" fmla="*/ 2158 w 10117"/>
                <a:gd name="connsiteY5" fmla="*/ 4189 h 10610"/>
                <a:gd name="connsiteX6" fmla="*/ 2110 w 10117"/>
                <a:gd name="connsiteY6" fmla="*/ 4265 h 10610"/>
                <a:gd name="connsiteX7" fmla="*/ 2058 w 10117"/>
                <a:gd name="connsiteY7" fmla="*/ 4339 h 10610"/>
                <a:gd name="connsiteX8" fmla="*/ 2001 w 10117"/>
                <a:gd name="connsiteY8" fmla="*/ 4412 h 10610"/>
                <a:gd name="connsiteX9" fmla="*/ 1950 w 10117"/>
                <a:gd name="connsiteY9" fmla="*/ 4486 h 10610"/>
                <a:gd name="connsiteX10" fmla="*/ 1890 w 10117"/>
                <a:gd name="connsiteY10" fmla="*/ 4557 h 10610"/>
                <a:gd name="connsiteX11" fmla="*/ 1827 w 10117"/>
                <a:gd name="connsiteY11" fmla="*/ 4623 h 10610"/>
                <a:gd name="connsiteX12" fmla="*/ 1762 w 10117"/>
                <a:gd name="connsiteY12" fmla="*/ 4691 h 10610"/>
                <a:gd name="connsiteX13" fmla="*/ 1702 w 10117"/>
                <a:gd name="connsiteY13" fmla="*/ 4758 h 10610"/>
                <a:gd name="connsiteX14" fmla="*/ 1632 w 10117"/>
                <a:gd name="connsiteY14" fmla="*/ 4830 h 10610"/>
                <a:gd name="connsiteX15" fmla="*/ 1563 w 10117"/>
                <a:gd name="connsiteY15" fmla="*/ 4893 h 10610"/>
                <a:gd name="connsiteX16" fmla="*/ 1490 w 10117"/>
                <a:gd name="connsiteY16" fmla="*/ 4952 h 10610"/>
                <a:gd name="connsiteX17" fmla="*/ 1415 w 10117"/>
                <a:gd name="connsiteY17" fmla="*/ 5019 h 10610"/>
                <a:gd name="connsiteX18" fmla="*/ 1341 w 10117"/>
                <a:gd name="connsiteY18" fmla="*/ 5081 h 10610"/>
                <a:gd name="connsiteX19" fmla="*/ 1262 w 10117"/>
                <a:gd name="connsiteY19" fmla="*/ 5140 h 10610"/>
                <a:gd name="connsiteX20" fmla="*/ 1184 w 10117"/>
                <a:gd name="connsiteY20" fmla="*/ 5204 h 10610"/>
                <a:gd name="connsiteX21" fmla="*/ 1105 w 10117"/>
                <a:gd name="connsiteY21" fmla="*/ 5262 h 10610"/>
                <a:gd name="connsiteX22" fmla="*/ 1017 w 10117"/>
                <a:gd name="connsiteY22" fmla="*/ 5319 h 10610"/>
                <a:gd name="connsiteX23" fmla="*/ 937 w 10117"/>
                <a:gd name="connsiteY23" fmla="*/ 5373 h 10610"/>
                <a:gd name="connsiteX24" fmla="*/ 850 w 10117"/>
                <a:gd name="connsiteY24" fmla="*/ 5429 h 10610"/>
                <a:gd name="connsiteX25" fmla="*/ 765 w 10117"/>
                <a:gd name="connsiteY25" fmla="*/ 5481 h 10610"/>
                <a:gd name="connsiteX26" fmla="*/ 670 w 10117"/>
                <a:gd name="connsiteY26" fmla="*/ 5534 h 10610"/>
                <a:gd name="connsiteX27" fmla="*/ 581 w 10117"/>
                <a:gd name="connsiteY27" fmla="*/ 5583 h 10610"/>
                <a:gd name="connsiteX28" fmla="*/ 488 w 10117"/>
                <a:gd name="connsiteY28" fmla="*/ 5633 h 10610"/>
                <a:gd name="connsiteX29" fmla="*/ 393 w 10117"/>
                <a:gd name="connsiteY29" fmla="*/ 5681 h 10610"/>
                <a:gd name="connsiteX30" fmla="*/ 295 w 10117"/>
                <a:gd name="connsiteY30" fmla="*/ 5725 h 10610"/>
                <a:gd name="connsiteX31" fmla="*/ 198 w 10117"/>
                <a:gd name="connsiteY31" fmla="*/ 5773 h 10610"/>
                <a:gd name="connsiteX32" fmla="*/ 103 w 10117"/>
                <a:gd name="connsiteY32" fmla="*/ 5816 h 10610"/>
                <a:gd name="connsiteX33" fmla="*/ 0 w 10117"/>
                <a:gd name="connsiteY33" fmla="*/ 5857 h 10610"/>
                <a:gd name="connsiteX34" fmla="*/ 210 w 10117"/>
                <a:gd name="connsiteY34" fmla="*/ 8550 h 10610"/>
                <a:gd name="connsiteX35" fmla="*/ 3301 w 10117"/>
                <a:gd name="connsiteY35" fmla="*/ 10610 h 10610"/>
                <a:gd name="connsiteX36" fmla="*/ 3606 w 10117"/>
                <a:gd name="connsiteY36" fmla="*/ 10485 h 10610"/>
                <a:gd name="connsiteX37" fmla="*/ 3848 w 10117"/>
                <a:gd name="connsiteY37" fmla="*/ 10386 h 10610"/>
                <a:gd name="connsiteX38" fmla="*/ 4084 w 10117"/>
                <a:gd name="connsiteY38" fmla="*/ 10287 h 10610"/>
                <a:gd name="connsiteX39" fmla="*/ 4317 w 10117"/>
                <a:gd name="connsiteY39" fmla="*/ 10183 h 10610"/>
                <a:gd name="connsiteX40" fmla="*/ 4549 w 10117"/>
                <a:gd name="connsiteY40" fmla="*/ 10074 h 10610"/>
                <a:gd name="connsiteX41" fmla="*/ 4767 w 10117"/>
                <a:gd name="connsiteY41" fmla="*/ 9967 h 10610"/>
                <a:gd name="connsiteX42" fmla="*/ 4988 w 10117"/>
                <a:gd name="connsiteY42" fmla="*/ 9849 h 10610"/>
                <a:gd name="connsiteX43" fmla="*/ 5209 w 10117"/>
                <a:gd name="connsiteY43" fmla="*/ 9736 h 10610"/>
                <a:gd name="connsiteX44" fmla="*/ 5419 w 10117"/>
                <a:gd name="connsiteY44" fmla="*/ 9615 h 10610"/>
                <a:gd name="connsiteX45" fmla="*/ 5635 w 10117"/>
                <a:gd name="connsiteY45" fmla="*/ 9491 h 10610"/>
                <a:gd name="connsiteX46" fmla="*/ 5839 w 10117"/>
                <a:gd name="connsiteY46" fmla="*/ 9362 h 10610"/>
                <a:gd name="connsiteX47" fmla="*/ 6043 w 10117"/>
                <a:gd name="connsiteY47" fmla="*/ 9235 h 10610"/>
                <a:gd name="connsiteX48" fmla="*/ 6239 w 10117"/>
                <a:gd name="connsiteY48" fmla="*/ 9105 h 10610"/>
                <a:gd name="connsiteX49" fmla="*/ 6438 w 10117"/>
                <a:gd name="connsiteY49" fmla="*/ 8967 h 10610"/>
                <a:gd name="connsiteX50" fmla="*/ 6629 w 10117"/>
                <a:gd name="connsiteY50" fmla="*/ 8825 h 10610"/>
                <a:gd name="connsiteX51" fmla="*/ 6814 w 10117"/>
                <a:gd name="connsiteY51" fmla="*/ 8689 h 10610"/>
                <a:gd name="connsiteX52" fmla="*/ 6997 w 10117"/>
                <a:gd name="connsiteY52" fmla="*/ 8544 h 10610"/>
                <a:gd name="connsiteX53" fmla="*/ 7173 w 10117"/>
                <a:gd name="connsiteY53" fmla="*/ 8396 h 10610"/>
                <a:gd name="connsiteX54" fmla="*/ 7349 w 10117"/>
                <a:gd name="connsiteY54" fmla="*/ 8248 h 10610"/>
                <a:gd name="connsiteX55" fmla="*/ 7518 w 10117"/>
                <a:gd name="connsiteY55" fmla="*/ 8097 h 10610"/>
                <a:gd name="connsiteX56" fmla="*/ 7686 w 10117"/>
                <a:gd name="connsiteY56" fmla="*/ 7940 h 10610"/>
                <a:gd name="connsiteX57" fmla="*/ 7842 w 10117"/>
                <a:gd name="connsiteY57" fmla="*/ 7782 h 10610"/>
                <a:gd name="connsiteX58" fmla="*/ 7995 w 10117"/>
                <a:gd name="connsiteY58" fmla="*/ 7623 h 10610"/>
                <a:gd name="connsiteX59" fmla="*/ 8150 w 10117"/>
                <a:gd name="connsiteY59" fmla="*/ 7463 h 10610"/>
                <a:gd name="connsiteX60" fmla="*/ 8293 w 10117"/>
                <a:gd name="connsiteY60" fmla="*/ 7296 h 10610"/>
                <a:gd name="connsiteX61" fmla="*/ 8433 w 10117"/>
                <a:gd name="connsiteY61" fmla="*/ 7132 h 10610"/>
                <a:gd name="connsiteX62" fmla="*/ 8569 w 10117"/>
                <a:gd name="connsiteY62" fmla="*/ 6962 h 10610"/>
                <a:gd name="connsiteX63" fmla="*/ 8695 w 10117"/>
                <a:gd name="connsiteY63" fmla="*/ 6788 h 10610"/>
                <a:gd name="connsiteX64" fmla="*/ 8819 w 10117"/>
                <a:gd name="connsiteY64" fmla="*/ 6614 h 10610"/>
                <a:gd name="connsiteX65" fmla="*/ 8945 w 10117"/>
                <a:gd name="connsiteY65" fmla="*/ 6440 h 10610"/>
                <a:gd name="connsiteX66" fmla="*/ 9063 w 10117"/>
                <a:gd name="connsiteY66" fmla="*/ 6262 h 10610"/>
                <a:gd name="connsiteX67" fmla="*/ 9167 w 10117"/>
                <a:gd name="connsiteY67" fmla="*/ 6084 h 10610"/>
                <a:gd name="connsiteX68" fmla="*/ 9274 w 10117"/>
                <a:gd name="connsiteY68" fmla="*/ 5902 h 10610"/>
                <a:gd name="connsiteX69" fmla="*/ 9369 w 10117"/>
                <a:gd name="connsiteY69" fmla="*/ 5716 h 10610"/>
                <a:gd name="connsiteX70" fmla="*/ 9465 w 10117"/>
                <a:gd name="connsiteY70" fmla="*/ 5533 h 10610"/>
                <a:gd name="connsiteX71" fmla="*/ 9549 w 10117"/>
                <a:gd name="connsiteY71" fmla="*/ 5344 h 10610"/>
                <a:gd name="connsiteX72" fmla="*/ 9630 w 10117"/>
                <a:gd name="connsiteY72" fmla="*/ 5153 h 10610"/>
                <a:gd name="connsiteX73" fmla="*/ 9704 w 10117"/>
                <a:gd name="connsiteY73" fmla="*/ 4961 h 10610"/>
                <a:gd name="connsiteX74" fmla="*/ 9777 w 10117"/>
                <a:gd name="connsiteY74" fmla="*/ 4771 h 10610"/>
                <a:gd name="connsiteX75" fmla="*/ 9839 w 10117"/>
                <a:gd name="connsiteY75" fmla="*/ 4578 h 10610"/>
                <a:gd name="connsiteX76" fmla="*/ 9898 w 10117"/>
                <a:gd name="connsiteY76" fmla="*/ 4381 h 10610"/>
                <a:gd name="connsiteX77" fmla="*/ 9635 w 10117"/>
                <a:gd name="connsiteY77" fmla="*/ 0 h 10610"/>
                <a:gd name="connsiteX78" fmla="*/ 6408 w 10117"/>
                <a:gd name="connsiteY78" fmla="*/ 1883 h 10610"/>
                <a:gd name="connsiteX79" fmla="*/ 2450 w 10117"/>
                <a:gd name="connsiteY79" fmla="*/ 1500 h 10610"/>
                <a:gd name="connsiteX0" fmla="*/ 2450 w 10117"/>
                <a:gd name="connsiteY0" fmla="*/ 1500 h 10610"/>
                <a:gd name="connsiteX1" fmla="*/ 2297 w 10117"/>
                <a:gd name="connsiteY1" fmla="*/ 3960 h 10610"/>
                <a:gd name="connsiteX2" fmla="*/ 2257 w 10117"/>
                <a:gd name="connsiteY2" fmla="*/ 4039 h 10610"/>
                <a:gd name="connsiteX3" fmla="*/ 2209 w 10117"/>
                <a:gd name="connsiteY3" fmla="*/ 4118 h 10610"/>
                <a:gd name="connsiteX4" fmla="*/ 2158 w 10117"/>
                <a:gd name="connsiteY4" fmla="*/ 4189 h 10610"/>
                <a:gd name="connsiteX5" fmla="*/ 2110 w 10117"/>
                <a:gd name="connsiteY5" fmla="*/ 4265 h 10610"/>
                <a:gd name="connsiteX6" fmla="*/ 2058 w 10117"/>
                <a:gd name="connsiteY6" fmla="*/ 4339 h 10610"/>
                <a:gd name="connsiteX7" fmla="*/ 2001 w 10117"/>
                <a:gd name="connsiteY7" fmla="*/ 4412 h 10610"/>
                <a:gd name="connsiteX8" fmla="*/ 1950 w 10117"/>
                <a:gd name="connsiteY8" fmla="*/ 4486 h 10610"/>
                <a:gd name="connsiteX9" fmla="*/ 1890 w 10117"/>
                <a:gd name="connsiteY9" fmla="*/ 4557 h 10610"/>
                <a:gd name="connsiteX10" fmla="*/ 1827 w 10117"/>
                <a:gd name="connsiteY10" fmla="*/ 4623 h 10610"/>
                <a:gd name="connsiteX11" fmla="*/ 1762 w 10117"/>
                <a:gd name="connsiteY11" fmla="*/ 4691 h 10610"/>
                <a:gd name="connsiteX12" fmla="*/ 1702 w 10117"/>
                <a:gd name="connsiteY12" fmla="*/ 4758 h 10610"/>
                <a:gd name="connsiteX13" fmla="*/ 1632 w 10117"/>
                <a:gd name="connsiteY13" fmla="*/ 4830 h 10610"/>
                <a:gd name="connsiteX14" fmla="*/ 1563 w 10117"/>
                <a:gd name="connsiteY14" fmla="*/ 4893 h 10610"/>
                <a:gd name="connsiteX15" fmla="*/ 1490 w 10117"/>
                <a:gd name="connsiteY15" fmla="*/ 4952 h 10610"/>
                <a:gd name="connsiteX16" fmla="*/ 1415 w 10117"/>
                <a:gd name="connsiteY16" fmla="*/ 5019 h 10610"/>
                <a:gd name="connsiteX17" fmla="*/ 1341 w 10117"/>
                <a:gd name="connsiteY17" fmla="*/ 5081 h 10610"/>
                <a:gd name="connsiteX18" fmla="*/ 1262 w 10117"/>
                <a:gd name="connsiteY18" fmla="*/ 5140 h 10610"/>
                <a:gd name="connsiteX19" fmla="*/ 1184 w 10117"/>
                <a:gd name="connsiteY19" fmla="*/ 5204 h 10610"/>
                <a:gd name="connsiteX20" fmla="*/ 1105 w 10117"/>
                <a:gd name="connsiteY20" fmla="*/ 5262 h 10610"/>
                <a:gd name="connsiteX21" fmla="*/ 1017 w 10117"/>
                <a:gd name="connsiteY21" fmla="*/ 5319 h 10610"/>
                <a:gd name="connsiteX22" fmla="*/ 937 w 10117"/>
                <a:gd name="connsiteY22" fmla="*/ 5373 h 10610"/>
                <a:gd name="connsiteX23" fmla="*/ 850 w 10117"/>
                <a:gd name="connsiteY23" fmla="*/ 5429 h 10610"/>
                <a:gd name="connsiteX24" fmla="*/ 765 w 10117"/>
                <a:gd name="connsiteY24" fmla="*/ 5481 h 10610"/>
                <a:gd name="connsiteX25" fmla="*/ 670 w 10117"/>
                <a:gd name="connsiteY25" fmla="*/ 5534 h 10610"/>
                <a:gd name="connsiteX26" fmla="*/ 581 w 10117"/>
                <a:gd name="connsiteY26" fmla="*/ 5583 h 10610"/>
                <a:gd name="connsiteX27" fmla="*/ 488 w 10117"/>
                <a:gd name="connsiteY27" fmla="*/ 5633 h 10610"/>
                <a:gd name="connsiteX28" fmla="*/ 393 w 10117"/>
                <a:gd name="connsiteY28" fmla="*/ 5681 h 10610"/>
                <a:gd name="connsiteX29" fmla="*/ 295 w 10117"/>
                <a:gd name="connsiteY29" fmla="*/ 5725 h 10610"/>
                <a:gd name="connsiteX30" fmla="*/ 198 w 10117"/>
                <a:gd name="connsiteY30" fmla="*/ 5773 h 10610"/>
                <a:gd name="connsiteX31" fmla="*/ 103 w 10117"/>
                <a:gd name="connsiteY31" fmla="*/ 5816 h 10610"/>
                <a:gd name="connsiteX32" fmla="*/ 0 w 10117"/>
                <a:gd name="connsiteY32" fmla="*/ 5857 h 10610"/>
                <a:gd name="connsiteX33" fmla="*/ 210 w 10117"/>
                <a:gd name="connsiteY33" fmla="*/ 8550 h 10610"/>
                <a:gd name="connsiteX34" fmla="*/ 3301 w 10117"/>
                <a:gd name="connsiteY34" fmla="*/ 10610 h 10610"/>
                <a:gd name="connsiteX35" fmla="*/ 3606 w 10117"/>
                <a:gd name="connsiteY35" fmla="*/ 10485 h 10610"/>
                <a:gd name="connsiteX36" fmla="*/ 3848 w 10117"/>
                <a:gd name="connsiteY36" fmla="*/ 10386 h 10610"/>
                <a:gd name="connsiteX37" fmla="*/ 4084 w 10117"/>
                <a:gd name="connsiteY37" fmla="*/ 10287 h 10610"/>
                <a:gd name="connsiteX38" fmla="*/ 4317 w 10117"/>
                <a:gd name="connsiteY38" fmla="*/ 10183 h 10610"/>
                <a:gd name="connsiteX39" fmla="*/ 4549 w 10117"/>
                <a:gd name="connsiteY39" fmla="*/ 10074 h 10610"/>
                <a:gd name="connsiteX40" fmla="*/ 4767 w 10117"/>
                <a:gd name="connsiteY40" fmla="*/ 9967 h 10610"/>
                <a:gd name="connsiteX41" fmla="*/ 4988 w 10117"/>
                <a:gd name="connsiteY41" fmla="*/ 9849 h 10610"/>
                <a:gd name="connsiteX42" fmla="*/ 5209 w 10117"/>
                <a:gd name="connsiteY42" fmla="*/ 9736 h 10610"/>
                <a:gd name="connsiteX43" fmla="*/ 5419 w 10117"/>
                <a:gd name="connsiteY43" fmla="*/ 9615 h 10610"/>
                <a:gd name="connsiteX44" fmla="*/ 5635 w 10117"/>
                <a:gd name="connsiteY44" fmla="*/ 9491 h 10610"/>
                <a:gd name="connsiteX45" fmla="*/ 5839 w 10117"/>
                <a:gd name="connsiteY45" fmla="*/ 9362 h 10610"/>
                <a:gd name="connsiteX46" fmla="*/ 6043 w 10117"/>
                <a:gd name="connsiteY46" fmla="*/ 9235 h 10610"/>
                <a:gd name="connsiteX47" fmla="*/ 6239 w 10117"/>
                <a:gd name="connsiteY47" fmla="*/ 9105 h 10610"/>
                <a:gd name="connsiteX48" fmla="*/ 6438 w 10117"/>
                <a:gd name="connsiteY48" fmla="*/ 8967 h 10610"/>
                <a:gd name="connsiteX49" fmla="*/ 6629 w 10117"/>
                <a:gd name="connsiteY49" fmla="*/ 8825 h 10610"/>
                <a:gd name="connsiteX50" fmla="*/ 6814 w 10117"/>
                <a:gd name="connsiteY50" fmla="*/ 8689 h 10610"/>
                <a:gd name="connsiteX51" fmla="*/ 6997 w 10117"/>
                <a:gd name="connsiteY51" fmla="*/ 8544 h 10610"/>
                <a:gd name="connsiteX52" fmla="*/ 7173 w 10117"/>
                <a:gd name="connsiteY52" fmla="*/ 8396 h 10610"/>
                <a:gd name="connsiteX53" fmla="*/ 7349 w 10117"/>
                <a:gd name="connsiteY53" fmla="*/ 8248 h 10610"/>
                <a:gd name="connsiteX54" fmla="*/ 7518 w 10117"/>
                <a:gd name="connsiteY54" fmla="*/ 8097 h 10610"/>
                <a:gd name="connsiteX55" fmla="*/ 7686 w 10117"/>
                <a:gd name="connsiteY55" fmla="*/ 7940 h 10610"/>
                <a:gd name="connsiteX56" fmla="*/ 7842 w 10117"/>
                <a:gd name="connsiteY56" fmla="*/ 7782 h 10610"/>
                <a:gd name="connsiteX57" fmla="*/ 7995 w 10117"/>
                <a:gd name="connsiteY57" fmla="*/ 7623 h 10610"/>
                <a:gd name="connsiteX58" fmla="*/ 8150 w 10117"/>
                <a:gd name="connsiteY58" fmla="*/ 7463 h 10610"/>
                <a:gd name="connsiteX59" fmla="*/ 8293 w 10117"/>
                <a:gd name="connsiteY59" fmla="*/ 7296 h 10610"/>
                <a:gd name="connsiteX60" fmla="*/ 8433 w 10117"/>
                <a:gd name="connsiteY60" fmla="*/ 7132 h 10610"/>
                <a:gd name="connsiteX61" fmla="*/ 8569 w 10117"/>
                <a:gd name="connsiteY61" fmla="*/ 6962 h 10610"/>
                <a:gd name="connsiteX62" fmla="*/ 8695 w 10117"/>
                <a:gd name="connsiteY62" fmla="*/ 6788 h 10610"/>
                <a:gd name="connsiteX63" fmla="*/ 8819 w 10117"/>
                <a:gd name="connsiteY63" fmla="*/ 6614 h 10610"/>
                <a:gd name="connsiteX64" fmla="*/ 8945 w 10117"/>
                <a:gd name="connsiteY64" fmla="*/ 6440 h 10610"/>
                <a:gd name="connsiteX65" fmla="*/ 9063 w 10117"/>
                <a:gd name="connsiteY65" fmla="*/ 6262 h 10610"/>
                <a:gd name="connsiteX66" fmla="*/ 9167 w 10117"/>
                <a:gd name="connsiteY66" fmla="*/ 6084 h 10610"/>
                <a:gd name="connsiteX67" fmla="*/ 9274 w 10117"/>
                <a:gd name="connsiteY67" fmla="*/ 5902 h 10610"/>
                <a:gd name="connsiteX68" fmla="*/ 9369 w 10117"/>
                <a:gd name="connsiteY68" fmla="*/ 5716 h 10610"/>
                <a:gd name="connsiteX69" fmla="*/ 9465 w 10117"/>
                <a:gd name="connsiteY69" fmla="*/ 5533 h 10610"/>
                <a:gd name="connsiteX70" fmla="*/ 9549 w 10117"/>
                <a:gd name="connsiteY70" fmla="*/ 5344 h 10610"/>
                <a:gd name="connsiteX71" fmla="*/ 9630 w 10117"/>
                <a:gd name="connsiteY71" fmla="*/ 5153 h 10610"/>
                <a:gd name="connsiteX72" fmla="*/ 9704 w 10117"/>
                <a:gd name="connsiteY72" fmla="*/ 4961 h 10610"/>
                <a:gd name="connsiteX73" fmla="*/ 9777 w 10117"/>
                <a:gd name="connsiteY73" fmla="*/ 4771 h 10610"/>
                <a:gd name="connsiteX74" fmla="*/ 9839 w 10117"/>
                <a:gd name="connsiteY74" fmla="*/ 4578 h 10610"/>
                <a:gd name="connsiteX75" fmla="*/ 9898 w 10117"/>
                <a:gd name="connsiteY75" fmla="*/ 4381 h 10610"/>
                <a:gd name="connsiteX76" fmla="*/ 9635 w 10117"/>
                <a:gd name="connsiteY76" fmla="*/ 0 h 10610"/>
                <a:gd name="connsiteX77" fmla="*/ 6408 w 10117"/>
                <a:gd name="connsiteY77" fmla="*/ 1883 h 10610"/>
                <a:gd name="connsiteX78" fmla="*/ 2450 w 10117"/>
                <a:gd name="connsiteY78" fmla="*/ 1500 h 10610"/>
                <a:gd name="connsiteX0" fmla="*/ 2450 w 10117"/>
                <a:gd name="connsiteY0" fmla="*/ 1500 h 10610"/>
                <a:gd name="connsiteX1" fmla="*/ 2257 w 10117"/>
                <a:gd name="connsiteY1" fmla="*/ 4039 h 10610"/>
                <a:gd name="connsiteX2" fmla="*/ 2209 w 10117"/>
                <a:gd name="connsiteY2" fmla="*/ 4118 h 10610"/>
                <a:gd name="connsiteX3" fmla="*/ 2158 w 10117"/>
                <a:gd name="connsiteY3" fmla="*/ 4189 h 10610"/>
                <a:gd name="connsiteX4" fmla="*/ 2110 w 10117"/>
                <a:gd name="connsiteY4" fmla="*/ 4265 h 10610"/>
                <a:gd name="connsiteX5" fmla="*/ 2058 w 10117"/>
                <a:gd name="connsiteY5" fmla="*/ 4339 h 10610"/>
                <a:gd name="connsiteX6" fmla="*/ 2001 w 10117"/>
                <a:gd name="connsiteY6" fmla="*/ 4412 h 10610"/>
                <a:gd name="connsiteX7" fmla="*/ 1950 w 10117"/>
                <a:gd name="connsiteY7" fmla="*/ 4486 h 10610"/>
                <a:gd name="connsiteX8" fmla="*/ 1890 w 10117"/>
                <a:gd name="connsiteY8" fmla="*/ 4557 h 10610"/>
                <a:gd name="connsiteX9" fmla="*/ 1827 w 10117"/>
                <a:gd name="connsiteY9" fmla="*/ 4623 h 10610"/>
                <a:gd name="connsiteX10" fmla="*/ 1762 w 10117"/>
                <a:gd name="connsiteY10" fmla="*/ 4691 h 10610"/>
                <a:gd name="connsiteX11" fmla="*/ 1702 w 10117"/>
                <a:gd name="connsiteY11" fmla="*/ 4758 h 10610"/>
                <a:gd name="connsiteX12" fmla="*/ 1632 w 10117"/>
                <a:gd name="connsiteY12" fmla="*/ 4830 h 10610"/>
                <a:gd name="connsiteX13" fmla="*/ 1563 w 10117"/>
                <a:gd name="connsiteY13" fmla="*/ 4893 h 10610"/>
                <a:gd name="connsiteX14" fmla="*/ 1490 w 10117"/>
                <a:gd name="connsiteY14" fmla="*/ 4952 h 10610"/>
                <a:gd name="connsiteX15" fmla="*/ 1415 w 10117"/>
                <a:gd name="connsiteY15" fmla="*/ 5019 h 10610"/>
                <a:gd name="connsiteX16" fmla="*/ 1341 w 10117"/>
                <a:gd name="connsiteY16" fmla="*/ 5081 h 10610"/>
                <a:gd name="connsiteX17" fmla="*/ 1262 w 10117"/>
                <a:gd name="connsiteY17" fmla="*/ 5140 h 10610"/>
                <a:gd name="connsiteX18" fmla="*/ 1184 w 10117"/>
                <a:gd name="connsiteY18" fmla="*/ 5204 h 10610"/>
                <a:gd name="connsiteX19" fmla="*/ 1105 w 10117"/>
                <a:gd name="connsiteY19" fmla="*/ 5262 h 10610"/>
                <a:gd name="connsiteX20" fmla="*/ 1017 w 10117"/>
                <a:gd name="connsiteY20" fmla="*/ 5319 h 10610"/>
                <a:gd name="connsiteX21" fmla="*/ 937 w 10117"/>
                <a:gd name="connsiteY21" fmla="*/ 5373 h 10610"/>
                <a:gd name="connsiteX22" fmla="*/ 850 w 10117"/>
                <a:gd name="connsiteY22" fmla="*/ 5429 h 10610"/>
                <a:gd name="connsiteX23" fmla="*/ 765 w 10117"/>
                <a:gd name="connsiteY23" fmla="*/ 5481 h 10610"/>
                <a:gd name="connsiteX24" fmla="*/ 670 w 10117"/>
                <a:gd name="connsiteY24" fmla="*/ 5534 h 10610"/>
                <a:gd name="connsiteX25" fmla="*/ 581 w 10117"/>
                <a:gd name="connsiteY25" fmla="*/ 5583 h 10610"/>
                <a:gd name="connsiteX26" fmla="*/ 488 w 10117"/>
                <a:gd name="connsiteY26" fmla="*/ 5633 h 10610"/>
                <a:gd name="connsiteX27" fmla="*/ 393 w 10117"/>
                <a:gd name="connsiteY27" fmla="*/ 5681 h 10610"/>
                <a:gd name="connsiteX28" fmla="*/ 295 w 10117"/>
                <a:gd name="connsiteY28" fmla="*/ 5725 h 10610"/>
                <a:gd name="connsiteX29" fmla="*/ 198 w 10117"/>
                <a:gd name="connsiteY29" fmla="*/ 5773 h 10610"/>
                <a:gd name="connsiteX30" fmla="*/ 103 w 10117"/>
                <a:gd name="connsiteY30" fmla="*/ 5816 h 10610"/>
                <a:gd name="connsiteX31" fmla="*/ 0 w 10117"/>
                <a:gd name="connsiteY31" fmla="*/ 5857 h 10610"/>
                <a:gd name="connsiteX32" fmla="*/ 210 w 10117"/>
                <a:gd name="connsiteY32" fmla="*/ 8550 h 10610"/>
                <a:gd name="connsiteX33" fmla="*/ 3301 w 10117"/>
                <a:gd name="connsiteY33" fmla="*/ 10610 h 10610"/>
                <a:gd name="connsiteX34" fmla="*/ 3606 w 10117"/>
                <a:gd name="connsiteY34" fmla="*/ 10485 h 10610"/>
                <a:gd name="connsiteX35" fmla="*/ 3848 w 10117"/>
                <a:gd name="connsiteY35" fmla="*/ 10386 h 10610"/>
                <a:gd name="connsiteX36" fmla="*/ 4084 w 10117"/>
                <a:gd name="connsiteY36" fmla="*/ 10287 h 10610"/>
                <a:gd name="connsiteX37" fmla="*/ 4317 w 10117"/>
                <a:gd name="connsiteY37" fmla="*/ 10183 h 10610"/>
                <a:gd name="connsiteX38" fmla="*/ 4549 w 10117"/>
                <a:gd name="connsiteY38" fmla="*/ 10074 h 10610"/>
                <a:gd name="connsiteX39" fmla="*/ 4767 w 10117"/>
                <a:gd name="connsiteY39" fmla="*/ 9967 h 10610"/>
                <a:gd name="connsiteX40" fmla="*/ 4988 w 10117"/>
                <a:gd name="connsiteY40" fmla="*/ 9849 h 10610"/>
                <a:gd name="connsiteX41" fmla="*/ 5209 w 10117"/>
                <a:gd name="connsiteY41" fmla="*/ 9736 h 10610"/>
                <a:gd name="connsiteX42" fmla="*/ 5419 w 10117"/>
                <a:gd name="connsiteY42" fmla="*/ 9615 h 10610"/>
                <a:gd name="connsiteX43" fmla="*/ 5635 w 10117"/>
                <a:gd name="connsiteY43" fmla="*/ 9491 h 10610"/>
                <a:gd name="connsiteX44" fmla="*/ 5839 w 10117"/>
                <a:gd name="connsiteY44" fmla="*/ 9362 h 10610"/>
                <a:gd name="connsiteX45" fmla="*/ 6043 w 10117"/>
                <a:gd name="connsiteY45" fmla="*/ 9235 h 10610"/>
                <a:gd name="connsiteX46" fmla="*/ 6239 w 10117"/>
                <a:gd name="connsiteY46" fmla="*/ 9105 h 10610"/>
                <a:gd name="connsiteX47" fmla="*/ 6438 w 10117"/>
                <a:gd name="connsiteY47" fmla="*/ 8967 h 10610"/>
                <a:gd name="connsiteX48" fmla="*/ 6629 w 10117"/>
                <a:gd name="connsiteY48" fmla="*/ 8825 h 10610"/>
                <a:gd name="connsiteX49" fmla="*/ 6814 w 10117"/>
                <a:gd name="connsiteY49" fmla="*/ 8689 h 10610"/>
                <a:gd name="connsiteX50" fmla="*/ 6997 w 10117"/>
                <a:gd name="connsiteY50" fmla="*/ 8544 h 10610"/>
                <a:gd name="connsiteX51" fmla="*/ 7173 w 10117"/>
                <a:gd name="connsiteY51" fmla="*/ 8396 h 10610"/>
                <a:gd name="connsiteX52" fmla="*/ 7349 w 10117"/>
                <a:gd name="connsiteY52" fmla="*/ 8248 h 10610"/>
                <a:gd name="connsiteX53" fmla="*/ 7518 w 10117"/>
                <a:gd name="connsiteY53" fmla="*/ 8097 h 10610"/>
                <a:gd name="connsiteX54" fmla="*/ 7686 w 10117"/>
                <a:gd name="connsiteY54" fmla="*/ 7940 h 10610"/>
                <a:gd name="connsiteX55" fmla="*/ 7842 w 10117"/>
                <a:gd name="connsiteY55" fmla="*/ 7782 h 10610"/>
                <a:gd name="connsiteX56" fmla="*/ 7995 w 10117"/>
                <a:gd name="connsiteY56" fmla="*/ 7623 h 10610"/>
                <a:gd name="connsiteX57" fmla="*/ 8150 w 10117"/>
                <a:gd name="connsiteY57" fmla="*/ 7463 h 10610"/>
                <a:gd name="connsiteX58" fmla="*/ 8293 w 10117"/>
                <a:gd name="connsiteY58" fmla="*/ 7296 h 10610"/>
                <a:gd name="connsiteX59" fmla="*/ 8433 w 10117"/>
                <a:gd name="connsiteY59" fmla="*/ 7132 h 10610"/>
                <a:gd name="connsiteX60" fmla="*/ 8569 w 10117"/>
                <a:gd name="connsiteY60" fmla="*/ 6962 h 10610"/>
                <a:gd name="connsiteX61" fmla="*/ 8695 w 10117"/>
                <a:gd name="connsiteY61" fmla="*/ 6788 h 10610"/>
                <a:gd name="connsiteX62" fmla="*/ 8819 w 10117"/>
                <a:gd name="connsiteY62" fmla="*/ 6614 h 10610"/>
                <a:gd name="connsiteX63" fmla="*/ 8945 w 10117"/>
                <a:gd name="connsiteY63" fmla="*/ 6440 h 10610"/>
                <a:gd name="connsiteX64" fmla="*/ 9063 w 10117"/>
                <a:gd name="connsiteY64" fmla="*/ 6262 h 10610"/>
                <a:gd name="connsiteX65" fmla="*/ 9167 w 10117"/>
                <a:gd name="connsiteY65" fmla="*/ 6084 h 10610"/>
                <a:gd name="connsiteX66" fmla="*/ 9274 w 10117"/>
                <a:gd name="connsiteY66" fmla="*/ 5902 h 10610"/>
                <a:gd name="connsiteX67" fmla="*/ 9369 w 10117"/>
                <a:gd name="connsiteY67" fmla="*/ 5716 h 10610"/>
                <a:gd name="connsiteX68" fmla="*/ 9465 w 10117"/>
                <a:gd name="connsiteY68" fmla="*/ 5533 h 10610"/>
                <a:gd name="connsiteX69" fmla="*/ 9549 w 10117"/>
                <a:gd name="connsiteY69" fmla="*/ 5344 h 10610"/>
                <a:gd name="connsiteX70" fmla="*/ 9630 w 10117"/>
                <a:gd name="connsiteY70" fmla="*/ 5153 h 10610"/>
                <a:gd name="connsiteX71" fmla="*/ 9704 w 10117"/>
                <a:gd name="connsiteY71" fmla="*/ 4961 h 10610"/>
                <a:gd name="connsiteX72" fmla="*/ 9777 w 10117"/>
                <a:gd name="connsiteY72" fmla="*/ 4771 h 10610"/>
                <a:gd name="connsiteX73" fmla="*/ 9839 w 10117"/>
                <a:gd name="connsiteY73" fmla="*/ 4578 h 10610"/>
                <a:gd name="connsiteX74" fmla="*/ 9898 w 10117"/>
                <a:gd name="connsiteY74" fmla="*/ 4381 h 10610"/>
                <a:gd name="connsiteX75" fmla="*/ 9635 w 10117"/>
                <a:gd name="connsiteY75" fmla="*/ 0 h 10610"/>
                <a:gd name="connsiteX76" fmla="*/ 6408 w 10117"/>
                <a:gd name="connsiteY76" fmla="*/ 1883 h 10610"/>
                <a:gd name="connsiteX77" fmla="*/ 2450 w 10117"/>
                <a:gd name="connsiteY77" fmla="*/ 1500 h 10610"/>
                <a:gd name="connsiteX0" fmla="*/ 2450 w 10117"/>
                <a:gd name="connsiteY0" fmla="*/ 1500 h 10610"/>
                <a:gd name="connsiteX1" fmla="*/ 2209 w 10117"/>
                <a:gd name="connsiteY1" fmla="*/ 4118 h 10610"/>
                <a:gd name="connsiteX2" fmla="*/ 2158 w 10117"/>
                <a:gd name="connsiteY2" fmla="*/ 4189 h 10610"/>
                <a:gd name="connsiteX3" fmla="*/ 2110 w 10117"/>
                <a:gd name="connsiteY3" fmla="*/ 4265 h 10610"/>
                <a:gd name="connsiteX4" fmla="*/ 2058 w 10117"/>
                <a:gd name="connsiteY4" fmla="*/ 4339 h 10610"/>
                <a:gd name="connsiteX5" fmla="*/ 2001 w 10117"/>
                <a:gd name="connsiteY5" fmla="*/ 4412 h 10610"/>
                <a:gd name="connsiteX6" fmla="*/ 1950 w 10117"/>
                <a:gd name="connsiteY6" fmla="*/ 4486 h 10610"/>
                <a:gd name="connsiteX7" fmla="*/ 1890 w 10117"/>
                <a:gd name="connsiteY7" fmla="*/ 4557 h 10610"/>
                <a:gd name="connsiteX8" fmla="*/ 1827 w 10117"/>
                <a:gd name="connsiteY8" fmla="*/ 4623 h 10610"/>
                <a:gd name="connsiteX9" fmla="*/ 1762 w 10117"/>
                <a:gd name="connsiteY9" fmla="*/ 4691 h 10610"/>
                <a:gd name="connsiteX10" fmla="*/ 1702 w 10117"/>
                <a:gd name="connsiteY10" fmla="*/ 4758 h 10610"/>
                <a:gd name="connsiteX11" fmla="*/ 1632 w 10117"/>
                <a:gd name="connsiteY11" fmla="*/ 4830 h 10610"/>
                <a:gd name="connsiteX12" fmla="*/ 1563 w 10117"/>
                <a:gd name="connsiteY12" fmla="*/ 4893 h 10610"/>
                <a:gd name="connsiteX13" fmla="*/ 1490 w 10117"/>
                <a:gd name="connsiteY13" fmla="*/ 4952 h 10610"/>
                <a:gd name="connsiteX14" fmla="*/ 1415 w 10117"/>
                <a:gd name="connsiteY14" fmla="*/ 5019 h 10610"/>
                <a:gd name="connsiteX15" fmla="*/ 1341 w 10117"/>
                <a:gd name="connsiteY15" fmla="*/ 5081 h 10610"/>
                <a:gd name="connsiteX16" fmla="*/ 1262 w 10117"/>
                <a:gd name="connsiteY16" fmla="*/ 5140 h 10610"/>
                <a:gd name="connsiteX17" fmla="*/ 1184 w 10117"/>
                <a:gd name="connsiteY17" fmla="*/ 5204 h 10610"/>
                <a:gd name="connsiteX18" fmla="*/ 1105 w 10117"/>
                <a:gd name="connsiteY18" fmla="*/ 5262 h 10610"/>
                <a:gd name="connsiteX19" fmla="*/ 1017 w 10117"/>
                <a:gd name="connsiteY19" fmla="*/ 5319 h 10610"/>
                <a:gd name="connsiteX20" fmla="*/ 937 w 10117"/>
                <a:gd name="connsiteY20" fmla="*/ 5373 h 10610"/>
                <a:gd name="connsiteX21" fmla="*/ 850 w 10117"/>
                <a:gd name="connsiteY21" fmla="*/ 5429 h 10610"/>
                <a:gd name="connsiteX22" fmla="*/ 765 w 10117"/>
                <a:gd name="connsiteY22" fmla="*/ 5481 h 10610"/>
                <a:gd name="connsiteX23" fmla="*/ 670 w 10117"/>
                <a:gd name="connsiteY23" fmla="*/ 5534 h 10610"/>
                <a:gd name="connsiteX24" fmla="*/ 581 w 10117"/>
                <a:gd name="connsiteY24" fmla="*/ 5583 h 10610"/>
                <a:gd name="connsiteX25" fmla="*/ 488 w 10117"/>
                <a:gd name="connsiteY25" fmla="*/ 5633 h 10610"/>
                <a:gd name="connsiteX26" fmla="*/ 393 w 10117"/>
                <a:gd name="connsiteY26" fmla="*/ 5681 h 10610"/>
                <a:gd name="connsiteX27" fmla="*/ 295 w 10117"/>
                <a:gd name="connsiteY27" fmla="*/ 5725 h 10610"/>
                <a:gd name="connsiteX28" fmla="*/ 198 w 10117"/>
                <a:gd name="connsiteY28" fmla="*/ 5773 h 10610"/>
                <a:gd name="connsiteX29" fmla="*/ 103 w 10117"/>
                <a:gd name="connsiteY29" fmla="*/ 5816 h 10610"/>
                <a:gd name="connsiteX30" fmla="*/ 0 w 10117"/>
                <a:gd name="connsiteY30" fmla="*/ 5857 h 10610"/>
                <a:gd name="connsiteX31" fmla="*/ 210 w 10117"/>
                <a:gd name="connsiteY31" fmla="*/ 8550 h 10610"/>
                <a:gd name="connsiteX32" fmla="*/ 3301 w 10117"/>
                <a:gd name="connsiteY32" fmla="*/ 10610 h 10610"/>
                <a:gd name="connsiteX33" fmla="*/ 3606 w 10117"/>
                <a:gd name="connsiteY33" fmla="*/ 10485 h 10610"/>
                <a:gd name="connsiteX34" fmla="*/ 3848 w 10117"/>
                <a:gd name="connsiteY34" fmla="*/ 10386 h 10610"/>
                <a:gd name="connsiteX35" fmla="*/ 4084 w 10117"/>
                <a:gd name="connsiteY35" fmla="*/ 10287 h 10610"/>
                <a:gd name="connsiteX36" fmla="*/ 4317 w 10117"/>
                <a:gd name="connsiteY36" fmla="*/ 10183 h 10610"/>
                <a:gd name="connsiteX37" fmla="*/ 4549 w 10117"/>
                <a:gd name="connsiteY37" fmla="*/ 10074 h 10610"/>
                <a:gd name="connsiteX38" fmla="*/ 4767 w 10117"/>
                <a:gd name="connsiteY38" fmla="*/ 9967 h 10610"/>
                <a:gd name="connsiteX39" fmla="*/ 4988 w 10117"/>
                <a:gd name="connsiteY39" fmla="*/ 9849 h 10610"/>
                <a:gd name="connsiteX40" fmla="*/ 5209 w 10117"/>
                <a:gd name="connsiteY40" fmla="*/ 9736 h 10610"/>
                <a:gd name="connsiteX41" fmla="*/ 5419 w 10117"/>
                <a:gd name="connsiteY41" fmla="*/ 9615 h 10610"/>
                <a:gd name="connsiteX42" fmla="*/ 5635 w 10117"/>
                <a:gd name="connsiteY42" fmla="*/ 9491 h 10610"/>
                <a:gd name="connsiteX43" fmla="*/ 5839 w 10117"/>
                <a:gd name="connsiteY43" fmla="*/ 9362 h 10610"/>
                <a:gd name="connsiteX44" fmla="*/ 6043 w 10117"/>
                <a:gd name="connsiteY44" fmla="*/ 9235 h 10610"/>
                <a:gd name="connsiteX45" fmla="*/ 6239 w 10117"/>
                <a:gd name="connsiteY45" fmla="*/ 9105 h 10610"/>
                <a:gd name="connsiteX46" fmla="*/ 6438 w 10117"/>
                <a:gd name="connsiteY46" fmla="*/ 8967 h 10610"/>
                <a:gd name="connsiteX47" fmla="*/ 6629 w 10117"/>
                <a:gd name="connsiteY47" fmla="*/ 8825 h 10610"/>
                <a:gd name="connsiteX48" fmla="*/ 6814 w 10117"/>
                <a:gd name="connsiteY48" fmla="*/ 8689 h 10610"/>
                <a:gd name="connsiteX49" fmla="*/ 6997 w 10117"/>
                <a:gd name="connsiteY49" fmla="*/ 8544 h 10610"/>
                <a:gd name="connsiteX50" fmla="*/ 7173 w 10117"/>
                <a:gd name="connsiteY50" fmla="*/ 8396 h 10610"/>
                <a:gd name="connsiteX51" fmla="*/ 7349 w 10117"/>
                <a:gd name="connsiteY51" fmla="*/ 8248 h 10610"/>
                <a:gd name="connsiteX52" fmla="*/ 7518 w 10117"/>
                <a:gd name="connsiteY52" fmla="*/ 8097 h 10610"/>
                <a:gd name="connsiteX53" fmla="*/ 7686 w 10117"/>
                <a:gd name="connsiteY53" fmla="*/ 7940 h 10610"/>
                <a:gd name="connsiteX54" fmla="*/ 7842 w 10117"/>
                <a:gd name="connsiteY54" fmla="*/ 7782 h 10610"/>
                <a:gd name="connsiteX55" fmla="*/ 7995 w 10117"/>
                <a:gd name="connsiteY55" fmla="*/ 7623 h 10610"/>
                <a:gd name="connsiteX56" fmla="*/ 8150 w 10117"/>
                <a:gd name="connsiteY56" fmla="*/ 7463 h 10610"/>
                <a:gd name="connsiteX57" fmla="*/ 8293 w 10117"/>
                <a:gd name="connsiteY57" fmla="*/ 7296 h 10610"/>
                <a:gd name="connsiteX58" fmla="*/ 8433 w 10117"/>
                <a:gd name="connsiteY58" fmla="*/ 7132 h 10610"/>
                <a:gd name="connsiteX59" fmla="*/ 8569 w 10117"/>
                <a:gd name="connsiteY59" fmla="*/ 6962 h 10610"/>
                <a:gd name="connsiteX60" fmla="*/ 8695 w 10117"/>
                <a:gd name="connsiteY60" fmla="*/ 6788 h 10610"/>
                <a:gd name="connsiteX61" fmla="*/ 8819 w 10117"/>
                <a:gd name="connsiteY61" fmla="*/ 6614 h 10610"/>
                <a:gd name="connsiteX62" fmla="*/ 8945 w 10117"/>
                <a:gd name="connsiteY62" fmla="*/ 6440 h 10610"/>
                <a:gd name="connsiteX63" fmla="*/ 9063 w 10117"/>
                <a:gd name="connsiteY63" fmla="*/ 6262 h 10610"/>
                <a:gd name="connsiteX64" fmla="*/ 9167 w 10117"/>
                <a:gd name="connsiteY64" fmla="*/ 6084 h 10610"/>
                <a:gd name="connsiteX65" fmla="*/ 9274 w 10117"/>
                <a:gd name="connsiteY65" fmla="*/ 5902 h 10610"/>
                <a:gd name="connsiteX66" fmla="*/ 9369 w 10117"/>
                <a:gd name="connsiteY66" fmla="*/ 5716 h 10610"/>
                <a:gd name="connsiteX67" fmla="*/ 9465 w 10117"/>
                <a:gd name="connsiteY67" fmla="*/ 5533 h 10610"/>
                <a:gd name="connsiteX68" fmla="*/ 9549 w 10117"/>
                <a:gd name="connsiteY68" fmla="*/ 5344 h 10610"/>
                <a:gd name="connsiteX69" fmla="*/ 9630 w 10117"/>
                <a:gd name="connsiteY69" fmla="*/ 5153 h 10610"/>
                <a:gd name="connsiteX70" fmla="*/ 9704 w 10117"/>
                <a:gd name="connsiteY70" fmla="*/ 4961 h 10610"/>
                <a:gd name="connsiteX71" fmla="*/ 9777 w 10117"/>
                <a:gd name="connsiteY71" fmla="*/ 4771 h 10610"/>
                <a:gd name="connsiteX72" fmla="*/ 9839 w 10117"/>
                <a:gd name="connsiteY72" fmla="*/ 4578 h 10610"/>
                <a:gd name="connsiteX73" fmla="*/ 9898 w 10117"/>
                <a:gd name="connsiteY73" fmla="*/ 4381 h 10610"/>
                <a:gd name="connsiteX74" fmla="*/ 9635 w 10117"/>
                <a:gd name="connsiteY74" fmla="*/ 0 h 10610"/>
                <a:gd name="connsiteX75" fmla="*/ 6408 w 10117"/>
                <a:gd name="connsiteY75" fmla="*/ 1883 h 10610"/>
                <a:gd name="connsiteX76" fmla="*/ 2450 w 10117"/>
                <a:gd name="connsiteY76" fmla="*/ 1500 h 10610"/>
                <a:gd name="connsiteX0" fmla="*/ 2450 w 10117"/>
                <a:gd name="connsiteY0" fmla="*/ 1500 h 10610"/>
                <a:gd name="connsiteX1" fmla="*/ 2158 w 10117"/>
                <a:gd name="connsiteY1" fmla="*/ 4189 h 10610"/>
                <a:gd name="connsiteX2" fmla="*/ 2110 w 10117"/>
                <a:gd name="connsiteY2" fmla="*/ 4265 h 10610"/>
                <a:gd name="connsiteX3" fmla="*/ 2058 w 10117"/>
                <a:gd name="connsiteY3" fmla="*/ 4339 h 10610"/>
                <a:gd name="connsiteX4" fmla="*/ 2001 w 10117"/>
                <a:gd name="connsiteY4" fmla="*/ 4412 h 10610"/>
                <a:gd name="connsiteX5" fmla="*/ 1950 w 10117"/>
                <a:gd name="connsiteY5" fmla="*/ 4486 h 10610"/>
                <a:gd name="connsiteX6" fmla="*/ 1890 w 10117"/>
                <a:gd name="connsiteY6" fmla="*/ 4557 h 10610"/>
                <a:gd name="connsiteX7" fmla="*/ 1827 w 10117"/>
                <a:gd name="connsiteY7" fmla="*/ 4623 h 10610"/>
                <a:gd name="connsiteX8" fmla="*/ 1762 w 10117"/>
                <a:gd name="connsiteY8" fmla="*/ 4691 h 10610"/>
                <a:gd name="connsiteX9" fmla="*/ 1702 w 10117"/>
                <a:gd name="connsiteY9" fmla="*/ 4758 h 10610"/>
                <a:gd name="connsiteX10" fmla="*/ 1632 w 10117"/>
                <a:gd name="connsiteY10" fmla="*/ 4830 h 10610"/>
                <a:gd name="connsiteX11" fmla="*/ 1563 w 10117"/>
                <a:gd name="connsiteY11" fmla="*/ 4893 h 10610"/>
                <a:gd name="connsiteX12" fmla="*/ 1490 w 10117"/>
                <a:gd name="connsiteY12" fmla="*/ 4952 h 10610"/>
                <a:gd name="connsiteX13" fmla="*/ 1415 w 10117"/>
                <a:gd name="connsiteY13" fmla="*/ 5019 h 10610"/>
                <a:gd name="connsiteX14" fmla="*/ 1341 w 10117"/>
                <a:gd name="connsiteY14" fmla="*/ 5081 h 10610"/>
                <a:gd name="connsiteX15" fmla="*/ 1262 w 10117"/>
                <a:gd name="connsiteY15" fmla="*/ 5140 h 10610"/>
                <a:gd name="connsiteX16" fmla="*/ 1184 w 10117"/>
                <a:gd name="connsiteY16" fmla="*/ 5204 h 10610"/>
                <a:gd name="connsiteX17" fmla="*/ 1105 w 10117"/>
                <a:gd name="connsiteY17" fmla="*/ 5262 h 10610"/>
                <a:gd name="connsiteX18" fmla="*/ 1017 w 10117"/>
                <a:gd name="connsiteY18" fmla="*/ 5319 h 10610"/>
                <a:gd name="connsiteX19" fmla="*/ 937 w 10117"/>
                <a:gd name="connsiteY19" fmla="*/ 5373 h 10610"/>
                <a:gd name="connsiteX20" fmla="*/ 850 w 10117"/>
                <a:gd name="connsiteY20" fmla="*/ 5429 h 10610"/>
                <a:gd name="connsiteX21" fmla="*/ 765 w 10117"/>
                <a:gd name="connsiteY21" fmla="*/ 5481 h 10610"/>
                <a:gd name="connsiteX22" fmla="*/ 670 w 10117"/>
                <a:gd name="connsiteY22" fmla="*/ 5534 h 10610"/>
                <a:gd name="connsiteX23" fmla="*/ 581 w 10117"/>
                <a:gd name="connsiteY23" fmla="*/ 5583 h 10610"/>
                <a:gd name="connsiteX24" fmla="*/ 488 w 10117"/>
                <a:gd name="connsiteY24" fmla="*/ 5633 h 10610"/>
                <a:gd name="connsiteX25" fmla="*/ 393 w 10117"/>
                <a:gd name="connsiteY25" fmla="*/ 5681 h 10610"/>
                <a:gd name="connsiteX26" fmla="*/ 295 w 10117"/>
                <a:gd name="connsiteY26" fmla="*/ 5725 h 10610"/>
                <a:gd name="connsiteX27" fmla="*/ 198 w 10117"/>
                <a:gd name="connsiteY27" fmla="*/ 5773 h 10610"/>
                <a:gd name="connsiteX28" fmla="*/ 103 w 10117"/>
                <a:gd name="connsiteY28" fmla="*/ 5816 h 10610"/>
                <a:gd name="connsiteX29" fmla="*/ 0 w 10117"/>
                <a:gd name="connsiteY29" fmla="*/ 5857 h 10610"/>
                <a:gd name="connsiteX30" fmla="*/ 210 w 10117"/>
                <a:gd name="connsiteY30" fmla="*/ 8550 h 10610"/>
                <a:gd name="connsiteX31" fmla="*/ 3301 w 10117"/>
                <a:gd name="connsiteY31" fmla="*/ 10610 h 10610"/>
                <a:gd name="connsiteX32" fmla="*/ 3606 w 10117"/>
                <a:gd name="connsiteY32" fmla="*/ 10485 h 10610"/>
                <a:gd name="connsiteX33" fmla="*/ 3848 w 10117"/>
                <a:gd name="connsiteY33" fmla="*/ 10386 h 10610"/>
                <a:gd name="connsiteX34" fmla="*/ 4084 w 10117"/>
                <a:gd name="connsiteY34" fmla="*/ 10287 h 10610"/>
                <a:gd name="connsiteX35" fmla="*/ 4317 w 10117"/>
                <a:gd name="connsiteY35" fmla="*/ 10183 h 10610"/>
                <a:gd name="connsiteX36" fmla="*/ 4549 w 10117"/>
                <a:gd name="connsiteY36" fmla="*/ 10074 h 10610"/>
                <a:gd name="connsiteX37" fmla="*/ 4767 w 10117"/>
                <a:gd name="connsiteY37" fmla="*/ 9967 h 10610"/>
                <a:gd name="connsiteX38" fmla="*/ 4988 w 10117"/>
                <a:gd name="connsiteY38" fmla="*/ 9849 h 10610"/>
                <a:gd name="connsiteX39" fmla="*/ 5209 w 10117"/>
                <a:gd name="connsiteY39" fmla="*/ 9736 h 10610"/>
                <a:gd name="connsiteX40" fmla="*/ 5419 w 10117"/>
                <a:gd name="connsiteY40" fmla="*/ 9615 h 10610"/>
                <a:gd name="connsiteX41" fmla="*/ 5635 w 10117"/>
                <a:gd name="connsiteY41" fmla="*/ 9491 h 10610"/>
                <a:gd name="connsiteX42" fmla="*/ 5839 w 10117"/>
                <a:gd name="connsiteY42" fmla="*/ 9362 h 10610"/>
                <a:gd name="connsiteX43" fmla="*/ 6043 w 10117"/>
                <a:gd name="connsiteY43" fmla="*/ 9235 h 10610"/>
                <a:gd name="connsiteX44" fmla="*/ 6239 w 10117"/>
                <a:gd name="connsiteY44" fmla="*/ 9105 h 10610"/>
                <a:gd name="connsiteX45" fmla="*/ 6438 w 10117"/>
                <a:gd name="connsiteY45" fmla="*/ 8967 h 10610"/>
                <a:gd name="connsiteX46" fmla="*/ 6629 w 10117"/>
                <a:gd name="connsiteY46" fmla="*/ 8825 h 10610"/>
                <a:gd name="connsiteX47" fmla="*/ 6814 w 10117"/>
                <a:gd name="connsiteY47" fmla="*/ 8689 h 10610"/>
                <a:gd name="connsiteX48" fmla="*/ 6997 w 10117"/>
                <a:gd name="connsiteY48" fmla="*/ 8544 h 10610"/>
                <a:gd name="connsiteX49" fmla="*/ 7173 w 10117"/>
                <a:gd name="connsiteY49" fmla="*/ 8396 h 10610"/>
                <a:gd name="connsiteX50" fmla="*/ 7349 w 10117"/>
                <a:gd name="connsiteY50" fmla="*/ 8248 h 10610"/>
                <a:gd name="connsiteX51" fmla="*/ 7518 w 10117"/>
                <a:gd name="connsiteY51" fmla="*/ 8097 h 10610"/>
                <a:gd name="connsiteX52" fmla="*/ 7686 w 10117"/>
                <a:gd name="connsiteY52" fmla="*/ 7940 h 10610"/>
                <a:gd name="connsiteX53" fmla="*/ 7842 w 10117"/>
                <a:gd name="connsiteY53" fmla="*/ 7782 h 10610"/>
                <a:gd name="connsiteX54" fmla="*/ 7995 w 10117"/>
                <a:gd name="connsiteY54" fmla="*/ 7623 h 10610"/>
                <a:gd name="connsiteX55" fmla="*/ 8150 w 10117"/>
                <a:gd name="connsiteY55" fmla="*/ 7463 h 10610"/>
                <a:gd name="connsiteX56" fmla="*/ 8293 w 10117"/>
                <a:gd name="connsiteY56" fmla="*/ 7296 h 10610"/>
                <a:gd name="connsiteX57" fmla="*/ 8433 w 10117"/>
                <a:gd name="connsiteY57" fmla="*/ 7132 h 10610"/>
                <a:gd name="connsiteX58" fmla="*/ 8569 w 10117"/>
                <a:gd name="connsiteY58" fmla="*/ 6962 h 10610"/>
                <a:gd name="connsiteX59" fmla="*/ 8695 w 10117"/>
                <a:gd name="connsiteY59" fmla="*/ 6788 h 10610"/>
                <a:gd name="connsiteX60" fmla="*/ 8819 w 10117"/>
                <a:gd name="connsiteY60" fmla="*/ 6614 h 10610"/>
                <a:gd name="connsiteX61" fmla="*/ 8945 w 10117"/>
                <a:gd name="connsiteY61" fmla="*/ 6440 h 10610"/>
                <a:gd name="connsiteX62" fmla="*/ 9063 w 10117"/>
                <a:gd name="connsiteY62" fmla="*/ 6262 h 10610"/>
                <a:gd name="connsiteX63" fmla="*/ 9167 w 10117"/>
                <a:gd name="connsiteY63" fmla="*/ 6084 h 10610"/>
                <a:gd name="connsiteX64" fmla="*/ 9274 w 10117"/>
                <a:gd name="connsiteY64" fmla="*/ 5902 h 10610"/>
                <a:gd name="connsiteX65" fmla="*/ 9369 w 10117"/>
                <a:gd name="connsiteY65" fmla="*/ 5716 h 10610"/>
                <a:gd name="connsiteX66" fmla="*/ 9465 w 10117"/>
                <a:gd name="connsiteY66" fmla="*/ 5533 h 10610"/>
                <a:gd name="connsiteX67" fmla="*/ 9549 w 10117"/>
                <a:gd name="connsiteY67" fmla="*/ 5344 h 10610"/>
                <a:gd name="connsiteX68" fmla="*/ 9630 w 10117"/>
                <a:gd name="connsiteY68" fmla="*/ 5153 h 10610"/>
                <a:gd name="connsiteX69" fmla="*/ 9704 w 10117"/>
                <a:gd name="connsiteY69" fmla="*/ 4961 h 10610"/>
                <a:gd name="connsiteX70" fmla="*/ 9777 w 10117"/>
                <a:gd name="connsiteY70" fmla="*/ 4771 h 10610"/>
                <a:gd name="connsiteX71" fmla="*/ 9839 w 10117"/>
                <a:gd name="connsiteY71" fmla="*/ 4578 h 10610"/>
                <a:gd name="connsiteX72" fmla="*/ 9898 w 10117"/>
                <a:gd name="connsiteY72" fmla="*/ 4381 h 10610"/>
                <a:gd name="connsiteX73" fmla="*/ 9635 w 10117"/>
                <a:gd name="connsiteY73" fmla="*/ 0 h 10610"/>
                <a:gd name="connsiteX74" fmla="*/ 6408 w 10117"/>
                <a:gd name="connsiteY74" fmla="*/ 1883 h 10610"/>
                <a:gd name="connsiteX75" fmla="*/ 2450 w 10117"/>
                <a:gd name="connsiteY75" fmla="*/ 1500 h 10610"/>
                <a:gd name="connsiteX0" fmla="*/ 2450 w 10117"/>
                <a:gd name="connsiteY0" fmla="*/ 1500 h 10610"/>
                <a:gd name="connsiteX1" fmla="*/ 2110 w 10117"/>
                <a:gd name="connsiteY1" fmla="*/ 4265 h 10610"/>
                <a:gd name="connsiteX2" fmla="*/ 2058 w 10117"/>
                <a:gd name="connsiteY2" fmla="*/ 4339 h 10610"/>
                <a:gd name="connsiteX3" fmla="*/ 2001 w 10117"/>
                <a:gd name="connsiteY3" fmla="*/ 4412 h 10610"/>
                <a:gd name="connsiteX4" fmla="*/ 1950 w 10117"/>
                <a:gd name="connsiteY4" fmla="*/ 4486 h 10610"/>
                <a:gd name="connsiteX5" fmla="*/ 1890 w 10117"/>
                <a:gd name="connsiteY5" fmla="*/ 4557 h 10610"/>
                <a:gd name="connsiteX6" fmla="*/ 1827 w 10117"/>
                <a:gd name="connsiteY6" fmla="*/ 4623 h 10610"/>
                <a:gd name="connsiteX7" fmla="*/ 1762 w 10117"/>
                <a:gd name="connsiteY7" fmla="*/ 4691 h 10610"/>
                <a:gd name="connsiteX8" fmla="*/ 1702 w 10117"/>
                <a:gd name="connsiteY8" fmla="*/ 4758 h 10610"/>
                <a:gd name="connsiteX9" fmla="*/ 1632 w 10117"/>
                <a:gd name="connsiteY9" fmla="*/ 4830 h 10610"/>
                <a:gd name="connsiteX10" fmla="*/ 1563 w 10117"/>
                <a:gd name="connsiteY10" fmla="*/ 4893 h 10610"/>
                <a:gd name="connsiteX11" fmla="*/ 1490 w 10117"/>
                <a:gd name="connsiteY11" fmla="*/ 4952 h 10610"/>
                <a:gd name="connsiteX12" fmla="*/ 1415 w 10117"/>
                <a:gd name="connsiteY12" fmla="*/ 5019 h 10610"/>
                <a:gd name="connsiteX13" fmla="*/ 1341 w 10117"/>
                <a:gd name="connsiteY13" fmla="*/ 5081 h 10610"/>
                <a:gd name="connsiteX14" fmla="*/ 1262 w 10117"/>
                <a:gd name="connsiteY14" fmla="*/ 5140 h 10610"/>
                <a:gd name="connsiteX15" fmla="*/ 1184 w 10117"/>
                <a:gd name="connsiteY15" fmla="*/ 5204 h 10610"/>
                <a:gd name="connsiteX16" fmla="*/ 1105 w 10117"/>
                <a:gd name="connsiteY16" fmla="*/ 5262 h 10610"/>
                <a:gd name="connsiteX17" fmla="*/ 1017 w 10117"/>
                <a:gd name="connsiteY17" fmla="*/ 5319 h 10610"/>
                <a:gd name="connsiteX18" fmla="*/ 937 w 10117"/>
                <a:gd name="connsiteY18" fmla="*/ 5373 h 10610"/>
                <a:gd name="connsiteX19" fmla="*/ 850 w 10117"/>
                <a:gd name="connsiteY19" fmla="*/ 5429 h 10610"/>
                <a:gd name="connsiteX20" fmla="*/ 765 w 10117"/>
                <a:gd name="connsiteY20" fmla="*/ 5481 h 10610"/>
                <a:gd name="connsiteX21" fmla="*/ 670 w 10117"/>
                <a:gd name="connsiteY21" fmla="*/ 5534 h 10610"/>
                <a:gd name="connsiteX22" fmla="*/ 581 w 10117"/>
                <a:gd name="connsiteY22" fmla="*/ 5583 h 10610"/>
                <a:gd name="connsiteX23" fmla="*/ 488 w 10117"/>
                <a:gd name="connsiteY23" fmla="*/ 5633 h 10610"/>
                <a:gd name="connsiteX24" fmla="*/ 393 w 10117"/>
                <a:gd name="connsiteY24" fmla="*/ 5681 h 10610"/>
                <a:gd name="connsiteX25" fmla="*/ 295 w 10117"/>
                <a:gd name="connsiteY25" fmla="*/ 5725 h 10610"/>
                <a:gd name="connsiteX26" fmla="*/ 198 w 10117"/>
                <a:gd name="connsiteY26" fmla="*/ 5773 h 10610"/>
                <a:gd name="connsiteX27" fmla="*/ 103 w 10117"/>
                <a:gd name="connsiteY27" fmla="*/ 5816 h 10610"/>
                <a:gd name="connsiteX28" fmla="*/ 0 w 10117"/>
                <a:gd name="connsiteY28" fmla="*/ 5857 h 10610"/>
                <a:gd name="connsiteX29" fmla="*/ 210 w 10117"/>
                <a:gd name="connsiteY29" fmla="*/ 8550 h 10610"/>
                <a:gd name="connsiteX30" fmla="*/ 3301 w 10117"/>
                <a:gd name="connsiteY30" fmla="*/ 10610 h 10610"/>
                <a:gd name="connsiteX31" fmla="*/ 3606 w 10117"/>
                <a:gd name="connsiteY31" fmla="*/ 10485 h 10610"/>
                <a:gd name="connsiteX32" fmla="*/ 3848 w 10117"/>
                <a:gd name="connsiteY32" fmla="*/ 10386 h 10610"/>
                <a:gd name="connsiteX33" fmla="*/ 4084 w 10117"/>
                <a:gd name="connsiteY33" fmla="*/ 10287 h 10610"/>
                <a:gd name="connsiteX34" fmla="*/ 4317 w 10117"/>
                <a:gd name="connsiteY34" fmla="*/ 10183 h 10610"/>
                <a:gd name="connsiteX35" fmla="*/ 4549 w 10117"/>
                <a:gd name="connsiteY35" fmla="*/ 10074 h 10610"/>
                <a:gd name="connsiteX36" fmla="*/ 4767 w 10117"/>
                <a:gd name="connsiteY36" fmla="*/ 9967 h 10610"/>
                <a:gd name="connsiteX37" fmla="*/ 4988 w 10117"/>
                <a:gd name="connsiteY37" fmla="*/ 9849 h 10610"/>
                <a:gd name="connsiteX38" fmla="*/ 5209 w 10117"/>
                <a:gd name="connsiteY38" fmla="*/ 9736 h 10610"/>
                <a:gd name="connsiteX39" fmla="*/ 5419 w 10117"/>
                <a:gd name="connsiteY39" fmla="*/ 9615 h 10610"/>
                <a:gd name="connsiteX40" fmla="*/ 5635 w 10117"/>
                <a:gd name="connsiteY40" fmla="*/ 9491 h 10610"/>
                <a:gd name="connsiteX41" fmla="*/ 5839 w 10117"/>
                <a:gd name="connsiteY41" fmla="*/ 9362 h 10610"/>
                <a:gd name="connsiteX42" fmla="*/ 6043 w 10117"/>
                <a:gd name="connsiteY42" fmla="*/ 9235 h 10610"/>
                <a:gd name="connsiteX43" fmla="*/ 6239 w 10117"/>
                <a:gd name="connsiteY43" fmla="*/ 9105 h 10610"/>
                <a:gd name="connsiteX44" fmla="*/ 6438 w 10117"/>
                <a:gd name="connsiteY44" fmla="*/ 8967 h 10610"/>
                <a:gd name="connsiteX45" fmla="*/ 6629 w 10117"/>
                <a:gd name="connsiteY45" fmla="*/ 8825 h 10610"/>
                <a:gd name="connsiteX46" fmla="*/ 6814 w 10117"/>
                <a:gd name="connsiteY46" fmla="*/ 8689 h 10610"/>
                <a:gd name="connsiteX47" fmla="*/ 6997 w 10117"/>
                <a:gd name="connsiteY47" fmla="*/ 8544 h 10610"/>
                <a:gd name="connsiteX48" fmla="*/ 7173 w 10117"/>
                <a:gd name="connsiteY48" fmla="*/ 8396 h 10610"/>
                <a:gd name="connsiteX49" fmla="*/ 7349 w 10117"/>
                <a:gd name="connsiteY49" fmla="*/ 8248 h 10610"/>
                <a:gd name="connsiteX50" fmla="*/ 7518 w 10117"/>
                <a:gd name="connsiteY50" fmla="*/ 8097 h 10610"/>
                <a:gd name="connsiteX51" fmla="*/ 7686 w 10117"/>
                <a:gd name="connsiteY51" fmla="*/ 7940 h 10610"/>
                <a:gd name="connsiteX52" fmla="*/ 7842 w 10117"/>
                <a:gd name="connsiteY52" fmla="*/ 7782 h 10610"/>
                <a:gd name="connsiteX53" fmla="*/ 7995 w 10117"/>
                <a:gd name="connsiteY53" fmla="*/ 7623 h 10610"/>
                <a:gd name="connsiteX54" fmla="*/ 8150 w 10117"/>
                <a:gd name="connsiteY54" fmla="*/ 7463 h 10610"/>
                <a:gd name="connsiteX55" fmla="*/ 8293 w 10117"/>
                <a:gd name="connsiteY55" fmla="*/ 7296 h 10610"/>
                <a:gd name="connsiteX56" fmla="*/ 8433 w 10117"/>
                <a:gd name="connsiteY56" fmla="*/ 7132 h 10610"/>
                <a:gd name="connsiteX57" fmla="*/ 8569 w 10117"/>
                <a:gd name="connsiteY57" fmla="*/ 6962 h 10610"/>
                <a:gd name="connsiteX58" fmla="*/ 8695 w 10117"/>
                <a:gd name="connsiteY58" fmla="*/ 6788 h 10610"/>
                <a:gd name="connsiteX59" fmla="*/ 8819 w 10117"/>
                <a:gd name="connsiteY59" fmla="*/ 6614 h 10610"/>
                <a:gd name="connsiteX60" fmla="*/ 8945 w 10117"/>
                <a:gd name="connsiteY60" fmla="*/ 6440 h 10610"/>
                <a:gd name="connsiteX61" fmla="*/ 9063 w 10117"/>
                <a:gd name="connsiteY61" fmla="*/ 6262 h 10610"/>
                <a:gd name="connsiteX62" fmla="*/ 9167 w 10117"/>
                <a:gd name="connsiteY62" fmla="*/ 6084 h 10610"/>
                <a:gd name="connsiteX63" fmla="*/ 9274 w 10117"/>
                <a:gd name="connsiteY63" fmla="*/ 5902 h 10610"/>
                <a:gd name="connsiteX64" fmla="*/ 9369 w 10117"/>
                <a:gd name="connsiteY64" fmla="*/ 5716 h 10610"/>
                <a:gd name="connsiteX65" fmla="*/ 9465 w 10117"/>
                <a:gd name="connsiteY65" fmla="*/ 5533 h 10610"/>
                <a:gd name="connsiteX66" fmla="*/ 9549 w 10117"/>
                <a:gd name="connsiteY66" fmla="*/ 5344 h 10610"/>
                <a:gd name="connsiteX67" fmla="*/ 9630 w 10117"/>
                <a:gd name="connsiteY67" fmla="*/ 5153 h 10610"/>
                <a:gd name="connsiteX68" fmla="*/ 9704 w 10117"/>
                <a:gd name="connsiteY68" fmla="*/ 4961 h 10610"/>
                <a:gd name="connsiteX69" fmla="*/ 9777 w 10117"/>
                <a:gd name="connsiteY69" fmla="*/ 4771 h 10610"/>
                <a:gd name="connsiteX70" fmla="*/ 9839 w 10117"/>
                <a:gd name="connsiteY70" fmla="*/ 4578 h 10610"/>
                <a:gd name="connsiteX71" fmla="*/ 9898 w 10117"/>
                <a:gd name="connsiteY71" fmla="*/ 4381 h 10610"/>
                <a:gd name="connsiteX72" fmla="*/ 9635 w 10117"/>
                <a:gd name="connsiteY72" fmla="*/ 0 h 10610"/>
                <a:gd name="connsiteX73" fmla="*/ 6408 w 10117"/>
                <a:gd name="connsiteY73" fmla="*/ 1883 h 10610"/>
                <a:gd name="connsiteX74" fmla="*/ 2450 w 10117"/>
                <a:gd name="connsiteY74" fmla="*/ 1500 h 10610"/>
                <a:gd name="connsiteX0" fmla="*/ 2450 w 10117"/>
                <a:gd name="connsiteY0" fmla="*/ 1500 h 10610"/>
                <a:gd name="connsiteX1" fmla="*/ 2058 w 10117"/>
                <a:gd name="connsiteY1" fmla="*/ 4339 h 10610"/>
                <a:gd name="connsiteX2" fmla="*/ 2001 w 10117"/>
                <a:gd name="connsiteY2" fmla="*/ 4412 h 10610"/>
                <a:gd name="connsiteX3" fmla="*/ 1950 w 10117"/>
                <a:gd name="connsiteY3" fmla="*/ 4486 h 10610"/>
                <a:gd name="connsiteX4" fmla="*/ 1890 w 10117"/>
                <a:gd name="connsiteY4" fmla="*/ 4557 h 10610"/>
                <a:gd name="connsiteX5" fmla="*/ 1827 w 10117"/>
                <a:gd name="connsiteY5" fmla="*/ 4623 h 10610"/>
                <a:gd name="connsiteX6" fmla="*/ 1762 w 10117"/>
                <a:gd name="connsiteY6" fmla="*/ 4691 h 10610"/>
                <a:gd name="connsiteX7" fmla="*/ 1702 w 10117"/>
                <a:gd name="connsiteY7" fmla="*/ 4758 h 10610"/>
                <a:gd name="connsiteX8" fmla="*/ 1632 w 10117"/>
                <a:gd name="connsiteY8" fmla="*/ 4830 h 10610"/>
                <a:gd name="connsiteX9" fmla="*/ 1563 w 10117"/>
                <a:gd name="connsiteY9" fmla="*/ 4893 h 10610"/>
                <a:gd name="connsiteX10" fmla="*/ 1490 w 10117"/>
                <a:gd name="connsiteY10" fmla="*/ 4952 h 10610"/>
                <a:gd name="connsiteX11" fmla="*/ 1415 w 10117"/>
                <a:gd name="connsiteY11" fmla="*/ 5019 h 10610"/>
                <a:gd name="connsiteX12" fmla="*/ 1341 w 10117"/>
                <a:gd name="connsiteY12" fmla="*/ 5081 h 10610"/>
                <a:gd name="connsiteX13" fmla="*/ 1262 w 10117"/>
                <a:gd name="connsiteY13" fmla="*/ 5140 h 10610"/>
                <a:gd name="connsiteX14" fmla="*/ 1184 w 10117"/>
                <a:gd name="connsiteY14" fmla="*/ 5204 h 10610"/>
                <a:gd name="connsiteX15" fmla="*/ 1105 w 10117"/>
                <a:gd name="connsiteY15" fmla="*/ 5262 h 10610"/>
                <a:gd name="connsiteX16" fmla="*/ 1017 w 10117"/>
                <a:gd name="connsiteY16" fmla="*/ 5319 h 10610"/>
                <a:gd name="connsiteX17" fmla="*/ 937 w 10117"/>
                <a:gd name="connsiteY17" fmla="*/ 5373 h 10610"/>
                <a:gd name="connsiteX18" fmla="*/ 850 w 10117"/>
                <a:gd name="connsiteY18" fmla="*/ 5429 h 10610"/>
                <a:gd name="connsiteX19" fmla="*/ 765 w 10117"/>
                <a:gd name="connsiteY19" fmla="*/ 5481 h 10610"/>
                <a:gd name="connsiteX20" fmla="*/ 670 w 10117"/>
                <a:gd name="connsiteY20" fmla="*/ 5534 h 10610"/>
                <a:gd name="connsiteX21" fmla="*/ 581 w 10117"/>
                <a:gd name="connsiteY21" fmla="*/ 5583 h 10610"/>
                <a:gd name="connsiteX22" fmla="*/ 488 w 10117"/>
                <a:gd name="connsiteY22" fmla="*/ 5633 h 10610"/>
                <a:gd name="connsiteX23" fmla="*/ 393 w 10117"/>
                <a:gd name="connsiteY23" fmla="*/ 5681 h 10610"/>
                <a:gd name="connsiteX24" fmla="*/ 295 w 10117"/>
                <a:gd name="connsiteY24" fmla="*/ 5725 h 10610"/>
                <a:gd name="connsiteX25" fmla="*/ 198 w 10117"/>
                <a:gd name="connsiteY25" fmla="*/ 5773 h 10610"/>
                <a:gd name="connsiteX26" fmla="*/ 103 w 10117"/>
                <a:gd name="connsiteY26" fmla="*/ 5816 h 10610"/>
                <a:gd name="connsiteX27" fmla="*/ 0 w 10117"/>
                <a:gd name="connsiteY27" fmla="*/ 5857 h 10610"/>
                <a:gd name="connsiteX28" fmla="*/ 210 w 10117"/>
                <a:gd name="connsiteY28" fmla="*/ 8550 h 10610"/>
                <a:gd name="connsiteX29" fmla="*/ 3301 w 10117"/>
                <a:gd name="connsiteY29" fmla="*/ 10610 h 10610"/>
                <a:gd name="connsiteX30" fmla="*/ 3606 w 10117"/>
                <a:gd name="connsiteY30" fmla="*/ 10485 h 10610"/>
                <a:gd name="connsiteX31" fmla="*/ 3848 w 10117"/>
                <a:gd name="connsiteY31" fmla="*/ 10386 h 10610"/>
                <a:gd name="connsiteX32" fmla="*/ 4084 w 10117"/>
                <a:gd name="connsiteY32" fmla="*/ 10287 h 10610"/>
                <a:gd name="connsiteX33" fmla="*/ 4317 w 10117"/>
                <a:gd name="connsiteY33" fmla="*/ 10183 h 10610"/>
                <a:gd name="connsiteX34" fmla="*/ 4549 w 10117"/>
                <a:gd name="connsiteY34" fmla="*/ 10074 h 10610"/>
                <a:gd name="connsiteX35" fmla="*/ 4767 w 10117"/>
                <a:gd name="connsiteY35" fmla="*/ 9967 h 10610"/>
                <a:gd name="connsiteX36" fmla="*/ 4988 w 10117"/>
                <a:gd name="connsiteY36" fmla="*/ 9849 h 10610"/>
                <a:gd name="connsiteX37" fmla="*/ 5209 w 10117"/>
                <a:gd name="connsiteY37" fmla="*/ 9736 h 10610"/>
                <a:gd name="connsiteX38" fmla="*/ 5419 w 10117"/>
                <a:gd name="connsiteY38" fmla="*/ 9615 h 10610"/>
                <a:gd name="connsiteX39" fmla="*/ 5635 w 10117"/>
                <a:gd name="connsiteY39" fmla="*/ 9491 h 10610"/>
                <a:gd name="connsiteX40" fmla="*/ 5839 w 10117"/>
                <a:gd name="connsiteY40" fmla="*/ 9362 h 10610"/>
                <a:gd name="connsiteX41" fmla="*/ 6043 w 10117"/>
                <a:gd name="connsiteY41" fmla="*/ 9235 h 10610"/>
                <a:gd name="connsiteX42" fmla="*/ 6239 w 10117"/>
                <a:gd name="connsiteY42" fmla="*/ 9105 h 10610"/>
                <a:gd name="connsiteX43" fmla="*/ 6438 w 10117"/>
                <a:gd name="connsiteY43" fmla="*/ 8967 h 10610"/>
                <a:gd name="connsiteX44" fmla="*/ 6629 w 10117"/>
                <a:gd name="connsiteY44" fmla="*/ 8825 h 10610"/>
                <a:gd name="connsiteX45" fmla="*/ 6814 w 10117"/>
                <a:gd name="connsiteY45" fmla="*/ 8689 h 10610"/>
                <a:gd name="connsiteX46" fmla="*/ 6997 w 10117"/>
                <a:gd name="connsiteY46" fmla="*/ 8544 h 10610"/>
                <a:gd name="connsiteX47" fmla="*/ 7173 w 10117"/>
                <a:gd name="connsiteY47" fmla="*/ 8396 h 10610"/>
                <a:gd name="connsiteX48" fmla="*/ 7349 w 10117"/>
                <a:gd name="connsiteY48" fmla="*/ 8248 h 10610"/>
                <a:gd name="connsiteX49" fmla="*/ 7518 w 10117"/>
                <a:gd name="connsiteY49" fmla="*/ 8097 h 10610"/>
                <a:gd name="connsiteX50" fmla="*/ 7686 w 10117"/>
                <a:gd name="connsiteY50" fmla="*/ 7940 h 10610"/>
                <a:gd name="connsiteX51" fmla="*/ 7842 w 10117"/>
                <a:gd name="connsiteY51" fmla="*/ 7782 h 10610"/>
                <a:gd name="connsiteX52" fmla="*/ 7995 w 10117"/>
                <a:gd name="connsiteY52" fmla="*/ 7623 h 10610"/>
                <a:gd name="connsiteX53" fmla="*/ 8150 w 10117"/>
                <a:gd name="connsiteY53" fmla="*/ 7463 h 10610"/>
                <a:gd name="connsiteX54" fmla="*/ 8293 w 10117"/>
                <a:gd name="connsiteY54" fmla="*/ 7296 h 10610"/>
                <a:gd name="connsiteX55" fmla="*/ 8433 w 10117"/>
                <a:gd name="connsiteY55" fmla="*/ 7132 h 10610"/>
                <a:gd name="connsiteX56" fmla="*/ 8569 w 10117"/>
                <a:gd name="connsiteY56" fmla="*/ 6962 h 10610"/>
                <a:gd name="connsiteX57" fmla="*/ 8695 w 10117"/>
                <a:gd name="connsiteY57" fmla="*/ 6788 h 10610"/>
                <a:gd name="connsiteX58" fmla="*/ 8819 w 10117"/>
                <a:gd name="connsiteY58" fmla="*/ 6614 h 10610"/>
                <a:gd name="connsiteX59" fmla="*/ 8945 w 10117"/>
                <a:gd name="connsiteY59" fmla="*/ 6440 h 10610"/>
                <a:gd name="connsiteX60" fmla="*/ 9063 w 10117"/>
                <a:gd name="connsiteY60" fmla="*/ 6262 h 10610"/>
                <a:gd name="connsiteX61" fmla="*/ 9167 w 10117"/>
                <a:gd name="connsiteY61" fmla="*/ 6084 h 10610"/>
                <a:gd name="connsiteX62" fmla="*/ 9274 w 10117"/>
                <a:gd name="connsiteY62" fmla="*/ 5902 h 10610"/>
                <a:gd name="connsiteX63" fmla="*/ 9369 w 10117"/>
                <a:gd name="connsiteY63" fmla="*/ 5716 h 10610"/>
                <a:gd name="connsiteX64" fmla="*/ 9465 w 10117"/>
                <a:gd name="connsiteY64" fmla="*/ 5533 h 10610"/>
                <a:gd name="connsiteX65" fmla="*/ 9549 w 10117"/>
                <a:gd name="connsiteY65" fmla="*/ 5344 h 10610"/>
                <a:gd name="connsiteX66" fmla="*/ 9630 w 10117"/>
                <a:gd name="connsiteY66" fmla="*/ 5153 h 10610"/>
                <a:gd name="connsiteX67" fmla="*/ 9704 w 10117"/>
                <a:gd name="connsiteY67" fmla="*/ 4961 h 10610"/>
                <a:gd name="connsiteX68" fmla="*/ 9777 w 10117"/>
                <a:gd name="connsiteY68" fmla="*/ 4771 h 10610"/>
                <a:gd name="connsiteX69" fmla="*/ 9839 w 10117"/>
                <a:gd name="connsiteY69" fmla="*/ 4578 h 10610"/>
                <a:gd name="connsiteX70" fmla="*/ 9898 w 10117"/>
                <a:gd name="connsiteY70" fmla="*/ 4381 h 10610"/>
                <a:gd name="connsiteX71" fmla="*/ 9635 w 10117"/>
                <a:gd name="connsiteY71" fmla="*/ 0 h 10610"/>
                <a:gd name="connsiteX72" fmla="*/ 6408 w 10117"/>
                <a:gd name="connsiteY72" fmla="*/ 1883 h 10610"/>
                <a:gd name="connsiteX73" fmla="*/ 2450 w 10117"/>
                <a:gd name="connsiteY73" fmla="*/ 1500 h 10610"/>
                <a:gd name="connsiteX0" fmla="*/ 2450 w 10117"/>
                <a:gd name="connsiteY0" fmla="*/ 1500 h 10610"/>
                <a:gd name="connsiteX1" fmla="*/ 2001 w 10117"/>
                <a:gd name="connsiteY1" fmla="*/ 4412 h 10610"/>
                <a:gd name="connsiteX2" fmla="*/ 1950 w 10117"/>
                <a:gd name="connsiteY2" fmla="*/ 4486 h 10610"/>
                <a:gd name="connsiteX3" fmla="*/ 1890 w 10117"/>
                <a:gd name="connsiteY3" fmla="*/ 4557 h 10610"/>
                <a:gd name="connsiteX4" fmla="*/ 1827 w 10117"/>
                <a:gd name="connsiteY4" fmla="*/ 4623 h 10610"/>
                <a:gd name="connsiteX5" fmla="*/ 1762 w 10117"/>
                <a:gd name="connsiteY5" fmla="*/ 4691 h 10610"/>
                <a:gd name="connsiteX6" fmla="*/ 1702 w 10117"/>
                <a:gd name="connsiteY6" fmla="*/ 4758 h 10610"/>
                <a:gd name="connsiteX7" fmla="*/ 1632 w 10117"/>
                <a:gd name="connsiteY7" fmla="*/ 4830 h 10610"/>
                <a:gd name="connsiteX8" fmla="*/ 1563 w 10117"/>
                <a:gd name="connsiteY8" fmla="*/ 4893 h 10610"/>
                <a:gd name="connsiteX9" fmla="*/ 1490 w 10117"/>
                <a:gd name="connsiteY9" fmla="*/ 4952 h 10610"/>
                <a:gd name="connsiteX10" fmla="*/ 1415 w 10117"/>
                <a:gd name="connsiteY10" fmla="*/ 5019 h 10610"/>
                <a:gd name="connsiteX11" fmla="*/ 1341 w 10117"/>
                <a:gd name="connsiteY11" fmla="*/ 5081 h 10610"/>
                <a:gd name="connsiteX12" fmla="*/ 1262 w 10117"/>
                <a:gd name="connsiteY12" fmla="*/ 5140 h 10610"/>
                <a:gd name="connsiteX13" fmla="*/ 1184 w 10117"/>
                <a:gd name="connsiteY13" fmla="*/ 5204 h 10610"/>
                <a:gd name="connsiteX14" fmla="*/ 1105 w 10117"/>
                <a:gd name="connsiteY14" fmla="*/ 5262 h 10610"/>
                <a:gd name="connsiteX15" fmla="*/ 1017 w 10117"/>
                <a:gd name="connsiteY15" fmla="*/ 5319 h 10610"/>
                <a:gd name="connsiteX16" fmla="*/ 937 w 10117"/>
                <a:gd name="connsiteY16" fmla="*/ 5373 h 10610"/>
                <a:gd name="connsiteX17" fmla="*/ 850 w 10117"/>
                <a:gd name="connsiteY17" fmla="*/ 5429 h 10610"/>
                <a:gd name="connsiteX18" fmla="*/ 765 w 10117"/>
                <a:gd name="connsiteY18" fmla="*/ 5481 h 10610"/>
                <a:gd name="connsiteX19" fmla="*/ 670 w 10117"/>
                <a:gd name="connsiteY19" fmla="*/ 5534 h 10610"/>
                <a:gd name="connsiteX20" fmla="*/ 581 w 10117"/>
                <a:gd name="connsiteY20" fmla="*/ 5583 h 10610"/>
                <a:gd name="connsiteX21" fmla="*/ 488 w 10117"/>
                <a:gd name="connsiteY21" fmla="*/ 5633 h 10610"/>
                <a:gd name="connsiteX22" fmla="*/ 393 w 10117"/>
                <a:gd name="connsiteY22" fmla="*/ 5681 h 10610"/>
                <a:gd name="connsiteX23" fmla="*/ 295 w 10117"/>
                <a:gd name="connsiteY23" fmla="*/ 5725 h 10610"/>
                <a:gd name="connsiteX24" fmla="*/ 198 w 10117"/>
                <a:gd name="connsiteY24" fmla="*/ 5773 h 10610"/>
                <a:gd name="connsiteX25" fmla="*/ 103 w 10117"/>
                <a:gd name="connsiteY25" fmla="*/ 5816 h 10610"/>
                <a:gd name="connsiteX26" fmla="*/ 0 w 10117"/>
                <a:gd name="connsiteY26" fmla="*/ 5857 h 10610"/>
                <a:gd name="connsiteX27" fmla="*/ 210 w 10117"/>
                <a:gd name="connsiteY27" fmla="*/ 8550 h 10610"/>
                <a:gd name="connsiteX28" fmla="*/ 3301 w 10117"/>
                <a:gd name="connsiteY28" fmla="*/ 10610 h 10610"/>
                <a:gd name="connsiteX29" fmla="*/ 3606 w 10117"/>
                <a:gd name="connsiteY29" fmla="*/ 10485 h 10610"/>
                <a:gd name="connsiteX30" fmla="*/ 3848 w 10117"/>
                <a:gd name="connsiteY30" fmla="*/ 10386 h 10610"/>
                <a:gd name="connsiteX31" fmla="*/ 4084 w 10117"/>
                <a:gd name="connsiteY31" fmla="*/ 10287 h 10610"/>
                <a:gd name="connsiteX32" fmla="*/ 4317 w 10117"/>
                <a:gd name="connsiteY32" fmla="*/ 10183 h 10610"/>
                <a:gd name="connsiteX33" fmla="*/ 4549 w 10117"/>
                <a:gd name="connsiteY33" fmla="*/ 10074 h 10610"/>
                <a:gd name="connsiteX34" fmla="*/ 4767 w 10117"/>
                <a:gd name="connsiteY34" fmla="*/ 9967 h 10610"/>
                <a:gd name="connsiteX35" fmla="*/ 4988 w 10117"/>
                <a:gd name="connsiteY35" fmla="*/ 9849 h 10610"/>
                <a:gd name="connsiteX36" fmla="*/ 5209 w 10117"/>
                <a:gd name="connsiteY36" fmla="*/ 9736 h 10610"/>
                <a:gd name="connsiteX37" fmla="*/ 5419 w 10117"/>
                <a:gd name="connsiteY37" fmla="*/ 9615 h 10610"/>
                <a:gd name="connsiteX38" fmla="*/ 5635 w 10117"/>
                <a:gd name="connsiteY38" fmla="*/ 9491 h 10610"/>
                <a:gd name="connsiteX39" fmla="*/ 5839 w 10117"/>
                <a:gd name="connsiteY39" fmla="*/ 9362 h 10610"/>
                <a:gd name="connsiteX40" fmla="*/ 6043 w 10117"/>
                <a:gd name="connsiteY40" fmla="*/ 9235 h 10610"/>
                <a:gd name="connsiteX41" fmla="*/ 6239 w 10117"/>
                <a:gd name="connsiteY41" fmla="*/ 9105 h 10610"/>
                <a:gd name="connsiteX42" fmla="*/ 6438 w 10117"/>
                <a:gd name="connsiteY42" fmla="*/ 8967 h 10610"/>
                <a:gd name="connsiteX43" fmla="*/ 6629 w 10117"/>
                <a:gd name="connsiteY43" fmla="*/ 8825 h 10610"/>
                <a:gd name="connsiteX44" fmla="*/ 6814 w 10117"/>
                <a:gd name="connsiteY44" fmla="*/ 8689 h 10610"/>
                <a:gd name="connsiteX45" fmla="*/ 6997 w 10117"/>
                <a:gd name="connsiteY45" fmla="*/ 8544 h 10610"/>
                <a:gd name="connsiteX46" fmla="*/ 7173 w 10117"/>
                <a:gd name="connsiteY46" fmla="*/ 8396 h 10610"/>
                <a:gd name="connsiteX47" fmla="*/ 7349 w 10117"/>
                <a:gd name="connsiteY47" fmla="*/ 8248 h 10610"/>
                <a:gd name="connsiteX48" fmla="*/ 7518 w 10117"/>
                <a:gd name="connsiteY48" fmla="*/ 8097 h 10610"/>
                <a:gd name="connsiteX49" fmla="*/ 7686 w 10117"/>
                <a:gd name="connsiteY49" fmla="*/ 7940 h 10610"/>
                <a:gd name="connsiteX50" fmla="*/ 7842 w 10117"/>
                <a:gd name="connsiteY50" fmla="*/ 7782 h 10610"/>
                <a:gd name="connsiteX51" fmla="*/ 7995 w 10117"/>
                <a:gd name="connsiteY51" fmla="*/ 7623 h 10610"/>
                <a:gd name="connsiteX52" fmla="*/ 8150 w 10117"/>
                <a:gd name="connsiteY52" fmla="*/ 7463 h 10610"/>
                <a:gd name="connsiteX53" fmla="*/ 8293 w 10117"/>
                <a:gd name="connsiteY53" fmla="*/ 7296 h 10610"/>
                <a:gd name="connsiteX54" fmla="*/ 8433 w 10117"/>
                <a:gd name="connsiteY54" fmla="*/ 7132 h 10610"/>
                <a:gd name="connsiteX55" fmla="*/ 8569 w 10117"/>
                <a:gd name="connsiteY55" fmla="*/ 6962 h 10610"/>
                <a:gd name="connsiteX56" fmla="*/ 8695 w 10117"/>
                <a:gd name="connsiteY56" fmla="*/ 6788 h 10610"/>
                <a:gd name="connsiteX57" fmla="*/ 8819 w 10117"/>
                <a:gd name="connsiteY57" fmla="*/ 6614 h 10610"/>
                <a:gd name="connsiteX58" fmla="*/ 8945 w 10117"/>
                <a:gd name="connsiteY58" fmla="*/ 6440 h 10610"/>
                <a:gd name="connsiteX59" fmla="*/ 9063 w 10117"/>
                <a:gd name="connsiteY59" fmla="*/ 6262 h 10610"/>
                <a:gd name="connsiteX60" fmla="*/ 9167 w 10117"/>
                <a:gd name="connsiteY60" fmla="*/ 6084 h 10610"/>
                <a:gd name="connsiteX61" fmla="*/ 9274 w 10117"/>
                <a:gd name="connsiteY61" fmla="*/ 5902 h 10610"/>
                <a:gd name="connsiteX62" fmla="*/ 9369 w 10117"/>
                <a:gd name="connsiteY62" fmla="*/ 5716 h 10610"/>
                <a:gd name="connsiteX63" fmla="*/ 9465 w 10117"/>
                <a:gd name="connsiteY63" fmla="*/ 5533 h 10610"/>
                <a:gd name="connsiteX64" fmla="*/ 9549 w 10117"/>
                <a:gd name="connsiteY64" fmla="*/ 5344 h 10610"/>
                <a:gd name="connsiteX65" fmla="*/ 9630 w 10117"/>
                <a:gd name="connsiteY65" fmla="*/ 5153 h 10610"/>
                <a:gd name="connsiteX66" fmla="*/ 9704 w 10117"/>
                <a:gd name="connsiteY66" fmla="*/ 4961 h 10610"/>
                <a:gd name="connsiteX67" fmla="*/ 9777 w 10117"/>
                <a:gd name="connsiteY67" fmla="*/ 4771 h 10610"/>
                <a:gd name="connsiteX68" fmla="*/ 9839 w 10117"/>
                <a:gd name="connsiteY68" fmla="*/ 4578 h 10610"/>
                <a:gd name="connsiteX69" fmla="*/ 9898 w 10117"/>
                <a:gd name="connsiteY69" fmla="*/ 4381 h 10610"/>
                <a:gd name="connsiteX70" fmla="*/ 9635 w 10117"/>
                <a:gd name="connsiteY70" fmla="*/ 0 h 10610"/>
                <a:gd name="connsiteX71" fmla="*/ 6408 w 10117"/>
                <a:gd name="connsiteY71" fmla="*/ 1883 h 10610"/>
                <a:gd name="connsiteX72" fmla="*/ 2450 w 10117"/>
                <a:gd name="connsiteY72" fmla="*/ 1500 h 10610"/>
                <a:gd name="connsiteX0" fmla="*/ 2450 w 10117"/>
                <a:gd name="connsiteY0" fmla="*/ 1500 h 10610"/>
                <a:gd name="connsiteX1" fmla="*/ 1950 w 10117"/>
                <a:gd name="connsiteY1" fmla="*/ 4486 h 10610"/>
                <a:gd name="connsiteX2" fmla="*/ 1890 w 10117"/>
                <a:gd name="connsiteY2" fmla="*/ 4557 h 10610"/>
                <a:gd name="connsiteX3" fmla="*/ 1827 w 10117"/>
                <a:gd name="connsiteY3" fmla="*/ 4623 h 10610"/>
                <a:gd name="connsiteX4" fmla="*/ 1762 w 10117"/>
                <a:gd name="connsiteY4" fmla="*/ 4691 h 10610"/>
                <a:gd name="connsiteX5" fmla="*/ 1702 w 10117"/>
                <a:gd name="connsiteY5" fmla="*/ 4758 h 10610"/>
                <a:gd name="connsiteX6" fmla="*/ 1632 w 10117"/>
                <a:gd name="connsiteY6" fmla="*/ 4830 h 10610"/>
                <a:gd name="connsiteX7" fmla="*/ 1563 w 10117"/>
                <a:gd name="connsiteY7" fmla="*/ 4893 h 10610"/>
                <a:gd name="connsiteX8" fmla="*/ 1490 w 10117"/>
                <a:gd name="connsiteY8" fmla="*/ 4952 h 10610"/>
                <a:gd name="connsiteX9" fmla="*/ 1415 w 10117"/>
                <a:gd name="connsiteY9" fmla="*/ 5019 h 10610"/>
                <a:gd name="connsiteX10" fmla="*/ 1341 w 10117"/>
                <a:gd name="connsiteY10" fmla="*/ 5081 h 10610"/>
                <a:gd name="connsiteX11" fmla="*/ 1262 w 10117"/>
                <a:gd name="connsiteY11" fmla="*/ 5140 h 10610"/>
                <a:gd name="connsiteX12" fmla="*/ 1184 w 10117"/>
                <a:gd name="connsiteY12" fmla="*/ 5204 h 10610"/>
                <a:gd name="connsiteX13" fmla="*/ 1105 w 10117"/>
                <a:gd name="connsiteY13" fmla="*/ 5262 h 10610"/>
                <a:gd name="connsiteX14" fmla="*/ 1017 w 10117"/>
                <a:gd name="connsiteY14" fmla="*/ 5319 h 10610"/>
                <a:gd name="connsiteX15" fmla="*/ 937 w 10117"/>
                <a:gd name="connsiteY15" fmla="*/ 5373 h 10610"/>
                <a:gd name="connsiteX16" fmla="*/ 850 w 10117"/>
                <a:gd name="connsiteY16" fmla="*/ 5429 h 10610"/>
                <a:gd name="connsiteX17" fmla="*/ 765 w 10117"/>
                <a:gd name="connsiteY17" fmla="*/ 5481 h 10610"/>
                <a:gd name="connsiteX18" fmla="*/ 670 w 10117"/>
                <a:gd name="connsiteY18" fmla="*/ 5534 h 10610"/>
                <a:gd name="connsiteX19" fmla="*/ 581 w 10117"/>
                <a:gd name="connsiteY19" fmla="*/ 5583 h 10610"/>
                <a:gd name="connsiteX20" fmla="*/ 488 w 10117"/>
                <a:gd name="connsiteY20" fmla="*/ 5633 h 10610"/>
                <a:gd name="connsiteX21" fmla="*/ 393 w 10117"/>
                <a:gd name="connsiteY21" fmla="*/ 5681 h 10610"/>
                <a:gd name="connsiteX22" fmla="*/ 295 w 10117"/>
                <a:gd name="connsiteY22" fmla="*/ 5725 h 10610"/>
                <a:gd name="connsiteX23" fmla="*/ 198 w 10117"/>
                <a:gd name="connsiteY23" fmla="*/ 5773 h 10610"/>
                <a:gd name="connsiteX24" fmla="*/ 103 w 10117"/>
                <a:gd name="connsiteY24" fmla="*/ 5816 h 10610"/>
                <a:gd name="connsiteX25" fmla="*/ 0 w 10117"/>
                <a:gd name="connsiteY25" fmla="*/ 5857 h 10610"/>
                <a:gd name="connsiteX26" fmla="*/ 210 w 10117"/>
                <a:gd name="connsiteY26" fmla="*/ 8550 h 10610"/>
                <a:gd name="connsiteX27" fmla="*/ 3301 w 10117"/>
                <a:gd name="connsiteY27" fmla="*/ 10610 h 10610"/>
                <a:gd name="connsiteX28" fmla="*/ 3606 w 10117"/>
                <a:gd name="connsiteY28" fmla="*/ 10485 h 10610"/>
                <a:gd name="connsiteX29" fmla="*/ 3848 w 10117"/>
                <a:gd name="connsiteY29" fmla="*/ 10386 h 10610"/>
                <a:gd name="connsiteX30" fmla="*/ 4084 w 10117"/>
                <a:gd name="connsiteY30" fmla="*/ 10287 h 10610"/>
                <a:gd name="connsiteX31" fmla="*/ 4317 w 10117"/>
                <a:gd name="connsiteY31" fmla="*/ 10183 h 10610"/>
                <a:gd name="connsiteX32" fmla="*/ 4549 w 10117"/>
                <a:gd name="connsiteY32" fmla="*/ 10074 h 10610"/>
                <a:gd name="connsiteX33" fmla="*/ 4767 w 10117"/>
                <a:gd name="connsiteY33" fmla="*/ 9967 h 10610"/>
                <a:gd name="connsiteX34" fmla="*/ 4988 w 10117"/>
                <a:gd name="connsiteY34" fmla="*/ 9849 h 10610"/>
                <a:gd name="connsiteX35" fmla="*/ 5209 w 10117"/>
                <a:gd name="connsiteY35" fmla="*/ 9736 h 10610"/>
                <a:gd name="connsiteX36" fmla="*/ 5419 w 10117"/>
                <a:gd name="connsiteY36" fmla="*/ 9615 h 10610"/>
                <a:gd name="connsiteX37" fmla="*/ 5635 w 10117"/>
                <a:gd name="connsiteY37" fmla="*/ 9491 h 10610"/>
                <a:gd name="connsiteX38" fmla="*/ 5839 w 10117"/>
                <a:gd name="connsiteY38" fmla="*/ 9362 h 10610"/>
                <a:gd name="connsiteX39" fmla="*/ 6043 w 10117"/>
                <a:gd name="connsiteY39" fmla="*/ 9235 h 10610"/>
                <a:gd name="connsiteX40" fmla="*/ 6239 w 10117"/>
                <a:gd name="connsiteY40" fmla="*/ 9105 h 10610"/>
                <a:gd name="connsiteX41" fmla="*/ 6438 w 10117"/>
                <a:gd name="connsiteY41" fmla="*/ 8967 h 10610"/>
                <a:gd name="connsiteX42" fmla="*/ 6629 w 10117"/>
                <a:gd name="connsiteY42" fmla="*/ 8825 h 10610"/>
                <a:gd name="connsiteX43" fmla="*/ 6814 w 10117"/>
                <a:gd name="connsiteY43" fmla="*/ 8689 h 10610"/>
                <a:gd name="connsiteX44" fmla="*/ 6997 w 10117"/>
                <a:gd name="connsiteY44" fmla="*/ 8544 h 10610"/>
                <a:gd name="connsiteX45" fmla="*/ 7173 w 10117"/>
                <a:gd name="connsiteY45" fmla="*/ 8396 h 10610"/>
                <a:gd name="connsiteX46" fmla="*/ 7349 w 10117"/>
                <a:gd name="connsiteY46" fmla="*/ 8248 h 10610"/>
                <a:gd name="connsiteX47" fmla="*/ 7518 w 10117"/>
                <a:gd name="connsiteY47" fmla="*/ 8097 h 10610"/>
                <a:gd name="connsiteX48" fmla="*/ 7686 w 10117"/>
                <a:gd name="connsiteY48" fmla="*/ 7940 h 10610"/>
                <a:gd name="connsiteX49" fmla="*/ 7842 w 10117"/>
                <a:gd name="connsiteY49" fmla="*/ 7782 h 10610"/>
                <a:gd name="connsiteX50" fmla="*/ 7995 w 10117"/>
                <a:gd name="connsiteY50" fmla="*/ 7623 h 10610"/>
                <a:gd name="connsiteX51" fmla="*/ 8150 w 10117"/>
                <a:gd name="connsiteY51" fmla="*/ 7463 h 10610"/>
                <a:gd name="connsiteX52" fmla="*/ 8293 w 10117"/>
                <a:gd name="connsiteY52" fmla="*/ 7296 h 10610"/>
                <a:gd name="connsiteX53" fmla="*/ 8433 w 10117"/>
                <a:gd name="connsiteY53" fmla="*/ 7132 h 10610"/>
                <a:gd name="connsiteX54" fmla="*/ 8569 w 10117"/>
                <a:gd name="connsiteY54" fmla="*/ 6962 h 10610"/>
                <a:gd name="connsiteX55" fmla="*/ 8695 w 10117"/>
                <a:gd name="connsiteY55" fmla="*/ 6788 h 10610"/>
                <a:gd name="connsiteX56" fmla="*/ 8819 w 10117"/>
                <a:gd name="connsiteY56" fmla="*/ 6614 h 10610"/>
                <a:gd name="connsiteX57" fmla="*/ 8945 w 10117"/>
                <a:gd name="connsiteY57" fmla="*/ 6440 h 10610"/>
                <a:gd name="connsiteX58" fmla="*/ 9063 w 10117"/>
                <a:gd name="connsiteY58" fmla="*/ 6262 h 10610"/>
                <a:gd name="connsiteX59" fmla="*/ 9167 w 10117"/>
                <a:gd name="connsiteY59" fmla="*/ 6084 h 10610"/>
                <a:gd name="connsiteX60" fmla="*/ 9274 w 10117"/>
                <a:gd name="connsiteY60" fmla="*/ 5902 h 10610"/>
                <a:gd name="connsiteX61" fmla="*/ 9369 w 10117"/>
                <a:gd name="connsiteY61" fmla="*/ 5716 h 10610"/>
                <a:gd name="connsiteX62" fmla="*/ 9465 w 10117"/>
                <a:gd name="connsiteY62" fmla="*/ 5533 h 10610"/>
                <a:gd name="connsiteX63" fmla="*/ 9549 w 10117"/>
                <a:gd name="connsiteY63" fmla="*/ 5344 h 10610"/>
                <a:gd name="connsiteX64" fmla="*/ 9630 w 10117"/>
                <a:gd name="connsiteY64" fmla="*/ 5153 h 10610"/>
                <a:gd name="connsiteX65" fmla="*/ 9704 w 10117"/>
                <a:gd name="connsiteY65" fmla="*/ 4961 h 10610"/>
                <a:gd name="connsiteX66" fmla="*/ 9777 w 10117"/>
                <a:gd name="connsiteY66" fmla="*/ 4771 h 10610"/>
                <a:gd name="connsiteX67" fmla="*/ 9839 w 10117"/>
                <a:gd name="connsiteY67" fmla="*/ 4578 h 10610"/>
                <a:gd name="connsiteX68" fmla="*/ 9898 w 10117"/>
                <a:gd name="connsiteY68" fmla="*/ 4381 h 10610"/>
                <a:gd name="connsiteX69" fmla="*/ 9635 w 10117"/>
                <a:gd name="connsiteY69" fmla="*/ 0 h 10610"/>
                <a:gd name="connsiteX70" fmla="*/ 6408 w 10117"/>
                <a:gd name="connsiteY70" fmla="*/ 1883 h 10610"/>
                <a:gd name="connsiteX71" fmla="*/ 2450 w 10117"/>
                <a:gd name="connsiteY71"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27 w 10117"/>
                <a:gd name="connsiteY1" fmla="*/ 4623 h 10610"/>
                <a:gd name="connsiteX2" fmla="*/ 1762 w 10117"/>
                <a:gd name="connsiteY2" fmla="*/ 4691 h 10610"/>
                <a:gd name="connsiteX3" fmla="*/ 1702 w 10117"/>
                <a:gd name="connsiteY3" fmla="*/ 4758 h 10610"/>
                <a:gd name="connsiteX4" fmla="*/ 1632 w 10117"/>
                <a:gd name="connsiteY4" fmla="*/ 4830 h 10610"/>
                <a:gd name="connsiteX5" fmla="*/ 1563 w 10117"/>
                <a:gd name="connsiteY5" fmla="*/ 4893 h 10610"/>
                <a:gd name="connsiteX6" fmla="*/ 1490 w 10117"/>
                <a:gd name="connsiteY6" fmla="*/ 4952 h 10610"/>
                <a:gd name="connsiteX7" fmla="*/ 1415 w 10117"/>
                <a:gd name="connsiteY7" fmla="*/ 5019 h 10610"/>
                <a:gd name="connsiteX8" fmla="*/ 1341 w 10117"/>
                <a:gd name="connsiteY8" fmla="*/ 5081 h 10610"/>
                <a:gd name="connsiteX9" fmla="*/ 1262 w 10117"/>
                <a:gd name="connsiteY9" fmla="*/ 5140 h 10610"/>
                <a:gd name="connsiteX10" fmla="*/ 1184 w 10117"/>
                <a:gd name="connsiteY10" fmla="*/ 5204 h 10610"/>
                <a:gd name="connsiteX11" fmla="*/ 1105 w 10117"/>
                <a:gd name="connsiteY11" fmla="*/ 5262 h 10610"/>
                <a:gd name="connsiteX12" fmla="*/ 1017 w 10117"/>
                <a:gd name="connsiteY12" fmla="*/ 5319 h 10610"/>
                <a:gd name="connsiteX13" fmla="*/ 937 w 10117"/>
                <a:gd name="connsiteY13" fmla="*/ 5373 h 10610"/>
                <a:gd name="connsiteX14" fmla="*/ 850 w 10117"/>
                <a:gd name="connsiteY14" fmla="*/ 5429 h 10610"/>
                <a:gd name="connsiteX15" fmla="*/ 765 w 10117"/>
                <a:gd name="connsiteY15" fmla="*/ 5481 h 10610"/>
                <a:gd name="connsiteX16" fmla="*/ 670 w 10117"/>
                <a:gd name="connsiteY16" fmla="*/ 5534 h 10610"/>
                <a:gd name="connsiteX17" fmla="*/ 581 w 10117"/>
                <a:gd name="connsiteY17" fmla="*/ 5583 h 10610"/>
                <a:gd name="connsiteX18" fmla="*/ 488 w 10117"/>
                <a:gd name="connsiteY18" fmla="*/ 5633 h 10610"/>
                <a:gd name="connsiteX19" fmla="*/ 393 w 10117"/>
                <a:gd name="connsiteY19" fmla="*/ 5681 h 10610"/>
                <a:gd name="connsiteX20" fmla="*/ 295 w 10117"/>
                <a:gd name="connsiteY20" fmla="*/ 5725 h 10610"/>
                <a:gd name="connsiteX21" fmla="*/ 198 w 10117"/>
                <a:gd name="connsiteY21" fmla="*/ 5773 h 10610"/>
                <a:gd name="connsiteX22" fmla="*/ 103 w 10117"/>
                <a:gd name="connsiteY22" fmla="*/ 5816 h 10610"/>
                <a:gd name="connsiteX23" fmla="*/ 0 w 10117"/>
                <a:gd name="connsiteY23" fmla="*/ 5857 h 10610"/>
                <a:gd name="connsiteX24" fmla="*/ 210 w 10117"/>
                <a:gd name="connsiteY24" fmla="*/ 8550 h 10610"/>
                <a:gd name="connsiteX25" fmla="*/ 3301 w 10117"/>
                <a:gd name="connsiteY25" fmla="*/ 10610 h 10610"/>
                <a:gd name="connsiteX26" fmla="*/ 3606 w 10117"/>
                <a:gd name="connsiteY26" fmla="*/ 10485 h 10610"/>
                <a:gd name="connsiteX27" fmla="*/ 3848 w 10117"/>
                <a:gd name="connsiteY27" fmla="*/ 10386 h 10610"/>
                <a:gd name="connsiteX28" fmla="*/ 4084 w 10117"/>
                <a:gd name="connsiteY28" fmla="*/ 10287 h 10610"/>
                <a:gd name="connsiteX29" fmla="*/ 4317 w 10117"/>
                <a:gd name="connsiteY29" fmla="*/ 10183 h 10610"/>
                <a:gd name="connsiteX30" fmla="*/ 4549 w 10117"/>
                <a:gd name="connsiteY30" fmla="*/ 10074 h 10610"/>
                <a:gd name="connsiteX31" fmla="*/ 4767 w 10117"/>
                <a:gd name="connsiteY31" fmla="*/ 9967 h 10610"/>
                <a:gd name="connsiteX32" fmla="*/ 4988 w 10117"/>
                <a:gd name="connsiteY32" fmla="*/ 9849 h 10610"/>
                <a:gd name="connsiteX33" fmla="*/ 5209 w 10117"/>
                <a:gd name="connsiteY33" fmla="*/ 9736 h 10610"/>
                <a:gd name="connsiteX34" fmla="*/ 5419 w 10117"/>
                <a:gd name="connsiteY34" fmla="*/ 9615 h 10610"/>
                <a:gd name="connsiteX35" fmla="*/ 5635 w 10117"/>
                <a:gd name="connsiteY35" fmla="*/ 9491 h 10610"/>
                <a:gd name="connsiteX36" fmla="*/ 5839 w 10117"/>
                <a:gd name="connsiteY36" fmla="*/ 9362 h 10610"/>
                <a:gd name="connsiteX37" fmla="*/ 6043 w 10117"/>
                <a:gd name="connsiteY37" fmla="*/ 9235 h 10610"/>
                <a:gd name="connsiteX38" fmla="*/ 6239 w 10117"/>
                <a:gd name="connsiteY38" fmla="*/ 9105 h 10610"/>
                <a:gd name="connsiteX39" fmla="*/ 6438 w 10117"/>
                <a:gd name="connsiteY39" fmla="*/ 8967 h 10610"/>
                <a:gd name="connsiteX40" fmla="*/ 6629 w 10117"/>
                <a:gd name="connsiteY40" fmla="*/ 8825 h 10610"/>
                <a:gd name="connsiteX41" fmla="*/ 6814 w 10117"/>
                <a:gd name="connsiteY41" fmla="*/ 8689 h 10610"/>
                <a:gd name="connsiteX42" fmla="*/ 6997 w 10117"/>
                <a:gd name="connsiteY42" fmla="*/ 8544 h 10610"/>
                <a:gd name="connsiteX43" fmla="*/ 7173 w 10117"/>
                <a:gd name="connsiteY43" fmla="*/ 8396 h 10610"/>
                <a:gd name="connsiteX44" fmla="*/ 7349 w 10117"/>
                <a:gd name="connsiteY44" fmla="*/ 8248 h 10610"/>
                <a:gd name="connsiteX45" fmla="*/ 7518 w 10117"/>
                <a:gd name="connsiteY45" fmla="*/ 8097 h 10610"/>
                <a:gd name="connsiteX46" fmla="*/ 7686 w 10117"/>
                <a:gd name="connsiteY46" fmla="*/ 7940 h 10610"/>
                <a:gd name="connsiteX47" fmla="*/ 7842 w 10117"/>
                <a:gd name="connsiteY47" fmla="*/ 7782 h 10610"/>
                <a:gd name="connsiteX48" fmla="*/ 7995 w 10117"/>
                <a:gd name="connsiteY48" fmla="*/ 7623 h 10610"/>
                <a:gd name="connsiteX49" fmla="*/ 8150 w 10117"/>
                <a:gd name="connsiteY49" fmla="*/ 7463 h 10610"/>
                <a:gd name="connsiteX50" fmla="*/ 8293 w 10117"/>
                <a:gd name="connsiteY50" fmla="*/ 7296 h 10610"/>
                <a:gd name="connsiteX51" fmla="*/ 8433 w 10117"/>
                <a:gd name="connsiteY51" fmla="*/ 7132 h 10610"/>
                <a:gd name="connsiteX52" fmla="*/ 8569 w 10117"/>
                <a:gd name="connsiteY52" fmla="*/ 6962 h 10610"/>
                <a:gd name="connsiteX53" fmla="*/ 8695 w 10117"/>
                <a:gd name="connsiteY53" fmla="*/ 6788 h 10610"/>
                <a:gd name="connsiteX54" fmla="*/ 8819 w 10117"/>
                <a:gd name="connsiteY54" fmla="*/ 6614 h 10610"/>
                <a:gd name="connsiteX55" fmla="*/ 8945 w 10117"/>
                <a:gd name="connsiteY55" fmla="*/ 6440 h 10610"/>
                <a:gd name="connsiteX56" fmla="*/ 9063 w 10117"/>
                <a:gd name="connsiteY56" fmla="*/ 6262 h 10610"/>
                <a:gd name="connsiteX57" fmla="*/ 9167 w 10117"/>
                <a:gd name="connsiteY57" fmla="*/ 6084 h 10610"/>
                <a:gd name="connsiteX58" fmla="*/ 9274 w 10117"/>
                <a:gd name="connsiteY58" fmla="*/ 5902 h 10610"/>
                <a:gd name="connsiteX59" fmla="*/ 9369 w 10117"/>
                <a:gd name="connsiteY59" fmla="*/ 5716 h 10610"/>
                <a:gd name="connsiteX60" fmla="*/ 9465 w 10117"/>
                <a:gd name="connsiteY60" fmla="*/ 5533 h 10610"/>
                <a:gd name="connsiteX61" fmla="*/ 9549 w 10117"/>
                <a:gd name="connsiteY61" fmla="*/ 5344 h 10610"/>
                <a:gd name="connsiteX62" fmla="*/ 9630 w 10117"/>
                <a:gd name="connsiteY62" fmla="*/ 5153 h 10610"/>
                <a:gd name="connsiteX63" fmla="*/ 9704 w 10117"/>
                <a:gd name="connsiteY63" fmla="*/ 4961 h 10610"/>
                <a:gd name="connsiteX64" fmla="*/ 9777 w 10117"/>
                <a:gd name="connsiteY64" fmla="*/ 4771 h 10610"/>
                <a:gd name="connsiteX65" fmla="*/ 9839 w 10117"/>
                <a:gd name="connsiteY65" fmla="*/ 4578 h 10610"/>
                <a:gd name="connsiteX66" fmla="*/ 9898 w 10117"/>
                <a:gd name="connsiteY66" fmla="*/ 4381 h 10610"/>
                <a:gd name="connsiteX67" fmla="*/ 9635 w 10117"/>
                <a:gd name="connsiteY67" fmla="*/ 0 h 10610"/>
                <a:gd name="connsiteX68" fmla="*/ 6408 w 10117"/>
                <a:gd name="connsiteY68" fmla="*/ 1883 h 10610"/>
                <a:gd name="connsiteX69" fmla="*/ 2450 w 10117"/>
                <a:gd name="connsiteY69" fmla="*/ 1500 h 10610"/>
                <a:gd name="connsiteX0" fmla="*/ 2450 w 10117"/>
                <a:gd name="connsiteY0" fmla="*/ 1500 h 10610"/>
                <a:gd name="connsiteX1" fmla="*/ 1762 w 10117"/>
                <a:gd name="connsiteY1" fmla="*/ 4691 h 10610"/>
                <a:gd name="connsiteX2" fmla="*/ 1702 w 10117"/>
                <a:gd name="connsiteY2" fmla="*/ 4758 h 10610"/>
                <a:gd name="connsiteX3" fmla="*/ 1632 w 10117"/>
                <a:gd name="connsiteY3" fmla="*/ 4830 h 10610"/>
                <a:gd name="connsiteX4" fmla="*/ 1563 w 10117"/>
                <a:gd name="connsiteY4" fmla="*/ 4893 h 10610"/>
                <a:gd name="connsiteX5" fmla="*/ 1490 w 10117"/>
                <a:gd name="connsiteY5" fmla="*/ 4952 h 10610"/>
                <a:gd name="connsiteX6" fmla="*/ 1415 w 10117"/>
                <a:gd name="connsiteY6" fmla="*/ 5019 h 10610"/>
                <a:gd name="connsiteX7" fmla="*/ 1341 w 10117"/>
                <a:gd name="connsiteY7" fmla="*/ 5081 h 10610"/>
                <a:gd name="connsiteX8" fmla="*/ 1262 w 10117"/>
                <a:gd name="connsiteY8" fmla="*/ 5140 h 10610"/>
                <a:gd name="connsiteX9" fmla="*/ 1184 w 10117"/>
                <a:gd name="connsiteY9" fmla="*/ 5204 h 10610"/>
                <a:gd name="connsiteX10" fmla="*/ 1105 w 10117"/>
                <a:gd name="connsiteY10" fmla="*/ 5262 h 10610"/>
                <a:gd name="connsiteX11" fmla="*/ 1017 w 10117"/>
                <a:gd name="connsiteY11" fmla="*/ 5319 h 10610"/>
                <a:gd name="connsiteX12" fmla="*/ 937 w 10117"/>
                <a:gd name="connsiteY12" fmla="*/ 5373 h 10610"/>
                <a:gd name="connsiteX13" fmla="*/ 850 w 10117"/>
                <a:gd name="connsiteY13" fmla="*/ 5429 h 10610"/>
                <a:gd name="connsiteX14" fmla="*/ 765 w 10117"/>
                <a:gd name="connsiteY14" fmla="*/ 5481 h 10610"/>
                <a:gd name="connsiteX15" fmla="*/ 670 w 10117"/>
                <a:gd name="connsiteY15" fmla="*/ 5534 h 10610"/>
                <a:gd name="connsiteX16" fmla="*/ 581 w 10117"/>
                <a:gd name="connsiteY16" fmla="*/ 5583 h 10610"/>
                <a:gd name="connsiteX17" fmla="*/ 488 w 10117"/>
                <a:gd name="connsiteY17" fmla="*/ 5633 h 10610"/>
                <a:gd name="connsiteX18" fmla="*/ 393 w 10117"/>
                <a:gd name="connsiteY18" fmla="*/ 5681 h 10610"/>
                <a:gd name="connsiteX19" fmla="*/ 295 w 10117"/>
                <a:gd name="connsiteY19" fmla="*/ 5725 h 10610"/>
                <a:gd name="connsiteX20" fmla="*/ 198 w 10117"/>
                <a:gd name="connsiteY20" fmla="*/ 5773 h 10610"/>
                <a:gd name="connsiteX21" fmla="*/ 103 w 10117"/>
                <a:gd name="connsiteY21" fmla="*/ 5816 h 10610"/>
                <a:gd name="connsiteX22" fmla="*/ 0 w 10117"/>
                <a:gd name="connsiteY22" fmla="*/ 5857 h 10610"/>
                <a:gd name="connsiteX23" fmla="*/ 210 w 10117"/>
                <a:gd name="connsiteY23" fmla="*/ 8550 h 10610"/>
                <a:gd name="connsiteX24" fmla="*/ 3301 w 10117"/>
                <a:gd name="connsiteY24" fmla="*/ 10610 h 10610"/>
                <a:gd name="connsiteX25" fmla="*/ 3606 w 10117"/>
                <a:gd name="connsiteY25" fmla="*/ 10485 h 10610"/>
                <a:gd name="connsiteX26" fmla="*/ 3848 w 10117"/>
                <a:gd name="connsiteY26" fmla="*/ 10386 h 10610"/>
                <a:gd name="connsiteX27" fmla="*/ 4084 w 10117"/>
                <a:gd name="connsiteY27" fmla="*/ 10287 h 10610"/>
                <a:gd name="connsiteX28" fmla="*/ 4317 w 10117"/>
                <a:gd name="connsiteY28" fmla="*/ 10183 h 10610"/>
                <a:gd name="connsiteX29" fmla="*/ 4549 w 10117"/>
                <a:gd name="connsiteY29" fmla="*/ 10074 h 10610"/>
                <a:gd name="connsiteX30" fmla="*/ 4767 w 10117"/>
                <a:gd name="connsiteY30" fmla="*/ 9967 h 10610"/>
                <a:gd name="connsiteX31" fmla="*/ 4988 w 10117"/>
                <a:gd name="connsiteY31" fmla="*/ 9849 h 10610"/>
                <a:gd name="connsiteX32" fmla="*/ 5209 w 10117"/>
                <a:gd name="connsiteY32" fmla="*/ 9736 h 10610"/>
                <a:gd name="connsiteX33" fmla="*/ 5419 w 10117"/>
                <a:gd name="connsiteY33" fmla="*/ 9615 h 10610"/>
                <a:gd name="connsiteX34" fmla="*/ 5635 w 10117"/>
                <a:gd name="connsiteY34" fmla="*/ 9491 h 10610"/>
                <a:gd name="connsiteX35" fmla="*/ 5839 w 10117"/>
                <a:gd name="connsiteY35" fmla="*/ 9362 h 10610"/>
                <a:gd name="connsiteX36" fmla="*/ 6043 w 10117"/>
                <a:gd name="connsiteY36" fmla="*/ 9235 h 10610"/>
                <a:gd name="connsiteX37" fmla="*/ 6239 w 10117"/>
                <a:gd name="connsiteY37" fmla="*/ 9105 h 10610"/>
                <a:gd name="connsiteX38" fmla="*/ 6438 w 10117"/>
                <a:gd name="connsiteY38" fmla="*/ 8967 h 10610"/>
                <a:gd name="connsiteX39" fmla="*/ 6629 w 10117"/>
                <a:gd name="connsiteY39" fmla="*/ 8825 h 10610"/>
                <a:gd name="connsiteX40" fmla="*/ 6814 w 10117"/>
                <a:gd name="connsiteY40" fmla="*/ 8689 h 10610"/>
                <a:gd name="connsiteX41" fmla="*/ 6997 w 10117"/>
                <a:gd name="connsiteY41" fmla="*/ 8544 h 10610"/>
                <a:gd name="connsiteX42" fmla="*/ 7173 w 10117"/>
                <a:gd name="connsiteY42" fmla="*/ 8396 h 10610"/>
                <a:gd name="connsiteX43" fmla="*/ 7349 w 10117"/>
                <a:gd name="connsiteY43" fmla="*/ 8248 h 10610"/>
                <a:gd name="connsiteX44" fmla="*/ 7518 w 10117"/>
                <a:gd name="connsiteY44" fmla="*/ 8097 h 10610"/>
                <a:gd name="connsiteX45" fmla="*/ 7686 w 10117"/>
                <a:gd name="connsiteY45" fmla="*/ 7940 h 10610"/>
                <a:gd name="connsiteX46" fmla="*/ 7842 w 10117"/>
                <a:gd name="connsiteY46" fmla="*/ 7782 h 10610"/>
                <a:gd name="connsiteX47" fmla="*/ 7995 w 10117"/>
                <a:gd name="connsiteY47" fmla="*/ 7623 h 10610"/>
                <a:gd name="connsiteX48" fmla="*/ 8150 w 10117"/>
                <a:gd name="connsiteY48" fmla="*/ 7463 h 10610"/>
                <a:gd name="connsiteX49" fmla="*/ 8293 w 10117"/>
                <a:gd name="connsiteY49" fmla="*/ 7296 h 10610"/>
                <a:gd name="connsiteX50" fmla="*/ 8433 w 10117"/>
                <a:gd name="connsiteY50" fmla="*/ 7132 h 10610"/>
                <a:gd name="connsiteX51" fmla="*/ 8569 w 10117"/>
                <a:gd name="connsiteY51" fmla="*/ 6962 h 10610"/>
                <a:gd name="connsiteX52" fmla="*/ 8695 w 10117"/>
                <a:gd name="connsiteY52" fmla="*/ 6788 h 10610"/>
                <a:gd name="connsiteX53" fmla="*/ 8819 w 10117"/>
                <a:gd name="connsiteY53" fmla="*/ 6614 h 10610"/>
                <a:gd name="connsiteX54" fmla="*/ 8945 w 10117"/>
                <a:gd name="connsiteY54" fmla="*/ 6440 h 10610"/>
                <a:gd name="connsiteX55" fmla="*/ 9063 w 10117"/>
                <a:gd name="connsiteY55" fmla="*/ 6262 h 10610"/>
                <a:gd name="connsiteX56" fmla="*/ 9167 w 10117"/>
                <a:gd name="connsiteY56" fmla="*/ 6084 h 10610"/>
                <a:gd name="connsiteX57" fmla="*/ 9274 w 10117"/>
                <a:gd name="connsiteY57" fmla="*/ 5902 h 10610"/>
                <a:gd name="connsiteX58" fmla="*/ 9369 w 10117"/>
                <a:gd name="connsiteY58" fmla="*/ 5716 h 10610"/>
                <a:gd name="connsiteX59" fmla="*/ 9465 w 10117"/>
                <a:gd name="connsiteY59" fmla="*/ 5533 h 10610"/>
                <a:gd name="connsiteX60" fmla="*/ 9549 w 10117"/>
                <a:gd name="connsiteY60" fmla="*/ 5344 h 10610"/>
                <a:gd name="connsiteX61" fmla="*/ 9630 w 10117"/>
                <a:gd name="connsiteY61" fmla="*/ 5153 h 10610"/>
                <a:gd name="connsiteX62" fmla="*/ 9704 w 10117"/>
                <a:gd name="connsiteY62" fmla="*/ 4961 h 10610"/>
                <a:gd name="connsiteX63" fmla="*/ 9777 w 10117"/>
                <a:gd name="connsiteY63" fmla="*/ 4771 h 10610"/>
                <a:gd name="connsiteX64" fmla="*/ 9839 w 10117"/>
                <a:gd name="connsiteY64" fmla="*/ 4578 h 10610"/>
                <a:gd name="connsiteX65" fmla="*/ 9898 w 10117"/>
                <a:gd name="connsiteY65" fmla="*/ 4381 h 10610"/>
                <a:gd name="connsiteX66" fmla="*/ 9635 w 10117"/>
                <a:gd name="connsiteY66" fmla="*/ 0 h 10610"/>
                <a:gd name="connsiteX67" fmla="*/ 6408 w 10117"/>
                <a:gd name="connsiteY67" fmla="*/ 1883 h 10610"/>
                <a:gd name="connsiteX68" fmla="*/ 2450 w 10117"/>
                <a:gd name="connsiteY68" fmla="*/ 1500 h 10610"/>
                <a:gd name="connsiteX0" fmla="*/ 2450 w 10117"/>
                <a:gd name="connsiteY0" fmla="*/ 1500 h 10610"/>
                <a:gd name="connsiteX1" fmla="*/ 1702 w 10117"/>
                <a:gd name="connsiteY1" fmla="*/ 4758 h 10610"/>
                <a:gd name="connsiteX2" fmla="*/ 1632 w 10117"/>
                <a:gd name="connsiteY2" fmla="*/ 4830 h 10610"/>
                <a:gd name="connsiteX3" fmla="*/ 1563 w 10117"/>
                <a:gd name="connsiteY3" fmla="*/ 4893 h 10610"/>
                <a:gd name="connsiteX4" fmla="*/ 1490 w 10117"/>
                <a:gd name="connsiteY4" fmla="*/ 4952 h 10610"/>
                <a:gd name="connsiteX5" fmla="*/ 1415 w 10117"/>
                <a:gd name="connsiteY5" fmla="*/ 5019 h 10610"/>
                <a:gd name="connsiteX6" fmla="*/ 1341 w 10117"/>
                <a:gd name="connsiteY6" fmla="*/ 5081 h 10610"/>
                <a:gd name="connsiteX7" fmla="*/ 1262 w 10117"/>
                <a:gd name="connsiteY7" fmla="*/ 5140 h 10610"/>
                <a:gd name="connsiteX8" fmla="*/ 1184 w 10117"/>
                <a:gd name="connsiteY8" fmla="*/ 5204 h 10610"/>
                <a:gd name="connsiteX9" fmla="*/ 1105 w 10117"/>
                <a:gd name="connsiteY9" fmla="*/ 5262 h 10610"/>
                <a:gd name="connsiteX10" fmla="*/ 1017 w 10117"/>
                <a:gd name="connsiteY10" fmla="*/ 5319 h 10610"/>
                <a:gd name="connsiteX11" fmla="*/ 937 w 10117"/>
                <a:gd name="connsiteY11" fmla="*/ 5373 h 10610"/>
                <a:gd name="connsiteX12" fmla="*/ 850 w 10117"/>
                <a:gd name="connsiteY12" fmla="*/ 5429 h 10610"/>
                <a:gd name="connsiteX13" fmla="*/ 765 w 10117"/>
                <a:gd name="connsiteY13" fmla="*/ 5481 h 10610"/>
                <a:gd name="connsiteX14" fmla="*/ 670 w 10117"/>
                <a:gd name="connsiteY14" fmla="*/ 5534 h 10610"/>
                <a:gd name="connsiteX15" fmla="*/ 581 w 10117"/>
                <a:gd name="connsiteY15" fmla="*/ 5583 h 10610"/>
                <a:gd name="connsiteX16" fmla="*/ 488 w 10117"/>
                <a:gd name="connsiteY16" fmla="*/ 5633 h 10610"/>
                <a:gd name="connsiteX17" fmla="*/ 393 w 10117"/>
                <a:gd name="connsiteY17" fmla="*/ 5681 h 10610"/>
                <a:gd name="connsiteX18" fmla="*/ 295 w 10117"/>
                <a:gd name="connsiteY18" fmla="*/ 5725 h 10610"/>
                <a:gd name="connsiteX19" fmla="*/ 198 w 10117"/>
                <a:gd name="connsiteY19" fmla="*/ 5773 h 10610"/>
                <a:gd name="connsiteX20" fmla="*/ 103 w 10117"/>
                <a:gd name="connsiteY20" fmla="*/ 5816 h 10610"/>
                <a:gd name="connsiteX21" fmla="*/ 0 w 10117"/>
                <a:gd name="connsiteY21" fmla="*/ 5857 h 10610"/>
                <a:gd name="connsiteX22" fmla="*/ 210 w 10117"/>
                <a:gd name="connsiteY22" fmla="*/ 8550 h 10610"/>
                <a:gd name="connsiteX23" fmla="*/ 3301 w 10117"/>
                <a:gd name="connsiteY23" fmla="*/ 10610 h 10610"/>
                <a:gd name="connsiteX24" fmla="*/ 3606 w 10117"/>
                <a:gd name="connsiteY24" fmla="*/ 10485 h 10610"/>
                <a:gd name="connsiteX25" fmla="*/ 3848 w 10117"/>
                <a:gd name="connsiteY25" fmla="*/ 10386 h 10610"/>
                <a:gd name="connsiteX26" fmla="*/ 4084 w 10117"/>
                <a:gd name="connsiteY26" fmla="*/ 10287 h 10610"/>
                <a:gd name="connsiteX27" fmla="*/ 4317 w 10117"/>
                <a:gd name="connsiteY27" fmla="*/ 10183 h 10610"/>
                <a:gd name="connsiteX28" fmla="*/ 4549 w 10117"/>
                <a:gd name="connsiteY28" fmla="*/ 10074 h 10610"/>
                <a:gd name="connsiteX29" fmla="*/ 4767 w 10117"/>
                <a:gd name="connsiteY29" fmla="*/ 9967 h 10610"/>
                <a:gd name="connsiteX30" fmla="*/ 4988 w 10117"/>
                <a:gd name="connsiteY30" fmla="*/ 9849 h 10610"/>
                <a:gd name="connsiteX31" fmla="*/ 5209 w 10117"/>
                <a:gd name="connsiteY31" fmla="*/ 9736 h 10610"/>
                <a:gd name="connsiteX32" fmla="*/ 5419 w 10117"/>
                <a:gd name="connsiteY32" fmla="*/ 9615 h 10610"/>
                <a:gd name="connsiteX33" fmla="*/ 5635 w 10117"/>
                <a:gd name="connsiteY33" fmla="*/ 9491 h 10610"/>
                <a:gd name="connsiteX34" fmla="*/ 5839 w 10117"/>
                <a:gd name="connsiteY34" fmla="*/ 9362 h 10610"/>
                <a:gd name="connsiteX35" fmla="*/ 6043 w 10117"/>
                <a:gd name="connsiteY35" fmla="*/ 9235 h 10610"/>
                <a:gd name="connsiteX36" fmla="*/ 6239 w 10117"/>
                <a:gd name="connsiteY36" fmla="*/ 9105 h 10610"/>
                <a:gd name="connsiteX37" fmla="*/ 6438 w 10117"/>
                <a:gd name="connsiteY37" fmla="*/ 8967 h 10610"/>
                <a:gd name="connsiteX38" fmla="*/ 6629 w 10117"/>
                <a:gd name="connsiteY38" fmla="*/ 8825 h 10610"/>
                <a:gd name="connsiteX39" fmla="*/ 6814 w 10117"/>
                <a:gd name="connsiteY39" fmla="*/ 8689 h 10610"/>
                <a:gd name="connsiteX40" fmla="*/ 6997 w 10117"/>
                <a:gd name="connsiteY40" fmla="*/ 8544 h 10610"/>
                <a:gd name="connsiteX41" fmla="*/ 7173 w 10117"/>
                <a:gd name="connsiteY41" fmla="*/ 8396 h 10610"/>
                <a:gd name="connsiteX42" fmla="*/ 7349 w 10117"/>
                <a:gd name="connsiteY42" fmla="*/ 8248 h 10610"/>
                <a:gd name="connsiteX43" fmla="*/ 7518 w 10117"/>
                <a:gd name="connsiteY43" fmla="*/ 8097 h 10610"/>
                <a:gd name="connsiteX44" fmla="*/ 7686 w 10117"/>
                <a:gd name="connsiteY44" fmla="*/ 7940 h 10610"/>
                <a:gd name="connsiteX45" fmla="*/ 7842 w 10117"/>
                <a:gd name="connsiteY45" fmla="*/ 7782 h 10610"/>
                <a:gd name="connsiteX46" fmla="*/ 7995 w 10117"/>
                <a:gd name="connsiteY46" fmla="*/ 7623 h 10610"/>
                <a:gd name="connsiteX47" fmla="*/ 8150 w 10117"/>
                <a:gd name="connsiteY47" fmla="*/ 7463 h 10610"/>
                <a:gd name="connsiteX48" fmla="*/ 8293 w 10117"/>
                <a:gd name="connsiteY48" fmla="*/ 7296 h 10610"/>
                <a:gd name="connsiteX49" fmla="*/ 8433 w 10117"/>
                <a:gd name="connsiteY49" fmla="*/ 7132 h 10610"/>
                <a:gd name="connsiteX50" fmla="*/ 8569 w 10117"/>
                <a:gd name="connsiteY50" fmla="*/ 6962 h 10610"/>
                <a:gd name="connsiteX51" fmla="*/ 8695 w 10117"/>
                <a:gd name="connsiteY51" fmla="*/ 6788 h 10610"/>
                <a:gd name="connsiteX52" fmla="*/ 8819 w 10117"/>
                <a:gd name="connsiteY52" fmla="*/ 6614 h 10610"/>
                <a:gd name="connsiteX53" fmla="*/ 8945 w 10117"/>
                <a:gd name="connsiteY53" fmla="*/ 6440 h 10610"/>
                <a:gd name="connsiteX54" fmla="*/ 9063 w 10117"/>
                <a:gd name="connsiteY54" fmla="*/ 6262 h 10610"/>
                <a:gd name="connsiteX55" fmla="*/ 9167 w 10117"/>
                <a:gd name="connsiteY55" fmla="*/ 6084 h 10610"/>
                <a:gd name="connsiteX56" fmla="*/ 9274 w 10117"/>
                <a:gd name="connsiteY56" fmla="*/ 5902 h 10610"/>
                <a:gd name="connsiteX57" fmla="*/ 9369 w 10117"/>
                <a:gd name="connsiteY57" fmla="*/ 5716 h 10610"/>
                <a:gd name="connsiteX58" fmla="*/ 9465 w 10117"/>
                <a:gd name="connsiteY58" fmla="*/ 5533 h 10610"/>
                <a:gd name="connsiteX59" fmla="*/ 9549 w 10117"/>
                <a:gd name="connsiteY59" fmla="*/ 5344 h 10610"/>
                <a:gd name="connsiteX60" fmla="*/ 9630 w 10117"/>
                <a:gd name="connsiteY60" fmla="*/ 5153 h 10610"/>
                <a:gd name="connsiteX61" fmla="*/ 9704 w 10117"/>
                <a:gd name="connsiteY61" fmla="*/ 4961 h 10610"/>
                <a:gd name="connsiteX62" fmla="*/ 9777 w 10117"/>
                <a:gd name="connsiteY62" fmla="*/ 4771 h 10610"/>
                <a:gd name="connsiteX63" fmla="*/ 9839 w 10117"/>
                <a:gd name="connsiteY63" fmla="*/ 4578 h 10610"/>
                <a:gd name="connsiteX64" fmla="*/ 9898 w 10117"/>
                <a:gd name="connsiteY64" fmla="*/ 4381 h 10610"/>
                <a:gd name="connsiteX65" fmla="*/ 9635 w 10117"/>
                <a:gd name="connsiteY65" fmla="*/ 0 h 10610"/>
                <a:gd name="connsiteX66" fmla="*/ 6408 w 10117"/>
                <a:gd name="connsiteY66" fmla="*/ 1883 h 10610"/>
                <a:gd name="connsiteX67" fmla="*/ 2450 w 10117"/>
                <a:gd name="connsiteY67" fmla="*/ 1500 h 10610"/>
                <a:gd name="connsiteX0" fmla="*/ 2450 w 10117"/>
                <a:gd name="connsiteY0" fmla="*/ 1500 h 10610"/>
                <a:gd name="connsiteX1" fmla="*/ 1632 w 10117"/>
                <a:gd name="connsiteY1" fmla="*/ 4830 h 10610"/>
                <a:gd name="connsiteX2" fmla="*/ 1563 w 10117"/>
                <a:gd name="connsiteY2" fmla="*/ 4893 h 10610"/>
                <a:gd name="connsiteX3" fmla="*/ 1490 w 10117"/>
                <a:gd name="connsiteY3" fmla="*/ 4952 h 10610"/>
                <a:gd name="connsiteX4" fmla="*/ 1415 w 10117"/>
                <a:gd name="connsiteY4" fmla="*/ 5019 h 10610"/>
                <a:gd name="connsiteX5" fmla="*/ 1341 w 10117"/>
                <a:gd name="connsiteY5" fmla="*/ 5081 h 10610"/>
                <a:gd name="connsiteX6" fmla="*/ 1262 w 10117"/>
                <a:gd name="connsiteY6" fmla="*/ 5140 h 10610"/>
                <a:gd name="connsiteX7" fmla="*/ 1184 w 10117"/>
                <a:gd name="connsiteY7" fmla="*/ 5204 h 10610"/>
                <a:gd name="connsiteX8" fmla="*/ 1105 w 10117"/>
                <a:gd name="connsiteY8" fmla="*/ 5262 h 10610"/>
                <a:gd name="connsiteX9" fmla="*/ 1017 w 10117"/>
                <a:gd name="connsiteY9" fmla="*/ 5319 h 10610"/>
                <a:gd name="connsiteX10" fmla="*/ 937 w 10117"/>
                <a:gd name="connsiteY10" fmla="*/ 5373 h 10610"/>
                <a:gd name="connsiteX11" fmla="*/ 850 w 10117"/>
                <a:gd name="connsiteY11" fmla="*/ 5429 h 10610"/>
                <a:gd name="connsiteX12" fmla="*/ 765 w 10117"/>
                <a:gd name="connsiteY12" fmla="*/ 5481 h 10610"/>
                <a:gd name="connsiteX13" fmla="*/ 670 w 10117"/>
                <a:gd name="connsiteY13" fmla="*/ 5534 h 10610"/>
                <a:gd name="connsiteX14" fmla="*/ 581 w 10117"/>
                <a:gd name="connsiteY14" fmla="*/ 5583 h 10610"/>
                <a:gd name="connsiteX15" fmla="*/ 488 w 10117"/>
                <a:gd name="connsiteY15" fmla="*/ 5633 h 10610"/>
                <a:gd name="connsiteX16" fmla="*/ 393 w 10117"/>
                <a:gd name="connsiteY16" fmla="*/ 5681 h 10610"/>
                <a:gd name="connsiteX17" fmla="*/ 295 w 10117"/>
                <a:gd name="connsiteY17" fmla="*/ 5725 h 10610"/>
                <a:gd name="connsiteX18" fmla="*/ 198 w 10117"/>
                <a:gd name="connsiteY18" fmla="*/ 5773 h 10610"/>
                <a:gd name="connsiteX19" fmla="*/ 103 w 10117"/>
                <a:gd name="connsiteY19" fmla="*/ 5816 h 10610"/>
                <a:gd name="connsiteX20" fmla="*/ 0 w 10117"/>
                <a:gd name="connsiteY20" fmla="*/ 5857 h 10610"/>
                <a:gd name="connsiteX21" fmla="*/ 210 w 10117"/>
                <a:gd name="connsiteY21" fmla="*/ 8550 h 10610"/>
                <a:gd name="connsiteX22" fmla="*/ 3301 w 10117"/>
                <a:gd name="connsiteY22" fmla="*/ 10610 h 10610"/>
                <a:gd name="connsiteX23" fmla="*/ 3606 w 10117"/>
                <a:gd name="connsiteY23" fmla="*/ 10485 h 10610"/>
                <a:gd name="connsiteX24" fmla="*/ 3848 w 10117"/>
                <a:gd name="connsiteY24" fmla="*/ 10386 h 10610"/>
                <a:gd name="connsiteX25" fmla="*/ 4084 w 10117"/>
                <a:gd name="connsiteY25" fmla="*/ 10287 h 10610"/>
                <a:gd name="connsiteX26" fmla="*/ 4317 w 10117"/>
                <a:gd name="connsiteY26" fmla="*/ 10183 h 10610"/>
                <a:gd name="connsiteX27" fmla="*/ 4549 w 10117"/>
                <a:gd name="connsiteY27" fmla="*/ 10074 h 10610"/>
                <a:gd name="connsiteX28" fmla="*/ 4767 w 10117"/>
                <a:gd name="connsiteY28" fmla="*/ 9967 h 10610"/>
                <a:gd name="connsiteX29" fmla="*/ 4988 w 10117"/>
                <a:gd name="connsiteY29" fmla="*/ 9849 h 10610"/>
                <a:gd name="connsiteX30" fmla="*/ 5209 w 10117"/>
                <a:gd name="connsiteY30" fmla="*/ 9736 h 10610"/>
                <a:gd name="connsiteX31" fmla="*/ 5419 w 10117"/>
                <a:gd name="connsiteY31" fmla="*/ 9615 h 10610"/>
                <a:gd name="connsiteX32" fmla="*/ 5635 w 10117"/>
                <a:gd name="connsiteY32" fmla="*/ 9491 h 10610"/>
                <a:gd name="connsiteX33" fmla="*/ 5839 w 10117"/>
                <a:gd name="connsiteY33" fmla="*/ 9362 h 10610"/>
                <a:gd name="connsiteX34" fmla="*/ 6043 w 10117"/>
                <a:gd name="connsiteY34" fmla="*/ 9235 h 10610"/>
                <a:gd name="connsiteX35" fmla="*/ 6239 w 10117"/>
                <a:gd name="connsiteY35" fmla="*/ 9105 h 10610"/>
                <a:gd name="connsiteX36" fmla="*/ 6438 w 10117"/>
                <a:gd name="connsiteY36" fmla="*/ 8967 h 10610"/>
                <a:gd name="connsiteX37" fmla="*/ 6629 w 10117"/>
                <a:gd name="connsiteY37" fmla="*/ 8825 h 10610"/>
                <a:gd name="connsiteX38" fmla="*/ 6814 w 10117"/>
                <a:gd name="connsiteY38" fmla="*/ 8689 h 10610"/>
                <a:gd name="connsiteX39" fmla="*/ 6997 w 10117"/>
                <a:gd name="connsiteY39" fmla="*/ 8544 h 10610"/>
                <a:gd name="connsiteX40" fmla="*/ 7173 w 10117"/>
                <a:gd name="connsiteY40" fmla="*/ 8396 h 10610"/>
                <a:gd name="connsiteX41" fmla="*/ 7349 w 10117"/>
                <a:gd name="connsiteY41" fmla="*/ 8248 h 10610"/>
                <a:gd name="connsiteX42" fmla="*/ 7518 w 10117"/>
                <a:gd name="connsiteY42" fmla="*/ 8097 h 10610"/>
                <a:gd name="connsiteX43" fmla="*/ 7686 w 10117"/>
                <a:gd name="connsiteY43" fmla="*/ 7940 h 10610"/>
                <a:gd name="connsiteX44" fmla="*/ 7842 w 10117"/>
                <a:gd name="connsiteY44" fmla="*/ 7782 h 10610"/>
                <a:gd name="connsiteX45" fmla="*/ 7995 w 10117"/>
                <a:gd name="connsiteY45" fmla="*/ 7623 h 10610"/>
                <a:gd name="connsiteX46" fmla="*/ 8150 w 10117"/>
                <a:gd name="connsiteY46" fmla="*/ 7463 h 10610"/>
                <a:gd name="connsiteX47" fmla="*/ 8293 w 10117"/>
                <a:gd name="connsiteY47" fmla="*/ 7296 h 10610"/>
                <a:gd name="connsiteX48" fmla="*/ 8433 w 10117"/>
                <a:gd name="connsiteY48" fmla="*/ 7132 h 10610"/>
                <a:gd name="connsiteX49" fmla="*/ 8569 w 10117"/>
                <a:gd name="connsiteY49" fmla="*/ 6962 h 10610"/>
                <a:gd name="connsiteX50" fmla="*/ 8695 w 10117"/>
                <a:gd name="connsiteY50" fmla="*/ 6788 h 10610"/>
                <a:gd name="connsiteX51" fmla="*/ 8819 w 10117"/>
                <a:gd name="connsiteY51" fmla="*/ 6614 h 10610"/>
                <a:gd name="connsiteX52" fmla="*/ 8945 w 10117"/>
                <a:gd name="connsiteY52" fmla="*/ 6440 h 10610"/>
                <a:gd name="connsiteX53" fmla="*/ 9063 w 10117"/>
                <a:gd name="connsiteY53" fmla="*/ 6262 h 10610"/>
                <a:gd name="connsiteX54" fmla="*/ 9167 w 10117"/>
                <a:gd name="connsiteY54" fmla="*/ 6084 h 10610"/>
                <a:gd name="connsiteX55" fmla="*/ 9274 w 10117"/>
                <a:gd name="connsiteY55" fmla="*/ 5902 h 10610"/>
                <a:gd name="connsiteX56" fmla="*/ 9369 w 10117"/>
                <a:gd name="connsiteY56" fmla="*/ 5716 h 10610"/>
                <a:gd name="connsiteX57" fmla="*/ 9465 w 10117"/>
                <a:gd name="connsiteY57" fmla="*/ 5533 h 10610"/>
                <a:gd name="connsiteX58" fmla="*/ 9549 w 10117"/>
                <a:gd name="connsiteY58" fmla="*/ 5344 h 10610"/>
                <a:gd name="connsiteX59" fmla="*/ 9630 w 10117"/>
                <a:gd name="connsiteY59" fmla="*/ 5153 h 10610"/>
                <a:gd name="connsiteX60" fmla="*/ 9704 w 10117"/>
                <a:gd name="connsiteY60" fmla="*/ 4961 h 10610"/>
                <a:gd name="connsiteX61" fmla="*/ 9777 w 10117"/>
                <a:gd name="connsiteY61" fmla="*/ 4771 h 10610"/>
                <a:gd name="connsiteX62" fmla="*/ 9839 w 10117"/>
                <a:gd name="connsiteY62" fmla="*/ 4578 h 10610"/>
                <a:gd name="connsiteX63" fmla="*/ 9898 w 10117"/>
                <a:gd name="connsiteY63" fmla="*/ 4381 h 10610"/>
                <a:gd name="connsiteX64" fmla="*/ 9635 w 10117"/>
                <a:gd name="connsiteY64" fmla="*/ 0 h 10610"/>
                <a:gd name="connsiteX65" fmla="*/ 6408 w 10117"/>
                <a:gd name="connsiteY65" fmla="*/ 1883 h 10610"/>
                <a:gd name="connsiteX66" fmla="*/ 2450 w 10117"/>
                <a:gd name="connsiteY66" fmla="*/ 1500 h 10610"/>
                <a:gd name="connsiteX0" fmla="*/ 2450 w 10117"/>
                <a:gd name="connsiteY0" fmla="*/ 1500 h 10610"/>
                <a:gd name="connsiteX1" fmla="*/ 1563 w 10117"/>
                <a:gd name="connsiteY1" fmla="*/ 4893 h 10610"/>
                <a:gd name="connsiteX2" fmla="*/ 1490 w 10117"/>
                <a:gd name="connsiteY2" fmla="*/ 4952 h 10610"/>
                <a:gd name="connsiteX3" fmla="*/ 1415 w 10117"/>
                <a:gd name="connsiteY3" fmla="*/ 5019 h 10610"/>
                <a:gd name="connsiteX4" fmla="*/ 1341 w 10117"/>
                <a:gd name="connsiteY4" fmla="*/ 5081 h 10610"/>
                <a:gd name="connsiteX5" fmla="*/ 1262 w 10117"/>
                <a:gd name="connsiteY5" fmla="*/ 5140 h 10610"/>
                <a:gd name="connsiteX6" fmla="*/ 1184 w 10117"/>
                <a:gd name="connsiteY6" fmla="*/ 5204 h 10610"/>
                <a:gd name="connsiteX7" fmla="*/ 1105 w 10117"/>
                <a:gd name="connsiteY7" fmla="*/ 5262 h 10610"/>
                <a:gd name="connsiteX8" fmla="*/ 1017 w 10117"/>
                <a:gd name="connsiteY8" fmla="*/ 5319 h 10610"/>
                <a:gd name="connsiteX9" fmla="*/ 937 w 10117"/>
                <a:gd name="connsiteY9" fmla="*/ 5373 h 10610"/>
                <a:gd name="connsiteX10" fmla="*/ 850 w 10117"/>
                <a:gd name="connsiteY10" fmla="*/ 5429 h 10610"/>
                <a:gd name="connsiteX11" fmla="*/ 765 w 10117"/>
                <a:gd name="connsiteY11" fmla="*/ 5481 h 10610"/>
                <a:gd name="connsiteX12" fmla="*/ 670 w 10117"/>
                <a:gd name="connsiteY12" fmla="*/ 5534 h 10610"/>
                <a:gd name="connsiteX13" fmla="*/ 581 w 10117"/>
                <a:gd name="connsiteY13" fmla="*/ 5583 h 10610"/>
                <a:gd name="connsiteX14" fmla="*/ 488 w 10117"/>
                <a:gd name="connsiteY14" fmla="*/ 5633 h 10610"/>
                <a:gd name="connsiteX15" fmla="*/ 393 w 10117"/>
                <a:gd name="connsiteY15" fmla="*/ 5681 h 10610"/>
                <a:gd name="connsiteX16" fmla="*/ 295 w 10117"/>
                <a:gd name="connsiteY16" fmla="*/ 5725 h 10610"/>
                <a:gd name="connsiteX17" fmla="*/ 198 w 10117"/>
                <a:gd name="connsiteY17" fmla="*/ 5773 h 10610"/>
                <a:gd name="connsiteX18" fmla="*/ 103 w 10117"/>
                <a:gd name="connsiteY18" fmla="*/ 5816 h 10610"/>
                <a:gd name="connsiteX19" fmla="*/ 0 w 10117"/>
                <a:gd name="connsiteY19" fmla="*/ 5857 h 10610"/>
                <a:gd name="connsiteX20" fmla="*/ 210 w 10117"/>
                <a:gd name="connsiteY20" fmla="*/ 8550 h 10610"/>
                <a:gd name="connsiteX21" fmla="*/ 3301 w 10117"/>
                <a:gd name="connsiteY21" fmla="*/ 10610 h 10610"/>
                <a:gd name="connsiteX22" fmla="*/ 3606 w 10117"/>
                <a:gd name="connsiteY22" fmla="*/ 10485 h 10610"/>
                <a:gd name="connsiteX23" fmla="*/ 3848 w 10117"/>
                <a:gd name="connsiteY23" fmla="*/ 10386 h 10610"/>
                <a:gd name="connsiteX24" fmla="*/ 4084 w 10117"/>
                <a:gd name="connsiteY24" fmla="*/ 10287 h 10610"/>
                <a:gd name="connsiteX25" fmla="*/ 4317 w 10117"/>
                <a:gd name="connsiteY25" fmla="*/ 10183 h 10610"/>
                <a:gd name="connsiteX26" fmla="*/ 4549 w 10117"/>
                <a:gd name="connsiteY26" fmla="*/ 10074 h 10610"/>
                <a:gd name="connsiteX27" fmla="*/ 4767 w 10117"/>
                <a:gd name="connsiteY27" fmla="*/ 9967 h 10610"/>
                <a:gd name="connsiteX28" fmla="*/ 4988 w 10117"/>
                <a:gd name="connsiteY28" fmla="*/ 9849 h 10610"/>
                <a:gd name="connsiteX29" fmla="*/ 5209 w 10117"/>
                <a:gd name="connsiteY29" fmla="*/ 9736 h 10610"/>
                <a:gd name="connsiteX30" fmla="*/ 5419 w 10117"/>
                <a:gd name="connsiteY30" fmla="*/ 9615 h 10610"/>
                <a:gd name="connsiteX31" fmla="*/ 5635 w 10117"/>
                <a:gd name="connsiteY31" fmla="*/ 9491 h 10610"/>
                <a:gd name="connsiteX32" fmla="*/ 5839 w 10117"/>
                <a:gd name="connsiteY32" fmla="*/ 9362 h 10610"/>
                <a:gd name="connsiteX33" fmla="*/ 6043 w 10117"/>
                <a:gd name="connsiteY33" fmla="*/ 9235 h 10610"/>
                <a:gd name="connsiteX34" fmla="*/ 6239 w 10117"/>
                <a:gd name="connsiteY34" fmla="*/ 9105 h 10610"/>
                <a:gd name="connsiteX35" fmla="*/ 6438 w 10117"/>
                <a:gd name="connsiteY35" fmla="*/ 8967 h 10610"/>
                <a:gd name="connsiteX36" fmla="*/ 6629 w 10117"/>
                <a:gd name="connsiteY36" fmla="*/ 8825 h 10610"/>
                <a:gd name="connsiteX37" fmla="*/ 6814 w 10117"/>
                <a:gd name="connsiteY37" fmla="*/ 8689 h 10610"/>
                <a:gd name="connsiteX38" fmla="*/ 6997 w 10117"/>
                <a:gd name="connsiteY38" fmla="*/ 8544 h 10610"/>
                <a:gd name="connsiteX39" fmla="*/ 7173 w 10117"/>
                <a:gd name="connsiteY39" fmla="*/ 8396 h 10610"/>
                <a:gd name="connsiteX40" fmla="*/ 7349 w 10117"/>
                <a:gd name="connsiteY40" fmla="*/ 8248 h 10610"/>
                <a:gd name="connsiteX41" fmla="*/ 7518 w 10117"/>
                <a:gd name="connsiteY41" fmla="*/ 8097 h 10610"/>
                <a:gd name="connsiteX42" fmla="*/ 7686 w 10117"/>
                <a:gd name="connsiteY42" fmla="*/ 7940 h 10610"/>
                <a:gd name="connsiteX43" fmla="*/ 7842 w 10117"/>
                <a:gd name="connsiteY43" fmla="*/ 7782 h 10610"/>
                <a:gd name="connsiteX44" fmla="*/ 7995 w 10117"/>
                <a:gd name="connsiteY44" fmla="*/ 7623 h 10610"/>
                <a:gd name="connsiteX45" fmla="*/ 8150 w 10117"/>
                <a:gd name="connsiteY45" fmla="*/ 7463 h 10610"/>
                <a:gd name="connsiteX46" fmla="*/ 8293 w 10117"/>
                <a:gd name="connsiteY46" fmla="*/ 7296 h 10610"/>
                <a:gd name="connsiteX47" fmla="*/ 8433 w 10117"/>
                <a:gd name="connsiteY47" fmla="*/ 7132 h 10610"/>
                <a:gd name="connsiteX48" fmla="*/ 8569 w 10117"/>
                <a:gd name="connsiteY48" fmla="*/ 6962 h 10610"/>
                <a:gd name="connsiteX49" fmla="*/ 8695 w 10117"/>
                <a:gd name="connsiteY49" fmla="*/ 6788 h 10610"/>
                <a:gd name="connsiteX50" fmla="*/ 8819 w 10117"/>
                <a:gd name="connsiteY50" fmla="*/ 6614 h 10610"/>
                <a:gd name="connsiteX51" fmla="*/ 8945 w 10117"/>
                <a:gd name="connsiteY51" fmla="*/ 6440 h 10610"/>
                <a:gd name="connsiteX52" fmla="*/ 9063 w 10117"/>
                <a:gd name="connsiteY52" fmla="*/ 6262 h 10610"/>
                <a:gd name="connsiteX53" fmla="*/ 9167 w 10117"/>
                <a:gd name="connsiteY53" fmla="*/ 6084 h 10610"/>
                <a:gd name="connsiteX54" fmla="*/ 9274 w 10117"/>
                <a:gd name="connsiteY54" fmla="*/ 5902 h 10610"/>
                <a:gd name="connsiteX55" fmla="*/ 9369 w 10117"/>
                <a:gd name="connsiteY55" fmla="*/ 5716 h 10610"/>
                <a:gd name="connsiteX56" fmla="*/ 9465 w 10117"/>
                <a:gd name="connsiteY56" fmla="*/ 5533 h 10610"/>
                <a:gd name="connsiteX57" fmla="*/ 9549 w 10117"/>
                <a:gd name="connsiteY57" fmla="*/ 5344 h 10610"/>
                <a:gd name="connsiteX58" fmla="*/ 9630 w 10117"/>
                <a:gd name="connsiteY58" fmla="*/ 5153 h 10610"/>
                <a:gd name="connsiteX59" fmla="*/ 9704 w 10117"/>
                <a:gd name="connsiteY59" fmla="*/ 4961 h 10610"/>
                <a:gd name="connsiteX60" fmla="*/ 9777 w 10117"/>
                <a:gd name="connsiteY60" fmla="*/ 4771 h 10610"/>
                <a:gd name="connsiteX61" fmla="*/ 9839 w 10117"/>
                <a:gd name="connsiteY61" fmla="*/ 4578 h 10610"/>
                <a:gd name="connsiteX62" fmla="*/ 9898 w 10117"/>
                <a:gd name="connsiteY62" fmla="*/ 4381 h 10610"/>
                <a:gd name="connsiteX63" fmla="*/ 9635 w 10117"/>
                <a:gd name="connsiteY63" fmla="*/ 0 h 10610"/>
                <a:gd name="connsiteX64" fmla="*/ 6408 w 10117"/>
                <a:gd name="connsiteY64" fmla="*/ 1883 h 10610"/>
                <a:gd name="connsiteX65" fmla="*/ 2450 w 10117"/>
                <a:gd name="connsiteY65" fmla="*/ 1500 h 10610"/>
                <a:gd name="connsiteX0" fmla="*/ 2450 w 10117"/>
                <a:gd name="connsiteY0" fmla="*/ 1500 h 10610"/>
                <a:gd name="connsiteX1" fmla="*/ 1490 w 10117"/>
                <a:gd name="connsiteY1" fmla="*/ 4952 h 10610"/>
                <a:gd name="connsiteX2" fmla="*/ 1415 w 10117"/>
                <a:gd name="connsiteY2" fmla="*/ 5019 h 10610"/>
                <a:gd name="connsiteX3" fmla="*/ 1341 w 10117"/>
                <a:gd name="connsiteY3" fmla="*/ 5081 h 10610"/>
                <a:gd name="connsiteX4" fmla="*/ 1262 w 10117"/>
                <a:gd name="connsiteY4" fmla="*/ 5140 h 10610"/>
                <a:gd name="connsiteX5" fmla="*/ 1184 w 10117"/>
                <a:gd name="connsiteY5" fmla="*/ 5204 h 10610"/>
                <a:gd name="connsiteX6" fmla="*/ 1105 w 10117"/>
                <a:gd name="connsiteY6" fmla="*/ 5262 h 10610"/>
                <a:gd name="connsiteX7" fmla="*/ 1017 w 10117"/>
                <a:gd name="connsiteY7" fmla="*/ 5319 h 10610"/>
                <a:gd name="connsiteX8" fmla="*/ 937 w 10117"/>
                <a:gd name="connsiteY8" fmla="*/ 5373 h 10610"/>
                <a:gd name="connsiteX9" fmla="*/ 850 w 10117"/>
                <a:gd name="connsiteY9" fmla="*/ 5429 h 10610"/>
                <a:gd name="connsiteX10" fmla="*/ 765 w 10117"/>
                <a:gd name="connsiteY10" fmla="*/ 5481 h 10610"/>
                <a:gd name="connsiteX11" fmla="*/ 670 w 10117"/>
                <a:gd name="connsiteY11" fmla="*/ 5534 h 10610"/>
                <a:gd name="connsiteX12" fmla="*/ 581 w 10117"/>
                <a:gd name="connsiteY12" fmla="*/ 5583 h 10610"/>
                <a:gd name="connsiteX13" fmla="*/ 488 w 10117"/>
                <a:gd name="connsiteY13" fmla="*/ 5633 h 10610"/>
                <a:gd name="connsiteX14" fmla="*/ 393 w 10117"/>
                <a:gd name="connsiteY14" fmla="*/ 5681 h 10610"/>
                <a:gd name="connsiteX15" fmla="*/ 295 w 10117"/>
                <a:gd name="connsiteY15" fmla="*/ 5725 h 10610"/>
                <a:gd name="connsiteX16" fmla="*/ 198 w 10117"/>
                <a:gd name="connsiteY16" fmla="*/ 5773 h 10610"/>
                <a:gd name="connsiteX17" fmla="*/ 103 w 10117"/>
                <a:gd name="connsiteY17" fmla="*/ 5816 h 10610"/>
                <a:gd name="connsiteX18" fmla="*/ 0 w 10117"/>
                <a:gd name="connsiteY18" fmla="*/ 5857 h 10610"/>
                <a:gd name="connsiteX19" fmla="*/ 210 w 10117"/>
                <a:gd name="connsiteY19" fmla="*/ 8550 h 10610"/>
                <a:gd name="connsiteX20" fmla="*/ 3301 w 10117"/>
                <a:gd name="connsiteY20" fmla="*/ 10610 h 10610"/>
                <a:gd name="connsiteX21" fmla="*/ 3606 w 10117"/>
                <a:gd name="connsiteY21" fmla="*/ 10485 h 10610"/>
                <a:gd name="connsiteX22" fmla="*/ 3848 w 10117"/>
                <a:gd name="connsiteY22" fmla="*/ 10386 h 10610"/>
                <a:gd name="connsiteX23" fmla="*/ 4084 w 10117"/>
                <a:gd name="connsiteY23" fmla="*/ 10287 h 10610"/>
                <a:gd name="connsiteX24" fmla="*/ 4317 w 10117"/>
                <a:gd name="connsiteY24" fmla="*/ 10183 h 10610"/>
                <a:gd name="connsiteX25" fmla="*/ 4549 w 10117"/>
                <a:gd name="connsiteY25" fmla="*/ 10074 h 10610"/>
                <a:gd name="connsiteX26" fmla="*/ 4767 w 10117"/>
                <a:gd name="connsiteY26" fmla="*/ 9967 h 10610"/>
                <a:gd name="connsiteX27" fmla="*/ 4988 w 10117"/>
                <a:gd name="connsiteY27" fmla="*/ 9849 h 10610"/>
                <a:gd name="connsiteX28" fmla="*/ 5209 w 10117"/>
                <a:gd name="connsiteY28" fmla="*/ 9736 h 10610"/>
                <a:gd name="connsiteX29" fmla="*/ 5419 w 10117"/>
                <a:gd name="connsiteY29" fmla="*/ 9615 h 10610"/>
                <a:gd name="connsiteX30" fmla="*/ 5635 w 10117"/>
                <a:gd name="connsiteY30" fmla="*/ 9491 h 10610"/>
                <a:gd name="connsiteX31" fmla="*/ 5839 w 10117"/>
                <a:gd name="connsiteY31" fmla="*/ 9362 h 10610"/>
                <a:gd name="connsiteX32" fmla="*/ 6043 w 10117"/>
                <a:gd name="connsiteY32" fmla="*/ 9235 h 10610"/>
                <a:gd name="connsiteX33" fmla="*/ 6239 w 10117"/>
                <a:gd name="connsiteY33" fmla="*/ 9105 h 10610"/>
                <a:gd name="connsiteX34" fmla="*/ 6438 w 10117"/>
                <a:gd name="connsiteY34" fmla="*/ 8967 h 10610"/>
                <a:gd name="connsiteX35" fmla="*/ 6629 w 10117"/>
                <a:gd name="connsiteY35" fmla="*/ 8825 h 10610"/>
                <a:gd name="connsiteX36" fmla="*/ 6814 w 10117"/>
                <a:gd name="connsiteY36" fmla="*/ 8689 h 10610"/>
                <a:gd name="connsiteX37" fmla="*/ 6997 w 10117"/>
                <a:gd name="connsiteY37" fmla="*/ 8544 h 10610"/>
                <a:gd name="connsiteX38" fmla="*/ 7173 w 10117"/>
                <a:gd name="connsiteY38" fmla="*/ 8396 h 10610"/>
                <a:gd name="connsiteX39" fmla="*/ 7349 w 10117"/>
                <a:gd name="connsiteY39" fmla="*/ 8248 h 10610"/>
                <a:gd name="connsiteX40" fmla="*/ 7518 w 10117"/>
                <a:gd name="connsiteY40" fmla="*/ 8097 h 10610"/>
                <a:gd name="connsiteX41" fmla="*/ 7686 w 10117"/>
                <a:gd name="connsiteY41" fmla="*/ 7940 h 10610"/>
                <a:gd name="connsiteX42" fmla="*/ 7842 w 10117"/>
                <a:gd name="connsiteY42" fmla="*/ 7782 h 10610"/>
                <a:gd name="connsiteX43" fmla="*/ 7995 w 10117"/>
                <a:gd name="connsiteY43" fmla="*/ 7623 h 10610"/>
                <a:gd name="connsiteX44" fmla="*/ 8150 w 10117"/>
                <a:gd name="connsiteY44" fmla="*/ 7463 h 10610"/>
                <a:gd name="connsiteX45" fmla="*/ 8293 w 10117"/>
                <a:gd name="connsiteY45" fmla="*/ 7296 h 10610"/>
                <a:gd name="connsiteX46" fmla="*/ 8433 w 10117"/>
                <a:gd name="connsiteY46" fmla="*/ 7132 h 10610"/>
                <a:gd name="connsiteX47" fmla="*/ 8569 w 10117"/>
                <a:gd name="connsiteY47" fmla="*/ 6962 h 10610"/>
                <a:gd name="connsiteX48" fmla="*/ 8695 w 10117"/>
                <a:gd name="connsiteY48" fmla="*/ 6788 h 10610"/>
                <a:gd name="connsiteX49" fmla="*/ 8819 w 10117"/>
                <a:gd name="connsiteY49" fmla="*/ 6614 h 10610"/>
                <a:gd name="connsiteX50" fmla="*/ 8945 w 10117"/>
                <a:gd name="connsiteY50" fmla="*/ 6440 h 10610"/>
                <a:gd name="connsiteX51" fmla="*/ 9063 w 10117"/>
                <a:gd name="connsiteY51" fmla="*/ 6262 h 10610"/>
                <a:gd name="connsiteX52" fmla="*/ 9167 w 10117"/>
                <a:gd name="connsiteY52" fmla="*/ 6084 h 10610"/>
                <a:gd name="connsiteX53" fmla="*/ 9274 w 10117"/>
                <a:gd name="connsiteY53" fmla="*/ 5902 h 10610"/>
                <a:gd name="connsiteX54" fmla="*/ 9369 w 10117"/>
                <a:gd name="connsiteY54" fmla="*/ 5716 h 10610"/>
                <a:gd name="connsiteX55" fmla="*/ 9465 w 10117"/>
                <a:gd name="connsiteY55" fmla="*/ 5533 h 10610"/>
                <a:gd name="connsiteX56" fmla="*/ 9549 w 10117"/>
                <a:gd name="connsiteY56" fmla="*/ 5344 h 10610"/>
                <a:gd name="connsiteX57" fmla="*/ 9630 w 10117"/>
                <a:gd name="connsiteY57" fmla="*/ 5153 h 10610"/>
                <a:gd name="connsiteX58" fmla="*/ 9704 w 10117"/>
                <a:gd name="connsiteY58" fmla="*/ 4961 h 10610"/>
                <a:gd name="connsiteX59" fmla="*/ 9777 w 10117"/>
                <a:gd name="connsiteY59" fmla="*/ 4771 h 10610"/>
                <a:gd name="connsiteX60" fmla="*/ 9839 w 10117"/>
                <a:gd name="connsiteY60" fmla="*/ 4578 h 10610"/>
                <a:gd name="connsiteX61" fmla="*/ 9898 w 10117"/>
                <a:gd name="connsiteY61" fmla="*/ 4381 h 10610"/>
                <a:gd name="connsiteX62" fmla="*/ 9635 w 10117"/>
                <a:gd name="connsiteY62" fmla="*/ 0 h 10610"/>
                <a:gd name="connsiteX63" fmla="*/ 6408 w 10117"/>
                <a:gd name="connsiteY63" fmla="*/ 1883 h 10610"/>
                <a:gd name="connsiteX64" fmla="*/ 2450 w 10117"/>
                <a:gd name="connsiteY64" fmla="*/ 1500 h 10610"/>
                <a:gd name="connsiteX0" fmla="*/ 2450 w 10117"/>
                <a:gd name="connsiteY0" fmla="*/ 1500 h 10610"/>
                <a:gd name="connsiteX1" fmla="*/ 1415 w 10117"/>
                <a:gd name="connsiteY1" fmla="*/ 5019 h 10610"/>
                <a:gd name="connsiteX2" fmla="*/ 1341 w 10117"/>
                <a:gd name="connsiteY2" fmla="*/ 5081 h 10610"/>
                <a:gd name="connsiteX3" fmla="*/ 1262 w 10117"/>
                <a:gd name="connsiteY3" fmla="*/ 5140 h 10610"/>
                <a:gd name="connsiteX4" fmla="*/ 1184 w 10117"/>
                <a:gd name="connsiteY4" fmla="*/ 5204 h 10610"/>
                <a:gd name="connsiteX5" fmla="*/ 1105 w 10117"/>
                <a:gd name="connsiteY5" fmla="*/ 5262 h 10610"/>
                <a:gd name="connsiteX6" fmla="*/ 1017 w 10117"/>
                <a:gd name="connsiteY6" fmla="*/ 5319 h 10610"/>
                <a:gd name="connsiteX7" fmla="*/ 937 w 10117"/>
                <a:gd name="connsiteY7" fmla="*/ 5373 h 10610"/>
                <a:gd name="connsiteX8" fmla="*/ 850 w 10117"/>
                <a:gd name="connsiteY8" fmla="*/ 5429 h 10610"/>
                <a:gd name="connsiteX9" fmla="*/ 765 w 10117"/>
                <a:gd name="connsiteY9" fmla="*/ 5481 h 10610"/>
                <a:gd name="connsiteX10" fmla="*/ 670 w 10117"/>
                <a:gd name="connsiteY10" fmla="*/ 5534 h 10610"/>
                <a:gd name="connsiteX11" fmla="*/ 581 w 10117"/>
                <a:gd name="connsiteY11" fmla="*/ 5583 h 10610"/>
                <a:gd name="connsiteX12" fmla="*/ 488 w 10117"/>
                <a:gd name="connsiteY12" fmla="*/ 5633 h 10610"/>
                <a:gd name="connsiteX13" fmla="*/ 393 w 10117"/>
                <a:gd name="connsiteY13" fmla="*/ 5681 h 10610"/>
                <a:gd name="connsiteX14" fmla="*/ 295 w 10117"/>
                <a:gd name="connsiteY14" fmla="*/ 5725 h 10610"/>
                <a:gd name="connsiteX15" fmla="*/ 198 w 10117"/>
                <a:gd name="connsiteY15" fmla="*/ 5773 h 10610"/>
                <a:gd name="connsiteX16" fmla="*/ 103 w 10117"/>
                <a:gd name="connsiteY16" fmla="*/ 5816 h 10610"/>
                <a:gd name="connsiteX17" fmla="*/ 0 w 10117"/>
                <a:gd name="connsiteY17" fmla="*/ 5857 h 10610"/>
                <a:gd name="connsiteX18" fmla="*/ 210 w 10117"/>
                <a:gd name="connsiteY18" fmla="*/ 8550 h 10610"/>
                <a:gd name="connsiteX19" fmla="*/ 3301 w 10117"/>
                <a:gd name="connsiteY19" fmla="*/ 10610 h 10610"/>
                <a:gd name="connsiteX20" fmla="*/ 3606 w 10117"/>
                <a:gd name="connsiteY20" fmla="*/ 10485 h 10610"/>
                <a:gd name="connsiteX21" fmla="*/ 3848 w 10117"/>
                <a:gd name="connsiteY21" fmla="*/ 10386 h 10610"/>
                <a:gd name="connsiteX22" fmla="*/ 4084 w 10117"/>
                <a:gd name="connsiteY22" fmla="*/ 10287 h 10610"/>
                <a:gd name="connsiteX23" fmla="*/ 4317 w 10117"/>
                <a:gd name="connsiteY23" fmla="*/ 10183 h 10610"/>
                <a:gd name="connsiteX24" fmla="*/ 4549 w 10117"/>
                <a:gd name="connsiteY24" fmla="*/ 10074 h 10610"/>
                <a:gd name="connsiteX25" fmla="*/ 4767 w 10117"/>
                <a:gd name="connsiteY25" fmla="*/ 9967 h 10610"/>
                <a:gd name="connsiteX26" fmla="*/ 4988 w 10117"/>
                <a:gd name="connsiteY26" fmla="*/ 9849 h 10610"/>
                <a:gd name="connsiteX27" fmla="*/ 5209 w 10117"/>
                <a:gd name="connsiteY27" fmla="*/ 9736 h 10610"/>
                <a:gd name="connsiteX28" fmla="*/ 5419 w 10117"/>
                <a:gd name="connsiteY28" fmla="*/ 9615 h 10610"/>
                <a:gd name="connsiteX29" fmla="*/ 5635 w 10117"/>
                <a:gd name="connsiteY29" fmla="*/ 9491 h 10610"/>
                <a:gd name="connsiteX30" fmla="*/ 5839 w 10117"/>
                <a:gd name="connsiteY30" fmla="*/ 9362 h 10610"/>
                <a:gd name="connsiteX31" fmla="*/ 6043 w 10117"/>
                <a:gd name="connsiteY31" fmla="*/ 9235 h 10610"/>
                <a:gd name="connsiteX32" fmla="*/ 6239 w 10117"/>
                <a:gd name="connsiteY32" fmla="*/ 9105 h 10610"/>
                <a:gd name="connsiteX33" fmla="*/ 6438 w 10117"/>
                <a:gd name="connsiteY33" fmla="*/ 8967 h 10610"/>
                <a:gd name="connsiteX34" fmla="*/ 6629 w 10117"/>
                <a:gd name="connsiteY34" fmla="*/ 8825 h 10610"/>
                <a:gd name="connsiteX35" fmla="*/ 6814 w 10117"/>
                <a:gd name="connsiteY35" fmla="*/ 8689 h 10610"/>
                <a:gd name="connsiteX36" fmla="*/ 6997 w 10117"/>
                <a:gd name="connsiteY36" fmla="*/ 8544 h 10610"/>
                <a:gd name="connsiteX37" fmla="*/ 7173 w 10117"/>
                <a:gd name="connsiteY37" fmla="*/ 8396 h 10610"/>
                <a:gd name="connsiteX38" fmla="*/ 7349 w 10117"/>
                <a:gd name="connsiteY38" fmla="*/ 8248 h 10610"/>
                <a:gd name="connsiteX39" fmla="*/ 7518 w 10117"/>
                <a:gd name="connsiteY39" fmla="*/ 8097 h 10610"/>
                <a:gd name="connsiteX40" fmla="*/ 7686 w 10117"/>
                <a:gd name="connsiteY40" fmla="*/ 7940 h 10610"/>
                <a:gd name="connsiteX41" fmla="*/ 7842 w 10117"/>
                <a:gd name="connsiteY41" fmla="*/ 7782 h 10610"/>
                <a:gd name="connsiteX42" fmla="*/ 7995 w 10117"/>
                <a:gd name="connsiteY42" fmla="*/ 7623 h 10610"/>
                <a:gd name="connsiteX43" fmla="*/ 8150 w 10117"/>
                <a:gd name="connsiteY43" fmla="*/ 7463 h 10610"/>
                <a:gd name="connsiteX44" fmla="*/ 8293 w 10117"/>
                <a:gd name="connsiteY44" fmla="*/ 7296 h 10610"/>
                <a:gd name="connsiteX45" fmla="*/ 8433 w 10117"/>
                <a:gd name="connsiteY45" fmla="*/ 7132 h 10610"/>
                <a:gd name="connsiteX46" fmla="*/ 8569 w 10117"/>
                <a:gd name="connsiteY46" fmla="*/ 6962 h 10610"/>
                <a:gd name="connsiteX47" fmla="*/ 8695 w 10117"/>
                <a:gd name="connsiteY47" fmla="*/ 6788 h 10610"/>
                <a:gd name="connsiteX48" fmla="*/ 8819 w 10117"/>
                <a:gd name="connsiteY48" fmla="*/ 6614 h 10610"/>
                <a:gd name="connsiteX49" fmla="*/ 8945 w 10117"/>
                <a:gd name="connsiteY49" fmla="*/ 6440 h 10610"/>
                <a:gd name="connsiteX50" fmla="*/ 9063 w 10117"/>
                <a:gd name="connsiteY50" fmla="*/ 6262 h 10610"/>
                <a:gd name="connsiteX51" fmla="*/ 9167 w 10117"/>
                <a:gd name="connsiteY51" fmla="*/ 6084 h 10610"/>
                <a:gd name="connsiteX52" fmla="*/ 9274 w 10117"/>
                <a:gd name="connsiteY52" fmla="*/ 5902 h 10610"/>
                <a:gd name="connsiteX53" fmla="*/ 9369 w 10117"/>
                <a:gd name="connsiteY53" fmla="*/ 5716 h 10610"/>
                <a:gd name="connsiteX54" fmla="*/ 9465 w 10117"/>
                <a:gd name="connsiteY54" fmla="*/ 5533 h 10610"/>
                <a:gd name="connsiteX55" fmla="*/ 9549 w 10117"/>
                <a:gd name="connsiteY55" fmla="*/ 5344 h 10610"/>
                <a:gd name="connsiteX56" fmla="*/ 9630 w 10117"/>
                <a:gd name="connsiteY56" fmla="*/ 5153 h 10610"/>
                <a:gd name="connsiteX57" fmla="*/ 9704 w 10117"/>
                <a:gd name="connsiteY57" fmla="*/ 4961 h 10610"/>
                <a:gd name="connsiteX58" fmla="*/ 9777 w 10117"/>
                <a:gd name="connsiteY58" fmla="*/ 4771 h 10610"/>
                <a:gd name="connsiteX59" fmla="*/ 9839 w 10117"/>
                <a:gd name="connsiteY59" fmla="*/ 4578 h 10610"/>
                <a:gd name="connsiteX60" fmla="*/ 9898 w 10117"/>
                <a:gd name="connsiteY60" fmla="*/ 4381 h 10610"/>
                <a:gd name="connsiteX61" fmla="*/ 9635 w 10117"/>
                <a:gd name="connsiteY61" fmla="*/ 0 h 10610"/>
                <a:gd name="connsiteX62" fmla="*/ 6408 w 10117"/>
                <a:gd name="connsiteY62" fmla="*/ 1883 h 10610"/>
                <a:gd name="connsiteX63" fmla="*/ 2450 w 10117"/>
                <a:gd name="connsiteY63" fmla="*/ 1500 h 10610"/>
                <a:gd name="connsiteX0" fmla="*/ 2450 w 10117"/>
                <a:gd name="connsiteY0" fmla="*/ 1500 h 10610"/>
                <a:gd name="connsiteX1" fmla="*/ 1341 w 10117"/>
                <a:gd name="connsiteY1" fmla="*/ 5081 h 10610"/>
                <a:gd name="connsiteX2" fmla="*/ 1262 w 10117"/>
                <a:gd name="connsiteY2" fmla="*/ 5140 h 10610"/>
                <a:gd name="connsiteX3" fmla="*/ 1184 w 10117"/>
                <a:gd name="connsiteY3" fmla="*/ 5204 h 10610"/>
                <a:gd name="connsiteX4" fmla="*/ 1105 w 10117"/>
                <a:gd name="connsiteY4" fmla="*/ 5262 h 10610"/>
                <a:gd name="connsiteX5" fmla="*/ 1017 w 10117"/>
                <a:gd name="connsiteY5" fmla="*/ 5319 h 10610"/>
                <a:gd name="connsiteX6" fmla="*/ 937 w 10117"/>
                <a:gd name="connsiteY6" fmla="*/ 5373 h 10610"/>
                <a:gd name="connsiteX7" fmla="*/ 850 w 10117"/>
                <a:gd name="connsiteY7" fmla="*/ 5429 h 10610"/>
                <a:gd name="connsiteX8" fmla="*/ 765 w 10117"/>
                <a:gd name="connsiteY8" fmla="*/ 5481 h 10610"/>
                <a:gd name="connsiteX9" fmla="*/ 670 w 10117"/>
                <a:gd name="connsiteY9" fmla="*/ 5534 h 10610"/>
                <a:gd name="connsiteX10" fmla="*/ 581 w 10117"/>
                <a:gd name="connsiteY10" fmla="*/ 5583 h 10610"/>
                <a:gd name="connsiteX11" fmla="*/ 488 w 10117"/>
                <a:gd name="connsiteY11" fmla="*/ 5633 h 10610"/>
                <a:gd name="connsiteX12" fmla="*/ 393 w 10117"/>
                <a:gd name="connsiteY12" fmla="*/ 5681 h 10610"/>
                <a:gd name="connsiteX13" fmla="*/ 295 w 10117"/>
                <a:gd name="connsiteY13" fmla="*/ 5725 h 10610"/>
                <a:gd name="connsiteX14" fmla="*/ 198 w 10117"/>
                <a:gd name="connsiteY14" fmla="*/ 5773 h 10610"/>
                <a:gd name="connsiteX15" fmla="*/ 103 w 10117"/>
                <a:gd name="connsiteY15" fmla="*/ 5816 h 10610"/>
                <a:gd name="connsiteX16" fmla="*/ 0 w 10117"/>
                <a:gd name="connsiteY16" fmla="*/ 5857 h 10610"/>
                <a:gd name="connsiteX17" fmla="*/ 210 w 10117"/>
                <a:gd name="connsiteY17" fmla="*/ 8550 h 10610"/>
                <a:gd name="connsiteX18" fmla="*/ 3301 w 10117"/>
                <a:gd name="connsiteY18" fmla="*/ 10610 h 10610"/>
                <a:gd name="connsiteX19" fmla="*/ 3606 w 10117"/>
                <a:gd name="connsiteY19" fmla="*/ 10485 h 10610"/>
                <a:gd name="connsiteX20" fmla="*/ 3848 w 10117"/>
                <a:gd name="connsiteY20" fmla="*/ 10386 h 10610"/>
                <a:gd name="connsiteX21" fmla="*/ 4084 w 10117"/>
                <a:gd name="connsiteY21" fmla="*/ 10287 h 10610"/>
                <a:gd name="connsiteX22" fmla="*/ 4317 w 10117"/>
                <a:gd name="connsiteY22" fmla="*/ 10183 h 10610"/>
                <a:gd name="connsiteX23" fmla="*/ 4549 w 10117"/>
                <a:gd name="connsiteY23" fmla="*/ 10074 h 10610"/>
                <a:gd name="connsiteX24" fmla="*/ 4767 w 10117"/>
                <a:gd name="connsiteY24" fmla="*/ 9967 h 10610"/>
                <a:gd name="connsiteX25" fmla="*/ 4988 w 10117"/>
                <a:gd name="connsiteY25" fmla="*/ 9849 h 10610"/>
                <a:gd name="connsiteX26" fmla="*/ 5209 w 10117"/>
                <a:gd name="connsiteY26" fmla="*/ 9736 h 10610"/>
                <a:gd name="connsiteX27" fmla="*/ 5419 w 10117"/>
                <a:gd name="connsiteY27" fmla="*/ 9615 h 10610"/>
                <a:gd name="connsiteX28" fmla="*/ 5635 w 10117"/>
                <a:gd name="connsiteY28" fmla="*/ 9491 h 10610"/>
                <a:gd name="connsiteX29" fmla="*/ 5839 w 10117"/>
                <a:gd name="connsiteY29" fmla="*/ 9362 h 10610"/>
                <a:gd name="connsiteX30" fmla="*/ 6043 w 10117"/>
                <a:gd name="connsiteY30" fmla="*/ 9235 h 10610"/>
                <a:gd name="connsiteX31" fmla="*/ 6239 w 10117"/>
                <a:gd name="connsiteY31" fmla="*/ 9105 h 10610"/>
                <a:gd name="connsiteX32" fmla="*/ 6438 w 10117"/>
                <a:gd name="connsiteY32" fmla="*/ 8967 h 10610"/>
                <a:gd name="connsiteX33" fmla="*/ 6629 w 10117"/>
                <a:gd name="connsiteY33" fmla="*/ 8825 h 10610"/>
                <a:gd name="connsiteX34" fmla="*/ 6814 w 10117"/>
                <a:gd name="connsiteY34" fmla="*/ 8689 h 10610"/>
                <a:gd name="connsiteX35" fmla="*/ 6997 w 10117"/>
                <a:gd name="connsiteY35" fmla="*/ 8544 h 10610"/>
                <a:gd name="connsiteX36" fmla="*/ 7173 w 10117"/>
                <a:gd name="connsiteY36" fmla="*/ 8396 h 10610"/>
                <a:gd name="connsiteX37" fmla="*/ 7349 w 10117"/>
                <a:gd name="connsiteY37" fmla="*/ 8248 h 10610"/>
                <a:gd name="connsiteX38" fmla="*/ 7518 w 10117"/>
                <a:gd name="connsiteY38" fmla="*/ 8097 h 10610"/>
                <a:gd name="connsiteX39" fmla="*/ 7686 w 10117"/>
                <a:gd name="connsiteY39" fmla="*/ 7940 h 10610"/>
                <a:gd name="connsiteX40" fmla="*/ 7842 w 10117"/>
                <a:gd name="connsiteY40" fmla="*/ 7782 h 10610"/>
                <a:gd name="connsiteX41" fmla="*/ 7995 w 10117"/>
                <a:gd name="connsiteY41" fmla="*/ 7623 h 10610"/>
                <a:gd name="connsiteX42" fmla="*/ 8150 w 10117"/>
                <a:gd name="connsiteY42" fmla="*/ 7463 h 10610"/>
                <a:gd name="connsiteX43" fmla="*/ 8293 w 10117"/>
                <a:gd name="connsiteY43" fmla="*/ 7296 h 10610"/>
                <a:gd name="connsiteX44" fmla="*/ 8433 w 10117"/>
                <a:gd name="connsiteY44" fmla="*/ 7132 h 10610"/>
                <a:gd name="connsiteX45" fmla="*/ 8569 w 10117"/>
                <a:gd name="connsiteY45" fmla="*/ 6962 h 10610"/>
                <a:gd name="connsiteX46" fmla="*/ 8695 w 10117"/>
                <a:gd name="connsiteY46" fmla="*/ 6788 h 10610"/>
                <a:gd name="connsiteX47" fmla="*/ 8819 w 10117"/>
                <a:gd name="connsiteY47" fmla="*/ 6614 h 10610"/>
                <a:gd name="connsiteX48" fmla="*/ 8945 w 10117"/>
                <a:gd name="connsiteY48" fmla="*/ 6440 h 10610"/>
                <a:gd name="connsiteX49" fmla="*/ 9063 w 10117"/>
                <a:gd name="connsiteY49" fmla="*/ 6262 h 10610"/>
                <a:gd name="connsiteX50" fmla="*/ 9167 w 10117"/>
                <a:gd name="connsiteY50" fmla="*/ 6084 h 10610"/>
                <a:gd name="connsiteX51" fmla="*/ 9274 w 10117"/>
                <a:gd name="connsiteY51" fmla="*/ 5902 h 10610"/>
                <a:gd name="connsiteX52" fmla="*/ 9369 w 10117"/>
                <a:gd name="connsiteY52" fmla="*/ 5716 h 10610"/>
                <a:gd name="connsiteX53" fmla="*/ 9465 w 10117"/>
                <a:gd name="connsiteY53" fmla="*/ 5533 h 10610"/>
                <a:gd name="connsiteX54" fmla="*/ 9549 w 10117"/>
                <a:gd name="connsiteY54" fmla="*/ 5344 h 10610"/>
                <a:gd name="connsiteX55" fmla="*/ 9630 w 10117"/>
                <a:gd name="connsiteY55" fmla="*/ 5153 h 10610"/>
                <a:gd name="connsiteX56" fmla="*/ 9704 w 10117"/>
                <a:gd name="connsiteY56" fmla="*/ 4961 h 10610"/>
                <a:gd name="connsiteX57" fmla="*/ 9777 w 10117"/>
                <a:gd name="connsiteY57" fmla="*/ 4771 h 10610"/>
                <a:gd name="connsiteX58" fmla="*/ 9839 w 10117"/>
                <a:gd name="connsiteY58" fmla="*/ 4578 h 10610"/>
                <a:gd name="connsiteX59" fmla="*/ 9898 w 10117"/>
                <a:gd name="connsiteY59" fmla="*/ 4381 h 10610"/>
                <a:gd name="connsiteX60" fmla="*/ 9635 w 10117"/>
                <a:gd name="connsiteY60" fmla="*/ 0 h 10610"/>
                <a:gd name="connsiteX61" fmla="*/ 6408 w 10117"/>
                <a:gd name="connsiteY61" fmla="*/ 1883 h 10610"/>
                <a:gd name="connsiteX62" fmla="*/ 2450 w 10117"/>
                <a:gd name="connsiteY62" fmla="*/ 1500 h 10610"/>
                <a:gd name="connsiteX0" fmla="*/ 2450 w 10117"/>
                <a:gd name="connsiteY0" fmla="*/ 1500 h 10610"/>
                <a:gd name="connsiteX1" fmla="*/ 1262 w 10117"/>
                <a:gd name="connsiteY1" fmla="*/ 5140 h 10610"/>
                <a:gd name="connsiteX2" fmla="*/ 1184 w 10117"/>
                <a:gd name="connsiteY2" fmla="*/ 5204 h 10610"/>
                <a:gd name="connsiteX3" fmla="*/ 1105 w 10117"/>
                <a:gd name="connsiteY3" fmla="*/ 5262 h 10610"/>
                <a:gd name="connsiteX4" fmla="*/ 1017 w 10117"/>
                <a:gd name="connsiteY4" fmla="*/ 5319 h 10610"/>
                <a:gd name="connsiteX5" fmla="*/ 937 w 10117"/>
                <a:gd name="connsiteY5" fmla="*/ 5373 h 10610"/>
                <a:gd name="connsiteX6" fmla="*/ 850 w 10117"/>
                <a:gd name="connsiteY6" fmla="*/ 5429 h 10610"/>
                <a:gd name="connsiteX7" fmla="*/ 765 w 10117"/>
                <a:gd name="connsiteY7" fmla="*/ 5481 h 10610"/>
                <a:gd name="connsiteX8" fmla="*/ 670 w 10117"/>
                <a:gd name="connsiteY8" fmla="*/ 5534 h 10610"/>
                <a:gd name="connsiteX9" fmla="*/ 581 w 10117"/>
                <a:gd name="connsiteY9" fmla="*/ 5583 h 10610"/>
                <a:gd name="connsiteX10" fmla="*/ 488 w 10117"/>
                <a:gd name="connsiteY10" fmla="*/ 5633 h 10610"/>
                <a:gd name="connsiteX11" fmla="*/ 393 w 10117"/>
                <a:gd name="connsiteY11" fmla="*/ 5681 h 10610"/>
                <a:gd name="connsiteX12" fmla="*/ 295 w 10117"/>
                <a:gd name="connsiteY12" fmla="*/ 5725 h 10610"/>
                <a:gd name="connsiteX13" fmla="*/ 198 w 10117"/>
                <a:gd name="connsiteY13" fmla="*/ 5773 h 10610"/>
                <a:gd name="connsiteX14" fmla="*/ 103 w 10117"/>
                <a:gd name="connsiteY14" fmla="*/ 5816 h 10610"/>
                <a:gd name="connsiteX15" fmla="*/ 0 w 10117"/>
                <a:gd name="connsiteY15" fmla="*/ 5857 h 10610"/>
                <a:gd name="connsiteX16" fmla="*/ 210 w 10117"/>
                <a:gd name="connsiteY16" fmla="*/ 8550 h 10610"/>
                <a:gd name="connsiteX17" fmla="*/ 3301 w 10117"/>
                <a:gd name="connsiteY17" fmla="*/ 10610 h 10610"/>
                <a:gd name="connsiteX18" fmla="*/ 3606 w 10117"/>
                <a:gd name="connsiteY18" fmla="*/ 10485 h 10610"/>
                <a:gd name="connsiteX19" fmla="*/ 3848 w 10117"/>
                <a:gd name="connsiteY19" fmla="*/ 10386 h 10610"/>
                <a:gd name="connsiteX20" fmla="*/ 4084 w 10117"/>
                <a:gd name="connsiteY20" fmla="*/ 10287 h 10610"/>
                <a:gd name="connsiteX21" fmla="*/ 4317 w 10117"/>
                <a:gd name="connsiteY21" fmla="*/ 10183 h 10610"/>
                <a:gd name="connsiteX22" fmla="*/ 4549 w 10117"/>
                <a:gd name="connsiteY22" fmla="*/ 10074 h 10610"/>
                <a:gd name="connsiteX23" fmla="*/ 4767 w 10117"/>
                <a:gd name="connsiteY23" fmla="*/ 9967 h 10610"/>
                <a:gd name="connsiteX24" fmla="*/ 4988 w 10117"/>
                <a:gd name="connsiteY24" fmla="*/ 9849 h 10610"/>
                <a:gd name="connsiteX25" fmla="*/ 5209 w 10117"/>
                <a:gd name="connsiteY25" fmla="*/ 9736 h 10610"/>
                <a:gd name="connsiteX26" fmla="*/ 5419 w 10117"/>
                <a:gd name="connsiteY26" fmla="*/ 9615 h 10610"/>
                <a:gd name="connsiteX27" fmla="*/ 5635 w 10117"/>
                <a:gd name="connsiteY27" fmla="*/ 9491 h 10610"/>
                <a:gd name="connsiteX28" fmla="*/ 5839 w 10117"/>
                <a:gd name="connsiteY28" fmla="*/ 9362 h 10610"/>
                <a:gd name="connsiteX29" fmla="*/ 6043 w 10117"/>
                <a:gd name="connsiteY29" fmla="*/ 9235 h 10610"/>
                <a:gd name="connsiteX30" fmla="*/ 6239 w 10117"/>
                <a:gd name="connsiteY30" fmla="*/ 9105 h 10610"/>
                <a:gd name="connsiteX31" fmla="*/ 6438 w 10117"/>
                <a:gd name="connsiteY31" fmla="*/ 8967 h 10610"/>
                <a:gd name="connsiteX32" fmla="*/ 6629 w 10117"/>
                <a:gd name="connsiteY32" fmla="*/ 8825 h 10610"/>
                <a:gd name="connsiteX33" fmla="*/ 6814 w 10117"/>
                <a:gd name="connsiteY33" fmla="*/ 8689 h 10610"/>
                <a:gd name="connsiteX34" fmla="*/ 6997 w 10117"/>
                <a:gd name="connsiteY34" fmla="*/ 8544 h 10610"/>
                <a:gd name="connsiteX35" fmla="*/ 7173 w 10117"/>
                <a:gd name="connsiteY35" fmla="*/ 8396 h 10610"/>
                <a:gd name="connsiteX36" fmla="*/ 7349 w 10117"/>
                <a:gd name="connsiteY36" fmla="*/ 8248 h 10610"/>
                <a:gd name="connsiteX37" fmla="*/ 7518 w 10117"/>
                <a:gd name="connsiteY37" fmla="*/ 8097 h 10610"/>
                <a:gd name="connsiteX38" fmla="*/ 7686 w 10117"/>
                <a:gd name="connsiteY38" fmla="*/ 7940 h 10610"/>
                <a:gd name="connsiteX39" fmla="*/ 7842 w 10117"/>
                <a:gd name="connsiteY39" fmla="*/ 7782 h 10610"/>
                <a:gd name="connsiteX40" fmla="*/ 7995 w 10117"/>
                <a:gd name="connsiteY40" fmla="*/ 7623 h 10610"/>
                <a:gd name="connsiteX41" fmla="*/ 8150 w 10117"/>
                <a:gd name="connsiteY41" fmla="*/ 7463 h 10610"/>
                <a:gd name="connsiteX42" fmla="*/ 8293 w 10117"/>
                <a:gd name="connsiteY42" fmla="*/ 7296 h 10610"/>
                <a:gd name="connsiteX43" fmla="*/ 8433 w 10117"/>
                <a:gd name="connsiteY43" fmla="*/ 7132 h 10610"/>
                <a:gd name="connsiteX44" fmla="*/ 8569 w 10117"/>
                <a:gd name="connsiteY44" fmla="*/ 6962 h 10610"/>
                <a:gd name="connsiteX45" fmla="*/ 8695 w 10117"/>
                <a:gd name="connsiteY45" fmla="*/ 6788 h 10610"/>
                <a:gd name="connsiteX46" fmla="*/ 8819 w 10117"/>
                <a:gd name="connsiteY46" fmla="*/ 6614 h 10610"/>
                <a:gd name="connsiteX47" fmla="*/ 8945 w 10117"/>
                <a:gd name="connsiteY47" fmla="*/ 6440 h 10610"/>
                <a:gd name="connsiteX48" fmla="*/ 9063 w 10117"/>
                <a:gd name="connsiteY48" fmla="*/ 6262 h 10610"/>
                <a:gd name="connsiteX49" fmla="*/ 9167 w 10117"/>
                <a:gd name="connsiteY49" fmla="*/ 6084 h 10610"/>
                <a:gd name="connsiteX50" fmla="*/ 9274 w 10117"/>
                <a:gd name="connsiteY50" fmla="*/ 5902 h 10610"/>
                <a:gd name="connsiteX51" fmla="*/ 9369 w 10117"/>
                <a:gd name="connsiteY51" fmla="*/ 5716 h 10610"/>
                <a:gd name="connsiteX52" fmla="*/ 9465 w 10117"/>
                <a:gd name="connsiteY52" fmla="*/ 5533 h 10610"/>
                <a:gd name="connsiteX53" fmla="*/ 9549 w 10117"/>
                <a:gd name="connsiteY53" fmla="*/ 5344 h 10610"/>
                <a:gd name="connsiteX54" fmla="*/ 9630 w 10117"/>
                <a:gd name="connsiteY54" fmla="*/ 5153 h 10610"/>
                <a:gd name="connsiteX55" fmla="*/ 9704 w 10117"/>
                <a:gd name="connsiteY55" fmla="*/ 4961 h 10610"/>
                <a:gd name="connsiteX56" fmla="*/ 9777 w 10117"/>
                <a:gd name="connsiteY56" fmla="*/ 4771 h 10610"/>
                <a:gd name="connsiteX57" fmla="*/ 9839 w 10117"/>
                <a:gd name="connsiteY57" fmla="*/ 4578 h 10610"/>
                <a:gd name="connsiteX58" fmla="*/ 9898 w 10117"/>
                <a:gd name="connsiteY58" fmla="*/ 4381 h 10610"/>
                <a:gd name="connsiteX59" fmla="*/ 9635 w 10117"/>
                <a:gd name="connsiteY59" fmla="*/ 0 h 10610"/>
                <a:gd name="connsiteX60" fmla="*/ 6408 w 10117"/>
                <a:gd name="connsiteY60" fmla="*/ 1883 h 10610"/>
                <a:gd name="connsiteX61" fmla="*/ 2450 w 10117"/>
                <a:gd name="connsiteY61" fmla="*/ 1500 h 10610"/>
                <a:gd name="connsiteX0" fmla="*/ 2450 w 10117"/>
                <a:gd name="connsiteY0" fmla="*/ 1500 h 10610"/>
                <a:gd name="connsiteX1" fmla="*/ 1259 w 10117"/>
                <a:gd name="connsiteY1" fmla="*/ 5109 h 10610"/>
                <a:gd name="connsiteX2" fmla="*/ 1262 w 10117"/>
                <a:gd name="connsiteY2" fmla="*/ 5140 h 10610"/>
                <a:gd name="connsiteX3" fmla="*/ 1184 w 10117"/>
                <a:gd name="connsiteY3" fmla="*/ 5204 h 10610"/>
                <a:gd name="connsiteX4" fmla="*/ 1105 w 10117"/>
                <a:gd name="connsiteY4" fmla="*/ 5262 h 10610"/>
                <a:gd name="connsiteX5" fmla="*/ 1017 w 10117"/>
                <a:gd name="connsiteY5" fmla="*/ 5319 h 10610"/>
                <a:gd name="connsiteX6" fmla="*/ 937 w 10117"/>
                <a:gd name="connsiteY6" fmla="*/ 5373 h 10610"/>
                <a:gd name="connsiteX7" fmla="*/ 850 w 10117"/>
                <a:gd name="connsiteY7" fmla="*/ 5429 h 10610"/>
                <a:gd name="connsiteX8" fmla="*/ 765 w 10117"/>
                <a:gd name="connsiteY8" fmla="*/ 5481 h 10610"/>
                <a:gd name="connsiteX9" fmla="*/ 670 w 10117"/>
                <a:gd name="connsiteY9" fmla="*/ 5534 h 10610"/>
                <a:gd name="connsiteX10" fmla="*/ 581 w 10117"/>
                <a:gd name="connsiteY10" fmla="*/ 5583 h 10610"/>
                <a:gd name="connsiteX11" fmla="*/ 488 w 10117"/>
                <a:gd name="connsiteY11" fmla="*/ 5633 h 10610"/>
                <a:gd name="connsiteX12" fmla="*/ 393 w 10117"/>
                <a:gd name="connsiteY12" fmla="*/ 5681 h 10610"/>
                <a:gd name="connsiteX13" fmla="*/ 295 w 10117"/>
                <a:gd name="connsiteY13" fmla="*/ 5725 h 10610"/>
                <a:gd name="connsiteX14" fmla="*/ 198 w 10117"/>
                <a:gd name="connsiteY14" fmla="*/ 5773 h 10610"/>
                <a:gd name="connsiteX15" fmla="*/ 103 w 10117"/>
                <a:gd name="connsiteY15" fmla="*/ 5816 h 10610"/>
                <a:gd name="connsiteX16" fmla="*/ 0 w 10117"/>
                <a:gd name="connsiteY16" fmla="*/ 5857 h 10610"/>
                <a:gd name="connsiteX17" fmla="*/ 210 w 10117"/>
                <a:gd name="connsiteY17" fmla="*/ 8550 h 10610"/>
                <a:gd name="connsiteX18" fmla="*/ 3301 w 10117"/>
                <a:gd name="connsiteY18" fmla="*/ 10610 h 10610"/>
                <a:gd name="connsiteX19" fmla="*/ 3606 w 10117"/>
                <a:gd name="connsiteY19" fmla="*/ 10485 h 10610"/>
                <a:gd name="connsiteX20" fmla="*/ 3848 w 10117"/>
                <a:gd name="connsiteY20" fmla="*/ 10386 h 10610"/>
                <a:gd name="connsiteX21" fmla="*/ 4084 w 10117"/>
                <a:gd name="connsiteY21" fmla="*/ 10287 h 10610"/>
                <a:gd name="connsiteX22" fmla="*/ 4317 w 10117"/>
                <a:gd name="connsiteY22" fmla="*/ 10183 h 10610"/>
                <a:gd name="connsiteX23" fmla="*/ 4549 w 10117"/>
                <a:gd name="connsiteY23" fmla="*/ 10074 h 10610"/>
                <a:gd name="connsiteX24" fmla="*/ 4767 w 10117"/>
                <a:gd name="connsiteY24" fmla="*/ 9967 h 10610"/>
                <a:gd name="connsiteX25" fmla="*/ 4988 w 10117"/>
                <a:gd name="connsiteY25" fmla="*/ 9849 h 10610"/>
                <a:gd name="connsiteX26" fmla="*/ 5209 w 10117"/>
                <a:gd name="connsiteY26" fmla="*/ 9736 h 10610"/>
                <a:gd name="connsiteX27" fmla="*/ 5419 w 10117"/>
                <a:gd name="connsiteY27" fmla="*/ 9615 h 10610"/>
                <a:gd name="connsiteX28" fmla="*/ 5635 w 10117"/>
                <a:gd name="connsiteY28" fmla="*/ 9491 h 10610"/>
                <a:gd name="connsiteX29" fmla="*/ 5839 w 10117"/>
                <a:gd name="connsiteY29" fmla="*/ 9362 h 10610"/>
                <a:gd name="connsiteX30" fmla="*/ 6043 w 10117"/>
                <a:gd name="connsiteY30" fmla="*/ 9235 h 10610"/>
                <a:gd name="connsiteX31" fmla="*/ 6239 w 10117"/>
                <a:gd name="connsiteY31" fmla="*/ 9105 h 10610"/>
                <a:gd name="connsiteX32" fmla="*/ 6438 w 10117"/>
                <a:gd name="connsiteY32" fmla="*/ 8967 h 10610"/>
                <a:gd name="connsiteX33" fmla="*/ 6629 w 10117"/>
                <a:gd name="connsiteY33" fmla="*/ 8825 h 10610"/>
                <a:gd name="connsiteX34" fmla="*/ 6814 w 10117"/>
                <a:gd name="connsiteY34" fmla="*/ 8689 h 10610"/>
                <a:gd name="connsiteX35" fmla="*/ 6997 w 10117"/>
                <a:gd name="connsiteY35" fmla="*/ 8544 h 10610"/>
                <a:gd name="connsiteX36" fmla="*/ 7173 w 10117"/>
                <a:gd name="connsiteY36" fmla="*/ 8396 h 10610"/>
                <a:gd name="connsiteX37" fmla="*/ 7349 w 10117"/>
                <a:gd name="connsiteY37" fmla="*/ 8248 h 10610"/>
                <a:gd name="connsiteX38" fmla="*/ 7518 w 10117"/>
                <a:gd name="connsiteY38" fmla="*/ 8097 h 10610"/>
                <a:gd name="connsiteX39" fmla="*/ 7686 w 10117"/>
                <a:gd name="connsiteY39" fmla="*/ 7940 h 10610"/>
                <a:gd name="connsiteX40" fmla="*/ 7842 w 10117"/>
                <a:gd name="connsiteY40" fmla="*/ 7782 h 10610"/>
                <a:gd name="connsiteX41" fmla="*/ 7995 w 10117"/>
                <a:gd name="connsiteY41" fmla="*/ 7623 h 10610"/>
                <a:gd name="connsiteX42" fmla="*/ 8150 w 10117"/>
                <a:gd name="connsiteY42" fmla="*/ 7463 h 10610"/>
                <a:gd name="connsiteX43" fmla="*/ 8293 w 10117"/>
                <a:gd name="connsiteY43" fmla="*/ 7296 h 10610"/>
                <a:gd name="connsiteX44" fmla="*/ 8433 w 10117"/>
                <a:gd name="connsiteY44" fmla="*/ 7132 h 10610"/>
                <a:gd name="connsiteX45" fmla="*/ 8569 w 10117"/>
                <a:gd name="connsiteY45" fmla="*/ 6962 h 10610"/>
                <a:gd name="connsiteX46" fmla="*/ 8695 w 10117"/>
                <a:gd name="connsiteY46" fmla="*/ 6788 h 10610"/>
                <a:gd name="connsiteX47" fmla="*/ 8819 w 10117"/>
                <a:gd name="connsiteY47" fmla="*/ 6614 h 10610"/>
                <a:gd name="connsiteX48" fmla="*/ 8945 w 10117"/>
                <a:gd name="connsiteY48" fmla="*/ 6440 h 10610"/>
                <a:gd name="connsiteX49" fmla="*/ 9063 w 10117"/>
                <a:gd name="connsiteY49" fmla="*/ 6262 h 10610"/>
                <a:gd name="connsiteX50" fmla="*/ 9167 w 10117"/>
                <a:gd name="connsiteY50" fmla="*/ 6084 h 10610"/>
                <a:gd name="connsiteX51" fmla="*/ 9274 w 10117"/>
                <a:gd name="connsiteY51" fmla="*/ 5902 h 10610"/>
                <a:gd name="connsiteX52" fmla="*/ 9369 w 10117"/>
                <a:gd name="connsiteY52" fmla="*/ 5716 h 10610"/>
                <a:gd name="connsiteX53" fmla="*/ 9465 w 10117"/>
                <a:gd name="connsiteY53" fmla="*/ 5533 h 10610"/>
                <a:gd name="connsiteX54" fmla="*/ 9549 w 10117"/>
                <a:gd name="connsiteY54" fmla="*/ 5344 h 10610"/>
                <a:gd name="connsiteX55" fmla="*/ 9630 w 10117"/>
                <a:gd name="connsiteY55" fmla="*/ 5153 h 10610"/>
                <a:gd name="connsiteX56" fmla="*/ 9704 w 10117"/>
                <a:gd name="connsiteY56" fmla="*/ 4961 h 10610"/>
                <a:gd name="connsiteX57" fmla="*/ 9777 w 10117"/>
                <a:gd name="connsiteY57" fmla="*/ 4771 h 10610"/>
                <a:gd name="connsiteX58" fmla="*/ 9839 w 10117"/>
                <a:gd name="connsiteY58" fmla="*/ 4578 h 10610"/>
                <a:gd name="connsiteX59" fmla="*/ 9898 w 10117"/>
                <a:gd name="connsiteY59" fmla="*/ 4381 h 10610"/>
                <a:gd name="connsiteX60" fmla="*/ 9635 w 10117"/>
                <a:gd name="connsiteY60" fmla="*/ 0 h 10610"/>
                <a:gd name="connsiteX61" fmla="*/ 6408 w 10117"/>
                <a:gd name="connsiteY61" fmla="*/ 1883 h 10610"/>
                <a:gd name="connsiteX62" fmla="*/ 2450 w 10117"/>
                <a:gd name="connsiteY62" fmla="*/ 1500 h 10610"/>
                <a:gd name="connsiteX0" fmla="*/ 2450 w 10117"/>
                <a:gd name="connsiteY0" fmla="*/ 1500 h 10610"/>
                <a:gd name="connsiteX1" fmla="*/ 1259 w 10117"/>
                <a:gd name="connsiteY1" fmla="*/ 5109 h 10610"/>
                <a:gd name="connsiteX2" fmla="*/ 1262 w 10117"/>
                <a:gd name="connsiteY2" fmla="*/ 5140 h 10610"/>
                <a:gd name="connsiteX3" fmla="*/ 1105 w 10117"/>
                <a:gd name="connsiteY3" fmla="*/ 5262 h 10610"/>
                <a:gd name="connsiteX4" fmla="*/ 1017 w 10117"/>
                <a:gd name="connsiteY4" fmla="*/ 5319 h 10610"/>
                <a:gd name="connsiteX5" fmla="*/ 937 w 10117"/>
                <a:gd name="connsiteY5" fmla="*/ 5373 h 10610"/>
                <a:gd name="connsiteX6" fmla="*/ 850 w 10117"/>
                <a:gd name="connsiteY6" fmla="*/ 5429 h 10610"/>
                <a:gd name="connsiteX7" fmla="*/ 765 w 10117"/>
                <a:gd name="connsiteY7" fmla="*/ 5481 h 10610"/>
                <a:gd name="connsiteX8" fmla="*/ 670 w 10117"/>
                <a:gd name="connsiteY8" fmla="*/ 5534 h 10610"/>
                <a:gd name="connsiteX9" fmla="*/ 581 w 10117"/>
                <a:gd name="connsiteY9" fmla="*/ 5583 h 10610"/>
                <a:gd name="connsiteX10" fmla="*/ 488 w 10117"/>
                <a:gd name="connsiteY10" fmla="*/ 5633 h 10610"/>
                <a:gd name="connsiteX11" fmla="*/ 393 w 10117"/>
                <a:gd name="connsiteY11" fmla="*/ 5681 h 10610"/>
                <a:gd name="connsiteX12" fmla="*/ 295 w 10117"/>
                <a:gd name="connsiteY12" fmla="*/ 5725 h 10610"/>
                <a:gd name="connsiteX13" fmla="*/ 198 w 10117"/>
                <a:gd name="connsiteY13" fmla="*/ 5773 h 10610"/>
                <a:gd name="connsiteX14" fmla="*/ 103 w 10117"/>
                <a:gd name="connsiteY14" fmla="*/ 5816 h 10610"/>
                <a:gd name="connsiteX15" fmla="*/ 0 w 10117"/>
                <a:gd name="connsiteY15" fmla="*/ 5857 h 10610"/>
                <a:gd name="connsiteX16" fmla="*/ 210 w 10117"/>
                <a:gd name="connsiteY16" fmla="*/ 8550 h 10610"/>
                <a:gd name="connsiteX17" fmla="*/ 3301 w 10117"/>
                <a:gd name="connsiteY17" fmla="*/ 10610 h 10610"/>
                <a:gd name="connsiteX18" fmla="*/ 3606 w 10117"/>
                <a:gd name="connsiteY18" fmla="*/ 10485 h 10610"/>
                <a:gd name="connsiteX19" fmla="*/ 3848 w 10117"/>
                <a:gd name="connsiteY19" fmla="*/ 10386 h 10610"/>
                <a:gd name="connsiteX20" fmla="*/ 4084 w 10117"/>
                <a:gd name="connsiteY20" fmla="*/ 10287 h 10610"/>
                <a:gd name="connsiteX21" fmla="*/ 4317 w 10117"/>
                <a:gd name="connsiteY21" fmla="*/ 10183 h 10610"/>
                <a:gd name="connsiteX22" fmla="*/ 4549 w 10117"/>
                <a:gd name="connsiteY22" fmla="*/ 10074 h 10610"/>
                <a:gd name="connsiteX23" fmla="*/ 4767 w 10117"/>
                <a:gd name="connsiteY23" fmla="*/ 9967 h 10610"/>
                <a:gd name="connsiteX24" fmla="*/ 4988 w 10117"/>
                <a:gd name="connsiteY24" fmla="*/ 9849 h 10610"/>
                <a:gd name="connsiteX25" fmla="*/ 5209 w 10117"/>
                <a:gd name="connsiteY25" fmla="*/ 9736 h 10610"/>
                <a:gd name="connsiteX26" fmla="*/ 5419 w 10117"/>
                <a:gd name="connsiteY26" fmla="*/ 9615 h 10610"/>
                <a:gd name="connsiteX27" fmla="*/ 5635 w 10117"/>
                <a:gd name="connsiteY27" fmla="*/ 9491 h 10610"/>
                <a:gd name="connsiteX28" fmla="*/ 5839 w 10117"/>
                <a:gd name="connsiteY28" fmla="*/ 9362 h 10610"/>
                <a:gd name="connsiteX29" fmla="*/ 6043 w 10117"/>
                <a:gd name="connsiteY29" fmla="*/ 9235 h 10610"/>
                <a:gd name="connsiteX30" fmla="*/ 6239 w 10117"/>
                <a:gd name="connsiteY30" fmla="*/ 9105 h 10610"/>
                <a:gd name="connsiteX31" fmla="*/ 6438 w 10117"/>
                <a:gd name="connsiteY31" fmla="*/ 8967 h 10610"/>
                <a:gd name="connsiteX32" fmla="*/ 6629 w 10117"/>
                <a:gd name="connsiteY32" fmla="*/ 8825 h 10610"/>
                <a:gd name="connsiteX33" fmla="*/ 6814 w 10117"/>
                <a:gd name="connsiteY33" fmla="*/ 8689 h 10610"/>
                <a:gd name="connsiteX34" fmla="*/ 6997 w 10117"/>
                <a:gd name="connsiteY34" fmla="*/ 8544 h 10610"/>
                <a:gd name="connsiteX35" fmla="*/ 7173 w 10117"/>
                <a:gd name="connsiteY35" fmla="*/ 8396 h 10610"/>
                <a:gd name="connsiteX36" fmla="*/ 7349 w 10117"/>
                <a:gd name="connsiteY36" fmla="*/ 8248 h 10610"/>
                <a:gd name="connsiteX37" fmla="*/ 7518 w 10117"/>
                <a:gd name="connsiteY37" fmla="*/ 8097 h 10610"/>
                <a:gd name="connsiteX38" fmla="*/ 7686 w 10117"/>
                <a:gd name="connsiteY38" fmla="*/ 7940 h 10610"/>
                <a:gd name="connsiteX39" fmla="*/ 7842 w 10117"/>
                <a:gd name="connsiteY39" fmla="*/ 7782 h 10610"/>
                <a:gd name="connsiteX40" fmla="*/ 7995 w 10117"/>
                <a:gd name="connsiteY40" fmla="*/ 7623 h 10610"/>
                <a:gd name="connsiteX41" fmla="*/ 8150 w 10117"/>
                <a:gd name="connsiteY41" fmla="*/ 7463 h 10610"/>
                <a:gd name="connsiteX42" fmla="*/ 8293 w 10117"/>
                <a:gd name="connsiteY42" fmla="*/ 7296 h 10610"/>
                <a:gd name="connsiteX43" fmla="*/ 8433 w 10117"/>
                <a:gd name="connsiteY43" fmla="*/ 7132 h 10610"/>
                <a:gd name="connsiteX44" fmla="*/ 8569 w 10117"/>
                <a:gd name="connsiteY44" fmla="*/ 6962 h 10610"/>
                <a:gd name="connsiteX45" fmla="*/ 8695 w 10117"/>
                <a:gd name="connsiteY45" fmla="*/ 6788 h 10610"/>
                <a:gd name="connsiteX46" fmla="*/ 8819 w 10117"/>
                <a:gd name="connsiteY46" fmla="*/ 6614 h 10610"/>
                <a:gd name="connsiteX47" fmla="*/ 8945 w 10117"/>
                <a:gd name="connsiteY47" fmla="*/ 6440 h 10610"/>
                <a:gd name="connsiteX48" fmla="*/ 9063 w 10117"/>
                <a:gd name="connsiteY48" fmla="*/ 6262 h 10610"/>
                <a:gd name="connsiteX49" fmla="*/ 9167 w 10117"/>
                <a:gd name="connsiteY49" fmla="*/ 6084 h 10610"/>
                <a:gd name="connsiteX50" fmla="*/ 9274 w 10117"/>
                <a:gd name="connsiteY50" fmla="*/ 5902 h 10610"/>
                <a:gd name="connsiteX51" fmla="*/ 9369 w 10117"/>
                <a:gd name="connsiteY51" fmla="*/ 5716 h 10610"/>
                <a:gd name="connsiteX52" fmla="*/ 9465 w 10117"/>
                <a:gd name="connsiteY52" fmla="*/ 5533 h 10610"/>
                <a:gd name="connsiteX53" fmla="*/ 9549 w 10117"/>
                <a:gd name="connsiteY53" fmla="*/ 5344 h 10610"/>
                <a:gd name="connsiteX54" fmla="*/ 9630 w 10117"/>
                <a:gd name="connsiteY54" fmla="*/ 5153 h 10610"/>
                <a:gd name="connsiteX55" fmla="*/ 9704 w 10117"/>
                <a:gd name="connsiteY55" fmla="*/ 4961 h 10610"/>
                <a:gd name="connsiteX56" fmla="*/ 9777 w 10117"/>
                <a:gd name="connsiteY56" fmla="*/ 4771 h 10610"/>
                <a:gd name="connsiteX57" fmla="*/ 9839 w 10117"/>
                <a:gd name="connsiteY57" fmla="*/ 4578 h 10610"/>
                <a:gd name="connsiteX58" fmla="*/ 9898 w 10117"/>
                <a:gd name="connsiteY58" fmla="*/ 4381 h 10610"/>
                <a:gd name="connsiteX59" fmla="*/ 9635 w 10117"/>
                <a:gd name="connsiteY59" fmla="*/ 0 h 10610"/>
                <a:gd name="connsiteX60" fmla="*/ 6408 w 10117"/>
                <a:gd name="connsiteY60" fmla="*/ 1883 h 10610"/>
                <a:gd name="connsiteX61" fmla="*/ 2450 w 10117"/>
                <a:gd name="connsiteY61" fmla="*/ 1500 h 10610"/>
                <a:gd name="connsiteX0" fmla="*/ 2450 w 10117"/>
                <a:gd name="connsiteY0" fmla="*/ 1500 h 10610"/>
                <a:gd name="connsiteX1" fmla="*/ 1259 w 10117"/>
                <a:gd name="connsiteY1" fmla="*/ 5109 h 10610"/>
                <a:gd name="connsiteX2" fmla="*/ 1262 w 10117"/>
                <a:gd name="connsiteY2" fmla="*/ 5140 h 10610"/>
                <a:gd name="connsiteX3" fmla="*/ 1017 w 10117"/>
                <a:gd name="connsiteY3" fmla="*/ 5319 h 10610"/>
                <a:gd name="connsiteX4" fmla="*/ 937 w 10117"/>
                <a:gd name="connsiteY4" fmla="*/ 5373 h 10610"/>
                <a:gd name="connsiteX5" fmla="*/ 850 w 10117"/>
                <a:gd name="connsiteY5" fmla="*/ 5429 h 10610"/>
                <a:gd name="connsiteX6" fmla="*/ 765 w 10117"/>
                <a:gd name="connsiteY6" fmla="*/ 5481 h 10610"/>
                <a:gd name="connsiteX7" fmla="*/ 670 w 10117"/>
                <a:gd name="connsiteY7" fmla="*/ 5534 h 10610"/>
                <a:gd name="connsiteX8" fmla="*/ 581 w 10117"/>
                <a:gd name="connsiteY8" fmla="*/ 5583 h 10610"/>
                <a:gd name="connsiteX9" fmla="*/ 488 w 10117"/>
                <a:gd name="connsiteY9" fmla="*/ 5633 h 10610"/>
                <a:gd name="connsiteX10" fmla="*/ 393 w 10117"/>
                <a:gd name="connsiteY10" fmla="*/ 5681 h 10610"/>
                <a:gd name="connsiteX11" fmla="*/ 295 w 10117"/>
                <a:gd name="connsiteY11" fmla="*/ 5725 h 10610"/>
                <a:gd name="connsiteX12" fmla="*/ 198 w 10117"/>
                <a:gd name="connsiteY12" fmla="*/ 5773 h 10610"/>
                <a:gd name="connsiteX13" fmla="*/ 103 w 10117"/>
                <a:gd name="connsiteY13" fmla="*/ 5816 h 10610"/>
                <a:gd name="connsiteX14" fmla="*/ 0 w 10117"/>
                <a:gd name="connsiteY14" fmla="*/ 5857 h 10610"/>
                <a:gd name="connsiteX15" fmla="*/ 210 w 10117"/>
                <a:gd name="connsiteY15" fmla="*/ 8550 h 10610"/>
                <a:gd name="connsiteX16" fmla="*/ 3301 w 10117"/>
                <a:gd name="connsiteY16" fmla="*/ 10610 h 10610"/>
                <a:gd name="connsiteX17" fmla="*/ 3606 w 10117"/>
                <a:gd name="connsiteY17" fmla="*/ 10485 h 10610"/>
                <a:gd name="connsiteX18" fmla="*/ 3848 w 10117"/>
                <a:gd name="connsiteY18" fmla="*/ 10386 h 10610"/>
                <a:gd name="connsiteX19" fmla="*/ 4084 w 10117"/>
                <a:gd name="connsiteY19" fmla="*/ 10287 h 10610"/>
                <a:gd name="connsiteX20" fmla="*/ 4317 w 10117"/>
                <a:gd name="connsiteY20" fmla="*/ 10183 h 10610"/>
                <a:gd name="connsiteX21" fmla="*/ 4549 w 10117"/>
                <a:gd name="connsiteY21" fmla="*/ 10074 h 10610"/>
                <a:gd name="connsiteX22" fmla="*/ 4767 w 10117"/>
                <a:gd name="connsiteY22" fmla="*/ 9967 h 10610"/>
                <a:gd name="connsiteX23" fmla="*/ 4988 w 10117"/>
                <a:gd name="connsiteY23" fmla="*/ 9849 h 10610"/>
                <a:gd name="connsiteX24" fmla="*/ 5209 w 10117"/>
                <a:gd name="connsiteY24" fmla="*/ 9736 h 10610"/>
                <a:gd name="connsiteX25" fmla="*/ 5419 w 10117"/>
                <a:gd name="connsiteY25" fmla="*/ 9615 h 10610"/>
                <a:gd name="connsiteX26" fmla="*/ 5635 w 10117"/>
                <a:gd name="connsiteY26" fmla="*/ 9491 h 10610"/>
                <a:gd name="connsiteX27" fmla="*/ 5839 w 10117"/>
                <a:gd name="connsiteY27" fmla="*/ 9362 h 10610"/>
                <a:gd name="connsiteX28" fmla="*/ 6043 w 10117"/>
                <a:gd name="connsiteY28" fmla="*/ 9235 h 10610"/>
                <a:gd name="connsiteX29" fmla="*/ 6239 w 10117"/>
                <a:gd name="connsiteY29" fmla="*/ 9105 h 10610"/>
                <a:gd name="connsiteX30" fmla="*/ 6438 w 10117"/>
                <a:gd name="connsiteY30" fmla="*/ 8967 h 10610"/>
                <a:gd name="connsiteX31" fmla="*/ 6629 w 10117"/>
                <a:gd name="connsiteY31" fmla="*/ 8825 h 10610"/>
                <a:gd name="connsiteX32" fmla="*/ 6814 w 10117"/>
                <a:gd name="connsiteY32" fmla="*/ 8689 h 10610"/>
                <a:gd name="connsiteX33" fmla="*/ 6997 w 10117"/>
                <a:gd name="connsiteY33" fmla="*/ 8544 h 10610"/>
                <a:gd name="connsiteX34" fmla="*/ 7173 w 10117"/>
                <a:gd name="connsiteY34" fmla="*/ 8396 h 10610"/>
                <a:gd name="connsiteX35" fmla="*/ 7349 w 10117"/>
                <a:gd name="connsiteY35" fmla="*/ 8248 h 10610"/>
                <a:gd name="connsiteX36" fmla="*/ 7518 w 10117"/>
                <a:gd name="connsiteY36" fmla="*/ 8097 h 10610"/>
                <a:gd name="connsiteX37" fmla="*/ 7686 w 10117"/>
                <a:gd name="connsiteY37" fmla="*/ 7940 h 10610"/>
                <a:gd name="connsiteX38" fmla="*/ 7842 w 10117"/>
                <a:gd name="connsiteY38" fmla="*/ 7782 h 10610"/>
                <a:gd name="connsiteX39" fmla="*/ 7995 w 10117"/>
                <a:gd name="connsiteY39" fmla="*/ 7623 h 10610"/>
                <a:gd name="connsiteX40" fmla="*/ 8150 w 10117"/>
                <a:gd name="connsiteY40" fmla="*/ 7463 h 10610"/>
                <a:gd name="connsiteX41" fmla="*/ 8293 w 10117"/>
                <a:gd name="connsiteY41" fmla="*/ 7296 h 10610"/>
                <a:gd name="connsiteX42" fmla="*/ 8433 w 10117"/>
                <a:gd name="connsiteY42" fmla="*/ 7132 h 10610"/>
                <a:gd name="connsiteX43" fmla="*/ 8569 w 10117"/>
                <a:gd name="connsiteY43" fmla="*/ 6962 h 10610"/>
                <a:gd name="connsiteX44" fmla="*/ 8695 w 10117"/>
                <a:gd name="connsiteY44" fmla="*/ 6788 h 10610"/>
                <a:gd name="connsiteX45" fmla="*/ 8819 w 10117"/>
                <a:gd name="connsiteY45" fmla="*/ 6614 h 10610"/>
                <a:gd name="connsiteX46" fmla="*/ 8945 w 10117"/>
                <a:gd name="connsiteY46" fmla="*/ 6440 h 10610"/>
                <a:gd name="connsiteX47" fmla="*/ 9063 w 10117"/>
                <a:gd name="connsiteY47" fmla="*/ 6262 h 10610"/>
                <a:gd name="connsiteX48" fmla="*/ 9167 w 10117"/>
                <a:gd name="connsiteY48" fmla="*/ 6084 h 10610"/>
                <a:gd name="connsiteX49" fmla="*/ 9274 w 10117"/>
                <a:gd name="connsiteY49" fmla="*/ 5902 h 10610"/>
                <a:gd name="connsiteX50" fmla="*/ 9369 w 10117"/>
                <a:gd name="connsiteY50" fmla="*/ 5716 h 10610"/>
                <a:gd name="connsiteX51" fmla="*/ 9465 w 10117"/>
                <a:gd name="connsiteY51" fmla="*/ 5533 h 10610"/>
                <a:gd name="connsiteX52" fmla="*/ 9549 w 10117"/>
                <a:gd name="connsiteY52" fmla="*/ 5344 h 10610"/>
                <a:gd name="connsiteX53" fmla="*/ 9630 w 10117"/>
                <a:gd name="connsiteY53" fmla="*/ 5153 h 10610"/>
                <a:gd name="connsiteX54" fmla="*/ 9704 w 10117"/>
                <a:gd name="connsiteY54" fmla="*/ 4961 h 10610"/>
                <a:gd name="connsiteX55" fmla="*/ 9777 w 10117"/>
                <a:gd name="connsiteY55" fmla="*/ 4771 h 10610"/>
                <a:gd name="connsiteX56" fmla="*/ 9839 w 10117"/>
                <a:gd name="connsiteY56" fmla="*/ 4578 h 10610"/>
                <a:gd name="connsiteX57" fmla="*/ 9898 w 10117"/>
                <a:gd name="connsiteY57" fmla="*/ 4381 h 10610"/>
                <a:gd name="connsiteX58" fmla="*/ 9635 w 10117"/>
                <a:gd name="connsiteY58" fmla="*/ 0 h 10610"/>
                <a:gd name="connsiteX59" fmla="*/ 6408 w 10117"/>
                <a:gd name="connsiteY59" fmla="*/ 1883 h 10610"/>
                <a:gd name="connsiteX60" fmla="*/ 2450 w 10117"/>
                <a:gd name="connsiteY60" fmla="*/ 1500 h 10610"/>
                <a:gd name="connsiteX0" fmla="*/ 2450 w 10117"/>
                <a:gd name="connsiteY0" fmla="*/ 1500 h 10610"/>
                <a:gd name="connsiteX1" fmla="*/ 1259 w 10117"/>
                <a:gd name="connsiteY1" fmla="*/ 5109 h 10610"/>
                <a:gd name="connsiteX2" fmla="*/ 1262 w 10117"/>
                <a:gd name="connsiteY2" fmla="*/ 5140 h 10610"/>
                <a:gd name="connsiteX3" fmla="*/ 937 w 10117"/>
                <a:gd name="connsiteY3" fmla="*/ 5373 h 10610"/>
                <a:gd name="connsiteX4" fmla="*/ 850 w 10117"/>
                <a:gd name="connsiteY4" fmla="*/ 5429 h 10610"/>
                <a:gd name="connsiteX5" fmla="*/ 765 w 10117"/>
                <a:gd name="connsiteY5" fmla="*/ 5481 h 10610"/>
                <a:gd name="connsiteX6" fmla="*/ 670 w 10117"/>
                <a:gd name="connsiteY6" fmla="*/ 5534 h 10610"/>
                <a:gd name="connsiteX7" fmla="*/ 581 w 10117"/>
                <a:gd name="connsiteY7" fmla="*/ 5583 h 10610"/>
                <a:gd name="connsiteX8" fmla="*/ 488 w 10117"/>
                <a:gd name="connsiteY8" fmla="*/ 5633 h 10610"/>
                <a:gd name="connsiteX9" fmla="*/ 393 w 10117"/>
                <a:gd name="connsiteY9" fmla="*/ 5681 h 10610"/>
                <a:gd name="connsiteX10" fmla="*/ 295 w 10117"/>
                <a:gd name="connsiteY10" fmla="*/ 5725 h 10610"/>
                <a:gd name="connsiteX11" fmla="*/ 198 w 10117"/>
                <a:gd name="connsiteY11" fmla="*/ 5773 h 10610"/>
                <a:gd name="connsiteX12" fmla="*/ 103 w 10117"/>
                <a:gd name="connsiteY12" fmla="*/ 5816 h 10610"/>
                <a:gd name="connsiteX13" fmla="*/ 0 w 10117"/>
                <a:gd name="connsiteY13" fmla="*/ 5857 h 10610"/>
                <a:gd name="connsiteX14" fmla="*/ 210 w 10117"/>
                <a:gd name="connsiteY14" fmla="*/ 8550 h 10610"/>
                <a:gd name="connsiteX15" fmla="*/ 3301 w 10117"/>
                <a:gd name="connsiteY15" fmla="*/ 10610 h 10610"/>
                <a:gd name="connsiteX16" fmla="*/ 3606 w 10117"/>
                <a:gd name="connsiteY16" fmla="*/ 10485 h 10610"/>
                <a:gd name="connsiteX17" fmla="*/ 3848 w 10117"/>
                <a:gd name="connsiteY17" fmla="*/ 10386 h 10610"/>
                <a:gd name="connsiteX18" fmla="*/ 4084 w 10117"/>
                <a:gd name="connsiteY18" fmla="*/ 10287 h 10610"/>
                <a:gd name="connsiteX19" fmla="*/ 4317 w 10117"/>
                <a:gd name="connsiteY19" fmla="*/ 10183 h 10610"/>
                <a:gd name="connsiteX20" fmla="*/ 4549 w 10117"/>
                <a:gd name="connsiteY20" fmla="*/ 10074 h 10610"/>
                <a:gd name="connsiteX21" fmla="*/ 4767 w 10117"/>
                <a:gd name="connsiteY21" fmla="*/ 9967 h 10610"/>
                <a:gd name="connsiteX22" fmla="*/ 4988 w 10117"/>
                <a:gd name="connsiteY22" fmla="*/ 9849 h 10610"/>
                <a:gd name="connsiteX23" fmla="*/ 5209 w 10117"/>
                <a:gd name="connsiteY23" fmla="*/ 9736 h 10610"/>
                <a:gd name="connsiteX24" fmla="*/ 5419 w 10117"/>
                <a:gd name="connsiteY24" fmla="*/ 9615 h 10610"/>
                <a:gd name="connsiteX25" fmla="*/ 5635 w 10117"/>
                <a:gd name="connsiteY25" fmla="*/ 9491 h 10610"/>
                <a:gd name="connsiteX26" fmla="*/ 5839 w 10117"/>
                <a:gd name="connsiteY26" fmla="*/ 9362 h 10610"/>
                <a:gd name="connsiteX27" fmla="*/ 6043 w 10117"/>
                <a:gd name="connsiteY27" fmla="*/ 9235 h 10610"/>
                <a:gd name="connsiteX28" fmla="*/ 6239 w 10117"/>
                <a:gd name="connsiteY28" fmla="*/ 9105 h 10610"/>
                <a:gd name="connsiteX29" fmla="*/ 6438 w 10117"/>
                <a:gd name="connsiteY29" fmla="*/ 8967 h 10610"/>
                <a:gd name="connsiteX30" fmla="*/ 6629 w 10117"/>
                <a:gd name="connsiteY30" fmla="*/ 8825 h 10610"/>
                <a:gd name="connsiteX31" fmla="*/ 6814 w 10117"/>
                <a:gd name="connsiteY31" fmla="*/ 8689 h 10610"/>
                <a:gd name="connsiteX32" fmla="*/ 6997 w 10117"/>
                <a:gd name="connsiteY32" fmla="*/ 8544 h 10610"/>
                <a:gd name="connsiteX33" fmla="*/ 7173 w 10117"/>
                <a:gd name="connsiteY33" fmla="*/ 8396 h 10610"/>
                <a:gd name="connsiteX34" fmla="*/ 7349 w 10117"/>
                <a:gd name="connsiteY34" fmla="*/ 8248 h 10610"/>
                <a:gd name="connsiteX35" fmla="*/ 7518 w 10117"/>
                <a:gd name="connsiteY35" fmla="*/ 8097 h 10610"/>
                <a:gd name="connsiteX36" fmla="*/ 7686 w 10117"/>
                <a:gd name="connsiteY36" fmla="*/ 7940 h 10610"/>
                <a:gd name="connsiteX37" fmla="*/ 7842 w 10117"/>
                <a:gd name="connsiteY37" fmla="*/ 7782 h 10610"/>
                <a:gd name="connsiteX38" fmla="*/ 7995 w 10117"/>
                <a:gd name="connsiteY38" fmla="*/ 7623 h 10610"/>
                <a:gd name="connsiteX39" fmla="*/ 8150 w 10117"/>
                <a:gd name="connsiteY39" fmla="*/ 7463 h 10610"/>
                <a:gd name="connsiteX40" fmla="*/ 8293 w 10117"/>
                <a:gd name="connsiteY40" fmla="*/ 7296 h 10610"/>
                <a:gd name="connsiteX41" fmla="*/ 8433 w 10117"/>
                <a:gd name="connsiteY41" fmla="*/ 7132 h 10610"/>
                <a:gd name="connsiteX42" fmla="*/ 8569 w 10117"/>
                <a:gd name="connsiteY42" fmla="*/ 6962 h 10610"/>
                <a:gd name="connsiteX43" fmla="*/ 8695 w 10117"/>
                <a:gd name="connsiteY43" fmla="*/ 6788 h 10610"/>
                <a:gd name="connsiteX44" fmla="*/ 8819 w 10117"/>
                <a:gd name="connsiteY44" fmla="*/ 6614 h 10610"/>
                <a:gd name="connsiteX45" fmla="*/ 8945 w 10117"/>
                <a:gd name="connsiteY45" fmla="*/ 6440 h 10610"/>
                <a:gd name="connsiteX46" fmla="*/ 9063 w 10117"/>
                <a:gd name="connsiteY46" fmla="*/ 6262 h 10610"/>
                <a:gd name="connsiteX47" fmla="*/ 9167 w 10117"/>
                <a:gd name="connsiteY47" fmla="*/ 6084 h 10610"/>
                <a:gd name="connsiteX48" fmla="*/ 9274 w 10117"/>
                <a:gd name="connsiteY48" fmla="*/ 5902 h 10610"/>
                <a:gd name="connsiteX49" fmla="*/ 9369 w 10117"/>
                <a:gd name="connsiteY49" fmla="*/ 5716 h 10610"/>
                <a:gd name="connsiteX50" fmla="*/ 9465 w 10117"/>
                <a:gd name="connsiteY50" fmla="*/ 5533 h 10610"/>
                <a:gd name="connsiteX51" fmla="*/ 9549 w 10117"/>
                <a:gd name="connsiteY51" fmla="*/ 5344 h 10610"/>
                <a:gd name="connsiteX52" fmla="*/ 9630 w 10117"/>
                <a:gd name="connsiteY52" fmla="*/ 5153 h 10610"/>
                <a:gd name="connsiteX53" fmla="*/ 9704 w 10117"/>
                <a:gd name="connsiteY53" fmla="*/ 4961 h 10610"/>
                <a:gd name="connsiteX54" fmla="*/ 9777 w 10117"/>
                <a:gd name="connsiteY54" fmla="*/ 4771 h 10610"/>
                <a:gd name="connsiteX55" fmla="*/ 9839 w 10117"/>
                <a:gd name="connsiteY55" fmla="*/ 4578 h 10610"/>
                <a:gd name="connsiteX56" fmla="*/ 9898 w 10117"/>
                <a:gd name="connsiteY56" fmla="*/ 4381 h 10610"/>
                <a:gd name="connsiteX57" fmla="*/ 9635 w 10117"/>
                <a:gd name="connsiteY57" fmla="*/ 0 h 10610"/>
                <a:gd name="connsiteX58" fmla="*/ 6408 w 10117"/>
                <a:gd name="connsiteY58" fmla="*/ 1883 h 10610"/>
                <a:gd name="connsiteX59" fmla="*/ 2450 w 10117"/>
                <a:gd name="connsiteY59" fmla="*/ 1500 h 10610"/>
                <a:gd name="connsiteX0" fmla="*/ 2450 w 10117"/>
                <a:gd name="connsiteY0" fmla="*/ 1500 h 10610"/>
                <a:gd name="connsiteX1" fmla="*/ 1259 w 10117"/>
                <a:gd name="connsiteY1" fmla="*/ 5109 h 10610"/>
                <a:gd name="connsiteX2" fmla="*/ 937 w 10117"/>
                <a:gd name="connsiteY2" fmla="*/ 5373 h 10610"/>
                <a:gd name="connsiteX3" fmla="*/ 850 w 10117"/>
                <a:gd name="connsiteY3" fmla="*/ 5429 h 10610"/>
                <a:gd name="connsiteX4" fmla="*/ 765 w 10117"/>
                <a:gd name="connsiteY4" fmla="*/ 5481 h 10610"/>
                <a:gd name="connsiteX5" fmla="*/ 670 w 10117"/>
                <a:gd name="connsiteY5" fmla="*/ 5534 h 10610"/>
                <a:gd name="connsiteX6" fmla="*/ 581 w 10117"/>
                <a:gd name="connsiteY6" fmla="*/ 5583 h 10610"/>
                <a:gd name="connsiteX7" fmla="*/ 488 w 10117"/>
                <a:gd name="connsiteY7" fmla="*/ 5633 h 10610"/>
                <a:gd name="connsiteX8" fmla="*/ 393 w 10117"/>
                <a:gd name="connsiteY8" fmla="*/ 5681 h 10610"/>
                <a:gd name="connsiteX9" fmla="*/ 295 w 10117"/>
                <a:gd name="connsiteY9" fmla="*/ 5725 h 10610"/>
                <a:gd name="connsiteX10" fmla="*/ 198 w 10117"/>
                <a:gd name="connsiteY10" fmla="*/ 5773 h 10610"/>
                <a:gd name="connsiteX11" fmla="*/ 103 w 10117"/>
                <a:gd name="connsiteY11" fmla="*/ 5816 h 10610"/>
                <a:gd name="connsiteX12" fmla="*/ 0 w 10117"/>
                <a:gd name="connsiteY12" fmla="*/ 5857 h 10610"/>
                <a:gd name="connsiteX13" fmla="*/ 210 w 10117"/>
                <a:gd name="connsiteY13" fmla="*/ 8550 h 10610"/>
                <a:gd name="connsiteX14" fmla="*/ 3301 w 10117"/>
                <a:gd name="connsiteY14" fmla="*/ 10610 h 10610"/>
                <a:gd name="connsiteX15" fmla="*/ 3606 w 10117"/>
                <a:gd name="connsiteY15" fmla="*/ 10485 h 10610"/>
                <a:gd name="connsiteX16" fmla="*/ 3848 w 10117"/>
                <a:gd name="connsiteY16" fmla="*/ 10386 h 10610"/>
                <a:gd name="connsiteX17" fmla="*/ 4084 w 10117"/>
                <a:gd name="connsiteY17" fmla="*/ 10287 h 10610"/>
                <a:gd name="connsiteX18" fmla="*/ 4317 w 10117"/>
                <a:gd name="connsiteY18" fmla="*/ 10183 h 10610"/>
                <a:gd name="connsiteX19" fmla="*/ 4549 w 10117"/>
                <a:gd name="connsiteY19" fmla="*/ 10074 h 10610"/>
                <a:gd name="connsiteX20" fmla="*/ 4767 w 10117"/>
                <a:gd name="connsiteY20" fmla="*/ 9967 h 10610"/>
                <a:gd name="connsiteX21" fmla="*/ 4988 w 10117"/>
                <a:gd name="connsiteY21" fmla="*/ 9849 h 10610"/>
                <a:gd name="connsiteX22" fmla="*/ 5209 w 10117"/>
                <a:gd name="connsiteY22" fmla="*/ 9736 h 10610"/>
                <a:gd name="connsiteX23" fmla="*/ 5419 w 10117"/>
                <a:gd name="connsiteY23" fmla="*/ 9615 h 10610"/>
                <a:gd name="connsiteX24" fmla="*/ 5635 w 10117"/>
                <a:gd name="connsiteY24" fmla="*/ 9491 h 10610"/>
                <a:gd name="connsiteX25" fmla="*/ 5839 w 10117"/>
                <a:gd name="connsiteY25" fmla="*/ 9362 h 10610"/>
                <a:gd name="connsiteX26" fmla="*/ 6043 w 10117"/>
                <a:gd name="connsiteY26" fmla="*/ 9235 h 10610"/>
                <a:gd name="connsiteX27" fmla="*/ 6239 w 10117"/>
                <a:gd name="connsiteY27" fmla="*/ 9105 h 10610"/>
                <a:gd name="connsiteX28" fmla="*/ 6438 w 10117"/>
                <a:gd name="connsiteY28" fmla="*/ 8967 h 10610"/>
                <a:gd name="connsiteX29" fmla="*/ 6629 w 10117"/>
                <a:gd name="connsiteY29" fmla="*/ 8825 h 10610"/>
                <a:gd name="connsiteX30" fmla="*/ 6814 w 10117"/>
                <a:gd name="connsiteY30" fmla="*/ 8689 h 10610"/>
                <a:gd name="connsiteX31" fmla="*/ 6997 w 10117"/>
                <a:gd name="connsiteY31" fmla="*/ 8544 h 10610"/>
                <a:gd name="connsiteX32" fmla="*/ 7173 w 10117"/>
                <a:gd name="connsiteY32" fmla="*/ 8396 h 10610"/>
                <a:gd name="connsiteX33" fmla="*/ 7349 w 10117"/>
                <a:gd name="connsiteY33" fmla="*/ 8248 h 10610"/>
                <a:gd name="connsiteX34" fmla="*/ 7518 w 10117"/>
                <a:gd name="connsiteY34" fmla="*/ 8097 h 10610"/>
                <a:gd name="connsiteX35" fmla="*/ 7686 w 10117"/>
                <a:gd name="connsiteY35" fmla="*/ 7940 h 10610"/>
                <a:gd name="connsiteX36" fmla="*/ 7842 w 10117"/>
                <a:gd name="connsiteY36" fmla="*/ 7782 h 10610"/>
                <a:gd name="connsiteX37" fmla="*/ 7995 w 10117"/>
                <a:gd name="connsiteY37" fmla="*/ 7623 h 10610"/>
                <a:gd name="connsiteX38" fmla="*/ 8150 w 10117"/>
                <a:gd name="connsiteY38" fmla="*/ 7463 h 10610"/>
                <a:gd name="connsiteX39" fmla="*/ 8293 w 10117"/>
                <a:gd name="connsiteY39" fmla="*/ 7296 h 10610"/>
                <a:gd name="connsiteX40" fmla="*/ 8433 w 10117"/>
                <a:gd name="connsiteY40" fmla="*/ 7132 h 10610"/>
                <a:gd name="connsiteX41" fmla="*/ 8569 w 10117"/>
                <a:gd name="connsiteY41" fmla="*/ 6962 h 10610"/>
                <a:gd name="connsiteX42" fmla="*/ 8695 w 10117"/>
                <a:gd name="connsiteY42" fmla="*/ 6788 h 10610"/>
                <a:gd name="connsiteX43" fmla="*/ 8819 w 10117"/>
                <a:gd name="connsiteY43" fmla="*/ 6614 h 10610"/>
                <a:gd name="connsiteX44" fmla="*/ 8945 w 10117"/>
                <a:gd name="connsiteY44" fmla="*/ 6440 h 10610"/>
                <a:gd name="connsiteX45" fmla="*/ 9063 w 10117"/>
                <a:gd name="connsiteY45" fmla="*/ 6262 h 10610"/>
                <a:gd name="connsiteX46" fmla="*/ 9167 w 10117"/>
                <a:gd name="connsiteY46" fmla="*/ 6084 h 10610"/>
                <a:gd name="connsiteX47" fmla="*/ 9274 w 10117"/>
                <a:gd name="connsiteY47" fmla="*/ 5902 h 10610"/>
                <a:gd name="connsiteX48" fmla="*/ 9369 w 10117"/>
                <a:gd name="connsiteY48" fmla="*/ 5716 h 10610"/>
                <a:gd name="connsiteX49" fmla="*/ 9465 w 10117"/>
                <a:gd name="connsiteY49" fmla="*/ 5533 h 10610"/>
                <a:gd name="connsiteX50" fmla="*/ 9549 w 10117"/>
                <a:gd name="connsiteY50" fmla="*/ 5344 h 10610"/>
                <a:gd name="connsiteX51" fmla="*/ 9630 w 10117"/>
                <a:gd name="connsiteY51" fmla="*/ 5153 h 10610"/>
                <a:gd name="connsiteX52" fmla="*/ 9704 w 10117"/>
                <a:gd name="connsiteY52" fmla="*/ 4961 h 10610"/>
                <a:gd name="connsiteX53" fmla="*/ 9777 w 10117"/>
                <a:gd name="connsiteY53" fmla="*/ 4771 h 10610"/>
                <a:gd name="connsiteX54" fmla="*/ 9839 w 10117"/>
                <a:gd name="connsiteY54" fmla="*/ 4578 h 10610"/>
                <a:gd name="connsiteX55" fmla="*/ 9898 w 10117"/>
                <a:gd name="connsiteY55" fmla="*/ 4381 h 10610"/>
                <a:gd name="connsiteX56" fmla="*/ 9635 w 10117"/>
                <a:gd name="connsiteY56" fmla="*/ 0 h 10610"/>
                <a:gd name="connsiteX57" fmla="*/ 6408 w 10117"/>
                <a:gd name="connsiteY57" fmla="*/ 1883 h 10610"/>
                <a:gd name="connsiteX58" fmla="*/ 2450 w 10117"/>
                <a:gd name="connsiteY58" fmla="*/ 1500 h 10610"/>
                <a:gd name="connsiteX0" fmla="*/ 2450 w 10117"/>
                <a:gd name="connsiteY0" fmla="*/ 1500 h 10610"/>
                <a:gd name="connsiteX1" fmla="*/ 937 w 10117"/>
                <a:gd name="connsiteY1" fmla="*/ 5373 h 10610"/>
                <a:gd name="connsiteX2" fmla="*/ 850 w 10117"/>
                <a:gd name="connsiteY2" fmla="*/ 5429 h 10610"/>
                <a:gd name="connsiteX3" fmla="*/ 765 w 10117"/>
                <a:gd name="connsiteY3" fmla="*/ 5481 h 10610"/>
                <a:gd name="connsiteX4" fmla="*/ 670 w 10117"/>
                <a:gd name="connsiteY4" fmla="*/ 5534 h 10610"/>
                <a:gd name="connsiteX5" fmla="*/ 581 w 10117"/>
                <a:gd name="connsiteY5" fmla="*/ 5583 h 10610"/>
                <a:gd name="connsiteX6" fmla="*/ 488 w 10117"/>
                <a:gd name="connsiteY6" fmla="*/ 5633 h 10610"/>
                <a:gd name="connsiteX7" fmla="*/ 393 w 10117"/>
                <a:gd name="connsiteY7" fmla="*/ 5681 h 10610"/>
                <a:gd name="connsiteX8" fmla="*/ 295 w 10117"/>
                <a:gd name="connsiteY8" fmla="*/ 5725 h 10610"/>
                <a:gd name="connsiteX9" fmla="*/ 198 w 10117"/>
                <a:gd name="connsiteY9" fmla="*/ 5773 h 10610"/>
                <a:gd name="connsiteX10" fmla="*/ 103 w 10117"/>
                <a:gd name="connsiteY10" fmla="*/ 5816 h 10610"/>
                <a:gd name="connsiteX11" fmla="*/ 0 w 10117"/>
                <a:gd name="connsiteY11" fmla="*/ 5857 h 10610"/>
                <a:gd name="connsiteX12" fmla="*/ 210 w 10117"/>
                <a:gd name="connsiteY12" fmla="*/ 8550 h 10610"/>
                <a:gd name="connsiteX13" fmla="*/ 3301 w 10117"/>
                <a:gd name="connsiteY13" fmla="*/ 10610 h 10610"/>
                <a:gd name="connsiteX14" fmla="*/ 3606 w 10117"/>
                <a:gd name="connsiteY14" fmla="*/ 10485 h 10610"/>
                <a:gd name="connsiteX15" fmla="*/ 3848 w 10117"/>
                <a:gd name="connsiteY15" fmla="*/ 10386 h 10610"/>
                <a:gd name="connsiteX16" fmla="*/ 4084 w 10117"/>
                <a:gd name="connsiteY16" fmla="*/ 10287 h 10610"/>
                <a:gd name="connsiteX17" fmla="*/ 4317 w 10117"/>
                <a:gd name="connsiteY17" fmla="*/ 10183 h 10610"/>
                <a:gd name="connsiteX18" fmla="*/ 4549 w 10117"/>
                <a:gd name="connsiteY18" fmla="*/ 10074 h 10610"/>
                <a:gd name="connsiteX19" fmla="*/ 4767 w 10117"/>
                <a:gd name="connsiteY19" fmla="*/ 9967 h 10610"/>
                <a:gd name="connsiteX20" fmla="*/ 4988 w 10117"/>
                <a:gd name="connsiteY20" fmla="*/ 9849 h 10610"/>
                <a:gd name="connsiteX21" fmla="*/ 5209 w 10117"/>
                <a:gd name="connsiteY21" fmla="*/ 9736 h 10610"/>
                <a:gd name="connsiteX22" fmla="*/ 5419 w 10117"/>
                <a:gd name="connsiteY22" fmla="*/ 9615 h 10610"/>
                <a:gd name="connsiteX23" fmla="*/ 5635 w 10117"/>
                <a:gd name="connsiteY23" fmla="*/ 9491 h 10610"/>
                <a:gd name="connsiteX24" fmla="*/ 5839 w 10117"/>
                <a:gd name="connsiteY24" fmla="*/ 9362 h 10610"/>
                <a:gd name="connsiteX25" fmla="*/ 6043 w 10117"/>
                <a:gd name="connsiteY25" fmla="*/ 9235 h 10610"/>
                <a:gd name="connsiteX26" fmla="*/ 6239 w 10117"/>
                <a:gd name="connsiteY26" fmla="*/ 9105 h 10610"/>
                <a:gd name="connsiteX27" fmla="*/ 6438 w 10117"/>
                <a:gd name="connsiteY27" fmla="*/ 8967 h 10610"/>
                <a:gd name="connsiteX28" fmla="*/ 6629 w 10117"/>
                <a:gd name="connsiteY28" fmla="*/ 8825 h 10610"/>
                <a:gd name="connsiteX29" fmla="*/ 6814 w 10117"/>
                <a:gd name="connsiteY29" fmla="*/ 8689 h 10610"/>
                <a:gd name="connsiteX30" fmla="*/ 6997 w 10117"/>
                <a:gd name="connsiteY30" fmla="*/ 8544 h 10610"/>
                <a:gd name="connsiteX31" fmla="*/ 7173 w 10117"/>
                <a:gd name="connsiteY31" fmla="*/ 8396 h 10610"/>
                <a:gd name="connsiteX32" fmla="*/ 7349 w 10117"/>
                <a:gd name="connsiteY32" fmla="*/ 8248 h 10610"/>
                <a:gd name="connsiteX33" fmla="*/ 7518 w 10117"/>
                <a:gd name="connsiteY33" fmla="*/ 8097 h 10610"/>
                <a:gd name="connsiteX34" fmla="*/ 7686 w 10117"/>
                <a:gd name="connsiteY34" fmla="*/ 7940 h 10610"/>
                <a:gd name="connsiteX35" fmla="*/ 7842 w 10117"/>
                <a:gd name="connsiteY35" fmla="*/ 7782 h 10610"/>
                <a:gd name="connsiteX36" fmla="*/ 7995 w 10117"/>
                <a:gd name="connsiteY36" fmla="*/ 7623 h 10610"/>
                <a:gd name="connsiteX37" fmla="*/ 8150 w 10117"/>
                <a:gd name="connsiteY37" fmla="*/ 7463 h 10610"/>
                <a:gd name="connsiteX38" fmla="*/ 8293 w 10117"/>
                <a:gd name="connsiteY38" fmla="*/ 7296 h 10610"/>
                <a:gd name="connsiteX39" fmla="*/ 8433 w 10117"/>
                <a:gd name="connsiteY39" fmla="*/ 7132 h 10610"/>
                <a:gd name="connsiteX40" fmla="*/ 8569 w 10117"/>
                <a:gd name="connsiteY40" fmla="*/ 6962 h 10610"/>
                <a:gd name="connsiteX41" fmla="*/ 8695 w 10117"/>
                <a:gd name="connsiteY41" fmla="*/ 6788 h 10610"/>
                <a:gd name="connsiteX42" fmla="*/ 8819 w 10117"/>
                <a:gd name="connsiteY42" fmla="*/ 6614 h 10610"/>
                <a:gd name="connsiteX43" fmla="*/ 8945 w 10117"/>
                <a:gd name="connsiteY43" fmla="*/ 6440 h 10610"/>
                <a:gd name="connsiteX44" fmla="*/ 9063 w 10117"/>
                <a:gd name="connsiteY44" fmla="*/ 6262 h 10610"/>
                <a:gd name="connsiteX45" fmla="*/ 9167 w 10117"/>
                <a:gd name="connsiteY45" fmla="*/ 6084 h 10610"/>
                <a:gd name="connsiteX46" fmla="*/ 9274 w 10117"/>
                <a:gd name="connsiteY46" fmla="*/ 5902 h 10610"/>
                <a:gd name="connsiteX47" fmla="*/ 9369 w 10117"/>
                <a:gd name="connsiteY47" fmla="*/ 5716 h 10610"/>
                <a:gd name="connsiteX48" fmla="*/ 9465 w 10117"/>
                <a:gd name="connsiteY48" fmla="*/ 5533 h 10610"/>
                <a:gd name="connsiteX49" fmla="*/ 9549 w 10117"/>
                <a:gd name="connsiteY49" fmla="*/ 5344 h 10610"/>
                <a:gd name="connsiteX50" fmla="*/ 9630 w 10117"/>
                <a:gd name="connsiteY50" fmla="*/ 5153 h 10610"/>
                <a:gd name="connsiteX51" fmla="*/ 9704 w 10117"/>
                <a:gd name="connsiteY51" fmla="*/ 4961 h 10610"/>
                <a:gd name="connsiteX52" fmla="*/ 9777 w 10117"/>
                <a:gd name="connsiteY52" fmla="*/ 4771 h 10610"/>
                <a:gd name="connsiteX53" fmla="*/ 9839 w 10117"/>
                <a:gd name="connsiteY53" fmla="*/ 4578 h 10610"/>
                <a:gd name="connsiteX54" fmla="*/ 9898 w 10117"/>
                <a:gd name="connsiteY54" fmla="*/ 4381 h 10610"/>
                <a:gd name="connsiteX55" fmla="*/ 9635 w 10117"/>
                <a:gd name="connsiteY55" fmla="*/ 0 h 10610"/>
                <a:gd name="connsiteX56" fmla="*/ 6408 w 10117"/>
                <a:gd name="connsiteY56" fmla="*/ 1883 h 10610"/>
                <a:gd name="connsiteX57" fmla="*/ 2450 w 10117"/>
                <a:gd name="connsiteY57" fmla="*/ 1500 h 10610"/>
                <a:gd name="connsiteX0" fmla="*/ 2450 w 10117"/>
                <a:gd name="connsiteY0" fmla="*/ 1500 h 10610"/>
                <a:gd name="connsiteX1" fmla="*/ 850 w 10117"/>
                <a:gd name="connsiteY1" fmla="*/ 5429 h 10610"/>
                <a:gd name="connsiteX2" fmla="*/ 765 w 10117"/>
                <a:gd name="connsiteY2" fmla="*/ 5481 h 10610"/>
                <a:gd name="connsiteX3" fmla="*/ 670 w 10117"/>
                <a:gd name="connsiteY3" fmla="*/ 5534 h 10610"/>
                <a:gd name="connsiteX4" fmla="*/ 581 w 10117"/>
                <a:gd name="connsiteY4" fmla="*/ 5583 h 10610"/>
                <a:gd name="connsiteX5" fmla="*/ 488 w 10117"/>
                <a:gd name="connsiteY5" fmla="*/ 5633 h 10610"/>
                <a:gd name="connsiteX6" fmla="*/ 393 w 10117"/>
                <a:gd name="connsiteY6" fmla="*/ 5681 h 10610"/>
                <a:gd name="connsiteX7" fmla="*/ 295 w 10117"/>
                <a:gd name="connsiteY7" fmla="*/ 5725 h 10610"/>
                <a:gd name="connsiteX8" fmla="*/ 198 w 10117"/>
                <a:gd name="connsiteY8" fmla="*/ 5773 h 10610"/>
                <a:gd name="connsiteX9" fmla="*/ 103 w 10117"/>
                <a:gd name="connsiteY9" fmla="*/ 5816 h 10610"/>
                <a:gd name="connsiteX10" fmla="*/ 0 w 10117"/>
                <a:gd name="connsiteY10" fmla="*/ 5857 h 10610"/>
                <a:gd name="connsiteX11" fmla="*/ 210 w 10117"/>
                <a:gd name="connsiteY11" fmla="*/ 8550 h 10610"/>
                <a:gd name="connsiteX12" fmla="*/ 3301 w 10117"/>
                <a:gd name="connsiteY12" fmla="*/ 10610 h 10610"/>
                <a:gd name="connsiteX13" fmla="*/ 3606 w 10117"/>
                <a:gd name="connsiteY13" fmla="*/ 10485 h 10610"/>
                <a:gd name="connsiteX14" fmla="*/ 3848 w 10117"/>
                <a:gd name="connsiteY14" fmla="*/ 10386 h 10610"/>
                <a:gd name="connsiteX15" fmla="*/ 4084 w 10117"/>
                <a:gd name="connsiteY15" fmla="*/ 10287 h 10610"/>
                <a:gd name="connsiteX16" fmla="*/ 4317 w 10117"/>
                <a:gd name="connsiteY16" fmla="*/ 10183 h 10610"/>
                <a:gd name="connsiteX17" fmla="*/ 4549 w 10117"/>
                <a:gd name="connsiteY17" fmla="*/ 10074 h 10610"/>
                <a:gd name="connsiteX18" fmla="*/ 4767 w 10117"/>
                <a:gd name="connsiteY18" fmla="*/ 9967 h 10610"/>
                <a:gd name="connsiteX19" fmla="*/ 4988 w 10117"/>
                <a:gd name="connsiteY19" fmla="*/ 9849 h 10610"/>
                <a:gd name="connsiteX20" fmla="*/ 5209 w 10117"/>
                <a:gd name="connsiteY20" fmla="*/ 9736 h 10610"/>
                <a:gd name="connsiteX21" fmla="*/ 5419 w 10117"/>
                <a:gd name="connsiteY21" fmla="*/ 9615 h 10610"/>
                <a:gd name="connsiteX22" fmla="*/ 5635 w 10117"/>
                <a:gd name="connsiteY22" fmla="*/ 9491 h 10610"/>
                <a:gd name="connsiteX23" fmla="*/ 5839 w 10117"/>
                <a:gd name="connsiteY23" fmla="*/ 9362 h 10610"/>
                <a:gd name="connsiteX24" fmla="*/ 6043 w 10117"/>
                <a:gd name="connsiteY24" fmla="*/ 9235 h 10610"/>
                <a:gd name="connsiteX25" fmla="*/ 6239 w 10117"/>
                <a:gd name="connsiteY25" fmla="*/ 9105 h 10610"/>
                <a:gd name="connsiteX26" fmla="*/ 6438 w 10117"/>
                <a:gd name="connsiteY26" fmla="*/ 8967 h 10610"/>
                <a:gd name="connsiteX27" fmla="*/ 6629 w 10117"/>
                <a:gd name="connsiteY27" fmla="*/ 8825 h 10610"/>
                <a:gd name="connsiteX28" fmla="*/ 6814 w 10117"/>
                <a:gd name="connsiteY28" fmla="*/ 8689 h 10610"/>
                <a:gd name="connsiteX29" fmla="*/ 6997 w 10117"/>
                <a:gd name="connsiteY29" fmla="*/ 8544 h 10610"/>
                <a:gd name="connsiteX30" fmla="*/ 7173 w 10117"/>
                <a:gd name="connsiteY30" fmla="*/ 8396 h 10610"/>
                <a:gd name="connsiteX31" fmla="*/ 7349 w 10117"/>
                <a:gd name="connsiteY31" fmla="*/ 8248 h 10610"/>
                <a:gd name="connsiteX32" fmla="*/ 7518 w 10117"/>
                <a:gd name="connsiteY32" fmla="*/ 8097 h 10610"/>
                <a:gd name="connsiteX33" fmla="*/ 7686 w 10117"/>
                <a:gd name="connsiteY33" fmla="*/ 7940 h 10610"/>
                <a:gd name="connsiteX34" fmla="*/ 7842 w 10117"/>
                <a:gd name="connsiteY34" fmla="*/ 7782 h 10610"/>
                <a:gd name="connsiteX35" fmla="*/ 7995 w 10117"/>
                <a:gd name="connsiteY35" fmla="*/ 7623 h 10610"/>
                <a:gd name="connsiteX36" fmla="*/ 8150 w 10117"/>
                <a:gd name="connsiteY36" fmla="*/ 7463 h 10610"/>
                <a:gd name="connsiteX37" fmla="*/ 8293 w 10117"/>
                <a:gd name="connsiteY37" fmla="*/ 7296 h 10610"/>
                <a:gd name="connsiteX38" fmla="*/ 8433 w 10117"/>
                <a:gd name="connsiteY38" fmla="*/ 7132 h 10610"/>
                <a:gd name="connsiteX39" fmla="*/ 8569 w 10117"/>
                <a:gd name="connsiteY39" fmla="*/ 6962 h 10610"/>
                <a:gd name="connsiteX40" fmla="*/ 8695 w 10117"/>
                <a:gd name="connsiteY40" fmla="*/ 6788 h 10610"/>
                <a:gd name="connsiteX41" fmla="*/ 8819 w 10117"/>
                <a:gd name="connsiteY41" fmla="*/ 6614 h 10610"/>
                <a:gd name="connsiteX42" fmla="*/ 8945 w 10117"/>
                <a:gd name="connsiteY42" fmla="*/ 6440 h 10610"/>
                <a:gd name="connsiteX43" fmla="*/ 9063 w 10117"/>
                <a:gd name="connsiteY43" fmla="*/ 6262 h 10610"/>
                <a:gd name="connsiteX44" fmla="*/ 9167 w 10117"/>
                <a:gd name="connsiteY44" fmla="*/ 6084 h 10610"/>
                <a:gd name="connsiteX45" fmla="*/ 9274 w 10117"/>
                <a:gd name="connsiteY45" fmla="*/ 5902 h 10610"/>
                <a:gd name="connsiteX46" fmla="*/ 9369 w 10117"/>
                <a:gd name="connsiteY46" fmla="*/ 5716 h 10610"/>
                <a:gd name="connsiteX47" fmla="*/ 9465 w 10117"/>
                <a:gd name="connsiteY47" fmla="*/ 5533 h 10610"/>
                <a:gd name="connsiteX48" fmla="*/ 9549 w 10117"/>
                <a:gd name="connsiteY48" fmla="*/ 5344 h 10610"/>
                <a:gd name="connsiteX49" fmla="*/ 9630 w 10117"/>
                <a:gd name="connsiteY49" fmla="*/ 5153 h 10610"/>
                <a:gd name="connsiteX50" fmla="*/ 9704 w 10117"/>
                <a:gd name="connsiteY50" fmla="*/ 4961 h 10610"/>
                <a:gd name="connsiteX51" fmla="*/ 9777 w 10117"/>
                <a:gd name="connsiteY51" fmla="*/ 4771 h 10610"/>
                <a:gd name="connsiteX52" fmla="*/ 9839 w 10117"/>
                <a:gd name="connsiteY52" fmla="*/ 4578 h 10610"/>
                <a:gd name="connsiteX53" fmla="*/ 9898 w 10117"/>
                <a:gd name="connsiteY53" fmla="*/ 4381 h 10610"/>
                <a:gd name="connsiteX54" fmla="*/ 9635 w 10117"/>
                <a:gd name="connsiteY54" fmla="*/ 0 h 10610"/>
                <a:gd name="connsiteX55" fmla="*/ 6408 w 10117"/>
                <a:gd name="connsiteY55" fmla="*/ 1883 h 10610"/>
                <a:gd name="connsiteX56" fmla="*/ 2450 w 10117"/>
                <a:gd name="connsiteY56" fmla="*/ 1500 h 10610"/>
                <a:gd name="connsiteX0" fmla="*/ 2450 w 10117"/>
                <a:gd name="connsiteY0" fmla="*/ 1500 h 10610"/>
                <a:gd name="connsiteX1" fmla="*/ 765 w 10117"/>
                <a:gd name="connsiteY1" fmla="*/ 5481 h 10610"/>
                <a:gd name="connsiteX2" fmla="*/ 670 w 10117"/>
                <a:gd name="connsiteY2" fmla="*/ 5534 h 10610"/>
                <a:gd name="connsiteX3" fmla="*/ 581 w 10117"/>
                <a:gd name="connsiteY3" fmla="*/ 5583 h 10610"/>
                <a:gd name="connsiteX4" fmla="*/ 488 w 10117"/>
                <a:gd name="connsiteY4" fmla="*/ 5633 h 10610"/>
                <a:gd name="connsiteX5" fmla="*/ 393 w 10117"/>
                <a:gd name="connsiteY5" fmla="*/ 5681 h 10610"/>
                <a:gd name="connsiteX6" fmla="*/ 295 w 10117"/>
                <a:gd name="connsiteY6" fmla="*/ 5725 h 10610"/>
                <a:gd name="connsiteX7" fmla="*/ 198 w 10117"/>
                <a:gd name="connsiteY7" fmla="*/ 5773 h 10610"/>
                <a:gd name="connsiteX8" fmla="*/ 103 w 10117"/>
                <a:gd name="connsiteY8" fmla="*/ 5816 h 10610"/>
                <a:gd name="connsiteX9" fmla="*/ 0 w 10117"/>
                <a:gd name="connsiteY9" fmla="*/ 5857 h 10610"/>
                <a:gd name="connsiteX10" fmla="*/ 210 w 10117"/>
                <a:gd name="connsiteY10" fmla="*/ 8550 h 10610"/>
                <a:gd name="connsiteX11" fmla="*/ 3301 w 10117"/>
                <a:gd name="connsiteY11" fmla="*/ 10610 h 10610"/>
                <a:gd name="connsiteX12" fmla="*/ 3606 w 10117"/>
                <a:gd name="connsiteY12" fmla="*/ 10485 h 10610"/>
                <a:gd name="connsiteX13" fmla="*/ 3848 w 10117"/>
                <a:gd name="connsiteY13" fmla="*/ 10386 h 10610"/>
                <a:gd name="connsiteX14" fmla="*/ 4084 w 10117"/>
                <a:gd name="connsiteY14" fmla="*/ 10287 h 10610"/>
                <a:gd name="connsiteX15" fmla="*/ 4317 w 10117"/>
                <a:gd name="connsiteY15" fmla="*/ 10183 h 10610"/>
                <a:gd name="connsiteX16" fmla="*/ 4549 w 10117"/>
                <a:gd name="connsiteY16" fmla="*/ 10074 h 10610"/>
                <a:gd name="connsiteX17" fmla="*/ 4767 w 10117"/>
                <a:gd name="connsiteY17" fmla="*/ 9967 h 10610"/>
                <a:gd name="connsiteX18" fmla="*/ 4988 w 10117"/>
                <a:gd name="connsiteY18" fmla="*/ 9849 h 10610"/>
                <a:gd name="connsiteX19" fmla="*/ 5209 w 10117"/>
                <a:gd name="connsiteY19" fmla="*/ 9736 h 10610"/>
                <a:gd name="connsiteX20" fmla="*/ 5419 w 10117"/>
                <a:gd name="connsiteY20" fmla="*/ 9615 h 10610"/>
                <a:gd name="connsiteX21" fmla="*/ 5635 w 10117"/>
                <a:gd name="connsiteY21" fmla="*/ 9491 h 10610"/>
                <a:gd name="connsiteX22" fmla="*/ 5839 w 10117"/>
                <a:gd name="connsiteY22" fmla="*/ 9362 h 10610"/>
                <a:gd name="connsiteX23" fmla="*/ 6043 w 10117"/>
                <a:gd name="connsiteY23" fmla="*/ 9235 h 10610"/>
                <a:gd name="connsiteX24" fmla="*/ 6239 w 10117"/>
                <a:gd name="connsiteY24" fmla="*/ 9105 h 10610"/>
                <a:gd name="connsiteX25" fmla="*/ 6438 w 10117"/>
                <a:gd name="connsiteY25" fmla="*/ 8967 h 10610"/>
                <a:gd name="connsiteX26" fmla="*/ 6629 w 10117"/>
                <a:gd name="connsiteY26" fmla="*/ 8825 h 10610"/>
                <a:gd name="connsiteX27" fmla="*/ 6814 w 10117"/>
                <a:gd name="connsiteY27" fmla="*/ 8689 h 10610"/>
                <a:gd name="connsiteX28" fmla="*/ 6997 w 10117"/>
                <a:gd name="connsiteY28" fmla="*/ 8544 h 10610"/>
                <a:gd name="connsiteX29" fmla="*/ 7173 w 10117"/>
                <a:gd name="connsiteY29" fmla="*/ 8396 h 10610"/>
                <a:gd name="connsiteX30" fmla="*/ 7349 w 10117"/>
                <a:gd name="connsiteY30" fmla="*/ 8248 h 10610"/>
                <a:gd name="connsiteX31" fmla="*/ 7518 w 10117"/>
                <a:gd name="connsiteY31" fmla="*/ 8097 h 10610"/>
                <a:gd name="connsiteX32" fmla="*/ 7686 w 10117"/>
                <a:gd name="connsiteY32" fmla="*/ 7940 h 10610"/>
                <a:gd name="connsiteX33" fmla="*/ 7842 w 10117"/>
                <a:gd name="connsiteY33" fmla="*/ 7782 h 10610"/>
                <a:gd name="connsiteX34" fmla="*/ 7995 w 10117"/>
                <a:gd name="connsiteY34" fmla="*/ 7623 h 10610"/>
                <a:gd name="connsiteX35" fmla="*/ 8150 w 10117"/>
                <a:gd name="connsiteY35" fmla="*/ 7463 h 10610"/>
                <a:gd name="connsiteX36" fmla="*/ 8293 w 10117"/>
                <a:gd name="connsiteY36" fmla="*/ 7296 h 10610"/>
                <a:gd name="connsiteX37" fmla="*/ 8433 w 10117"/>
                <a:gd name="connsiteY37" fmla="*/ 7132 h 10610"/>
                <a:gd name="connsiteX38" fmla="*/ 8569 w 10117"/>
                <a:gd name="connsiteY38" fmla="*/ 6962 h 10610"/>
                <a:gd name="connsiteX39" fmla="*/ 8695 w 10117"/>
                <a:gd name="connsiteY39" fmla="*/ 6788 h 10610"/>
                <a:gd name="connsiteX40" fmla="*/ 8819 w 10117"/>
                <a:gd name="connsiteY40" fmla="*/ 6614 h 10610"/>
                <a:gd name="connsiteX41" fmla="*/ 8945 w 10117"/>
                <a:gd name="connsiteY41" fmla="*/ 6440 h 10610"/>
                <a:gd name="connsiteX42" fmla="*/ 9063 w 10117"/>
                <a:gd name="connsiteY42" fmla="*/ 6262 h 10610"/>
                <a:gd name="connsiteX43" fmla="*/ 9167 w 10117"/>
                <a:gd name="connsiteY43" fmla="*/ 6084 h 10610"/>
                <a:gd name="connsiteX44" fmla="*/ 9274 w 10117"/>
                <a:gd name="connsiteY44" fmla="*/ 5902 h 10610"/>
                <a:gd name="connsiteX45" fmla="*/ 9369 w 10117"/>
                <a:gd name="connsiteY45" fmla="*/ 5716 h 10610"/>
                <a:gd name="connsiteX46" fmla="*/ 9465 w 10117"/>
                <a:gd name="connsiteY46" fmla="*/ 5533 h 10610"/>
                <a:gd name="connsiteX47" fmla="*/ 9549 w 10117"/>
                <a:gd name="connsiteY47" fmla="*/ 5344 h 10610"/>
                <a:gd name="connsiteX48" fmla="*/ 9630 w 10117"/>
                <a:gd name="connsiteY48" fmla="*/ 5153 h 10610"/>
                <a:gd name="connsiteX49" fmla="*/ 9704 w 10117"/>
                <a:gd name="connsiteY49" fmla="*/ 4961 h 10610"/>
                <a:gd name="connsiteX50" fmla="*/ 9777 w 10117"/>
                <a:gd name="connsiteY50" fmla="*/ 4771 h 10610"/>
                <a:gd name="connsiteX51" fmla="*/ 9839 w 10117"/>
                <a:gd name="connsiteY51" fmla="*/ 4578 h 10610"/>
                <a:gd name="connsiteX52" fmla="*/ 9898 w 10117"/>
                <a:gd name="connsiteY52" fmla="*/ 4381 h 10610"/>
                <a:gd name="connsiteX53" fmla="*/ 9635 w 10117"/>
                <a:gd name="connsiteY53" fmla="*/ 0 h 10610"/>
                <a:gd name="connsiteX54" fmla="*/ 6408 w 10117"/>
                <a:gd name="connsiteY54" fmla="*/ 1883 h 10610"/>
                <a:gd name="connsiteX55" fmla="*/ 2450 w 10117"/>
                <a:gd name="connsiteY55" fmla="*/ 1500 h 10610"/>
                <a:gd name="connsiteX0" fmla="*/ 2450 w 10117"/>
                <a:gd name="connsiteY0" fmla="*/ 1500 h 10610"/>
                <a:gd name="connsiteX1" fmla="*/ 670 w 10117"/>
                <a:gd name="connsiteY1" fmla="*/ 5534 h 10610"/>
                <a:gd name="connsiteX2" fmla="*/ 581 w 10117"/>
                <a:gd name="connsiteY2" fmla="*/ 5583 h 10610"/>
                <a:gd name="connsiteX3" fmla="*/ 488 w 10117"/>
                <a:gd name="connsiteY3" fmla="*/ 5633 h 10610"/>
                <a:gd name="connsiteX4" fmla="*/ 393 w 10117"/>
                <a:gd name="connsiteY4" fmla="*/ 5681 h 10610"/>
                <a:gd name="connsiteX5" fmla="*/ 295 w 10117"/>
                <a:gd name="connsiteY5" fmla="*/ 5725 h 10610"/>
                <a:gd name="connsiteX6" fmla="*/ 198 w 10117"/>
                <a:gd name="connsiteY6" fmla="*/ 5773 h 10610"/>
                <a:gd name="connsiteX7" fmla="*/ 103 w 10117"/>
                <a:gd name="connsiteY7" fmla="*/ 5816 h 10610"/>
                <a:gd name="connsiteX8" fmla="*/ 0 w 10117"/>
                <a:gd name="connsiteY8" fmla="*/ 5857 h 10610"/>
                <a:gd name="connsiteX9" fmla="*/ 210 w 10117"/>
                <a:gd name="connsiteY9" fmla="*/ 8550 h 10610"/>
                <a:gd name="connsiteX10" fmla="*/ 3301 w 10117"/>
                <a:gd name="connsiteY10" fmla="*/ 10610 h 10610"/>
                <a:gd name="connsiteX11" fmla="*/ 3606 w 10117"/>
                <a:gd name="connsiteY11" fmla="*/ 10485 h 10610"/>
                <a:gd name="connsiteX12" fmla="*/ 3848 w 10117"/>
                <a:gd name="connsiteY12" fmla="*/ 10386 h 10610"/>
                <a:gd name="connsiteX13" fmla="*/ 4084 w 10117"/>
                <a:gd name="connsiteY13" fmla="*/ 10287 h 10610"/>
                <a:gd name="connsiteX14" fmla="*/ 4317 w 10117"/>
                <a:gd name="connsiteY14" fmla="*/ 10183 h 10610"/>
                <a:gd name="connsiteX15" fmla="*/ 4549 w 10117"/>
                <a:gd name="connsiteY15" fmla="*/ 10074 h 10610"/>
                <a:gd name="connsiteX16" fmla="*/ 4767 w 10117"/>
                <a:gd name="connsiteY16" fmla="*/ 9967 h 10610"/>
                <a:gd name="connsiteX17" fmla="*/ 4988 w 10117"/>
                <a:gd name="connsiteY17" fmla="*/ 9849 h 10610"/>
                <a:gd name="connsiteX18" fmla="*/ 5209 w 10117"/>
                <a:gd name="connsiteY18" fmla="*/ 9736 h 10610"/>
                <a:gd name="connsiteX19" fmla="*/ 5419 w 10117"/>
                <a:gd name="connsiteY19" fmla="*/ 9615 h 10610"/>
                <a:gd name="connsiteX20" fmla="*/ 5635 w 10117"/>
                <a:gd name="connsiteY20" fmla="*/ 9491 h 10610"/>
                <a:gd name="connsiteX21" fmla="*/ 5839 w 10117"/>
                <a:gd name="connsiteY21" fmla="*/ 9362 h 10610"/>
                <a:gd name="connsiteX22" fmla="*/ 6043 w 10117"/>
                <a:gd name="connsiteY22" fmla="*/ 9235 h 10610"/>
                <a:gd name="connsiteX23" fmla="*/ 6239 w 10117"/>
                <a:gd name="connsiteY23" fmla="*/ 9105 h 10610"/>
                <a:gd name="connsiteX24" fmla="*/ 6438 w 10117"/>
                <a:gd name="connsiteY24" fmla="*/ 8967 h 10610"/>
                <a:gd name="connsiteX25" fmla="*/ 6629 w 10117"/>
                <a:gd name="connsiteY25" fmla="*/ 8825 h 10610"/>
                <a:gd name="connsiteX26" fmla="*/ 6814 w 10117"/>
                <a:gd name="connsiteY26" fmla="*/ 8689 h 10610"/>
                <a:gd name="connsiteX27" fmla="*/ 6997 w 10117"/>
                <a:gd name="connsiteY27" fmla="*/ 8544 h 10610"/>
                <a:gd name="connsiteX28" fmla="*/ 7173 w 10117"/>
                <a:gd name="connsiteY28" fmla="*/ 8396 h 10610"/>
                <a:gd name="connsiteX29" fmla="*/ 7349 w 10117"/>
                <a:gd name="connsiteY29" fmla="*/ 8248 h 10610"/>
                <a:gd name="connsiteX30" fmla="*/ 7518 w 10117"/>
                <a:gd name="connsiteY30" fmla="*/ 8097 h 10610"/>
                <a:gd name="connsiteX31" fmla="*/ 7686 w 10117"/>
                <a:gd name="connsiteY31" fmla="*/ 7940 h 10610"/>
                <a:gd name="connsiteX32" fmla="*/ 7842 w 10117"/>
                <a:gd name="connsiteY32" fmla="*/ 7782 h 10610"/>
                <a:gd name="connsiteX33" fmla="*/ 7995 w 10117"/>
                <a:gd name="connsiteY33" fmla="*/ 7623 h 10610"/>
                <a:gd name="connsiteX34" fmla="*/ 8150 w 10117"/>
                <a:gd name="connsiteY34" fmla="*/ 7463 h 10610"/>
                <a:gd name="connsiteX35" fmla="*/ 8293 w 10117"/>
                <a:gd name="connsiteY35" fmla="*/ 7296 h 10610"/>
                <a:gd name="connsiteX36" fmla="*/ 8433 w 10117"/>
                <a:gd name="connsiteY36" fmla="*/ 7132 h 10610"/>
                <a:gd name="connsiteX37" fmla="*/ 8569 w 10117"/>
                <a:gd name="connsiteY37" fmla="*/ 6962 h 10610"/>
                <a:gd name="connsiteX38" fmla="*/ 8695 w 10117"/>
                <a:gd name="connsiteY38" fmla="*/ 6788 h 10610"/>
                <a:gd name="connsiteX39" fmla="*/ 8819 w 10117"/>
                <a:gd name="connsiteY39" fmla="*/ 6614 h 10610"/>
                <a:gd name="connsiteX40" fmla="*/ 8945 w 10117"/>
                <a:gd name="connsiteY40" fmla="*/ 6440 h 10610"/>
                <a:gd name="connsiteX41" fmla="*/ 9063 w 10117"/>
                <a:gd name="connsiteY41" fmla="*/ 6262 h 10610"/>
                <a:gd name="connsiteX42" fmla="*/ 9167 w 10117"/>
                <a:gd name="connsiteY42" fmla="*/ 6084 h 10610"/>
                <a:gd name="connsiteX43" fmla="*/ 9274 w 10117"/>
                <a:gd name="connsiteY43" fmla="*/ 5902 h 10610"/>
                <a:gd name="connsiteX44" fmla="*/ 9369 w 10117"/>
                <a:gd name="connsiteY44" fmla="*/ 5716 h 10610"/>
                <a:gd name="connsiteX45" fmla="*/ 9465 w 10117"/>
                <a:gd name="connsiteY45" fmla="*/ 5533 h 10610"/>
                <a:gd name="connsiteX46" fmla="*/ 9549 w 10117"/>
                <a:gd name="connsiteY46" fmla="*/ 5344 h 10610"/>
                <a:gd name="connsiteX47" fmla="*/ 9630 w 10117"/>
                <a:gd name="connsiteY47" fmla="*/ 5153 h 10610"/>
                <a:gd name="connsiteX48" fmla="*/ 9704 w 10117"/>
                <a:gd name="connsiteY48" fmla="*/ 4961 h 10610"/>
                <a:gd name="connsiteX49" fmla="*/ 9777 w 10117"/>
                <a:gd name="connsiteY49" fmla="*/ 4771 h 10610"/>
                <a:gd name="connsiteX50" fmla="*/ 9839 w 10117"/>
                <a:gd name="connsiteY50" fmla="*/ 4578 h 10610"/>
                <a:gd name="connsiteX51" fmla="*/ 9898 w 10117"/>
                <a:gd name="connsiteY51" fmla="*/ 4381 h 10610"/>
                <a:gd name="connsiteX52" fmla="*/ 9635 w 10117"/>
                <a:gd name="connsiteY52" fmla="*/ 0 h 10610"/>
                <a:gd name="connsiteX53" fmla="*/ 6408 w 10117"/>
                <a:gd name="connsiteY53" fmla="*/ 1883 h 10610"/>
                <a:gd name="connsiteX54" fmla="*/ 2450 w 10117"/>
                <a:gd name="connsiteY54" fmla="*/ 1500 h 10610"/>
                <a:gd name="connsiteX0" fmla="*/ 2450 w 10117"/>
                <a:gd name="connsiteY0" fmla="*/ 1500 h 10610"/>
                <a:gd name="connsiteX1" fmla="*/ 581 w 10117"/>
                <a:gd name="connsiteY1" fmla="*/ 5583 h 10610"/>
                <a:gd name="connsiteX2" fmla="*/ 488 w 10117"/>
                <a:gd name="connsiteY2" fmla="*/ 5633 h 10610"/>
                <a:gd name="connsiteX3" fmla="*/ 393 w 10117"/>
                <a:gd name="connsiteY3" fmla="*/ 5681 h 10610"/>
                <a:gd name="connsiteX4" fmla="*/ 295 w 10117"/>
                <a:gd name="connsiteY4" fmla="*/ 5725 h 10610"/>
                <a:gd name="connsiteX5" fmla="*/ 198 w 10117"/>
                <a:gd name="connsiteY5" fmla="*/ 5773 h 10610"/>
                <a:gd name="connsiteX6" fmla="*/ 103 w 10117"/>
                <a:gd name="connsiteY6" fmla="*/ 5816 h 10610"/>
                <a:gd name="connsiteX7" fmla="*/ 0 w 10117"/>
                <a:gd name="connsiteY7" fmla="*/ 5857 h 10610"/>
                <a:gd name="connsiteX8" fmla="*/ 210 w 10117"/>
                <a:gd name="connsiteY8" fmla="*/ 8550 h 10610"/>
                <a:gd name="connsiteX9" fmla="*/ 3301 w 10117"/>
                <a:gd name="connsiteY9" fmla="*/ 10610 h 10610"/>
                <a:gd name="connsiteX10" fmla="*/ 3606 w 10117"/>
                <a:gd name="connsiteY10" fmla="*/ 10485 h 10610"/>
                <a:gd name="connsiteX11" fmla="*/ 3848 w 10117"/>
                <a:gd name="connsiteY11" fmla="*/ 10386 h 10610"/>
                <a:gd name="connsiteX12" fmla="*/ 4084 w 10117"/>
                <a:gd name="connsiteY12" fmla="*/ 10287 h 10610"/>
                <a:gd name="connsiteX13" fmla="*/ 4317 w 10117"/>
                <a:gd name="connsiteY13" fmla="*/ 10183 h 10610"/>
                <a:gd name="connsiteX14" fmla="*/ 4549 w 10117"/>
                <a:gd name="connsiteY14" fmla="*/ 10074 h 10610"/>
                <a:gd name="connsiteX15" fmla="*/ 4767 w 10117"/>
                <a:gd name="connsiteY15" fmla="*/ 9967 h 10610"/>
                <a:gd name="connsiteX16" fmla="*/ 4988 w 10117"/>
                <a:gd name="connsiteY16" fmla="*/ 9849 h 10610"/>
                <a:gd name="connsiteX17" fmla="*/ 5209 w 10117"/>
                <a:gd name="connsiteY17" fmla="*/ 9736 h 10610"/>
                <a:gd name="connsiteX18" fmla="*/ 5419 w 10117"/>
                <a:gd name="connsiteY18" fmla="*/ 9615 h 10610"/>
                <a:gd name="connsiteX19" fmla="*/ 5635 w 10117"/>
                <a:gd name="connsiteY19" fmla="*/ 9491 h 10610"/>
                <a:gd name="connsiteX20" fmla="*/ 5839 w 10117"/>
                <a:gd name="connsiteY20" fmla="*/ 9362 h 10610"/>
                <a:gd name="connsiteX21" fmla="*/ 6043 w 10117"/>
                <a:gd name="connsiteY21" fmla="*/ 9235 h 10610"/>
                <a:gd name="connsiteX22" fmla="*/ 6239 w 10117"/>
                <a:gd name="connsiteY22" fmla="*/ 9105 h 10610"/>
                <a:gd name="connsiteX23" fmla="*/ 6438 w 10117"/>
                <a:gd name="connsiteY23" fmla="*/ 8967 h 10610"/>
                <a:gd name="connsiteX24" fmla="*/ 6629 w 10117"/>
                <a:gd name="connsiteY24" fmla="*/ 8825 h 10610"/>
                <a:gd name="connsiteX25" fmla="*/ 6814 w 10117"/>
                <a:gd name="connsiteY25" fmla="*/ 8689 h 10610"/>
                <a:gd name="connsiteX26" fmla="*/ 6997 w 10117"/>
                <a:gd name="connsiteY26" fmla="*/ 8544 h 10610"/>
                <a:gd name="connsiteX27" fmla="*/ 7173 w 10117"/>
                <a:gd name="connsiteY27" fmla="*/ 8396 h 10610"/>
                <a:gd name="connsiteX28" fmla="*/ 7349 w 10117"/>
                <a:gd name="connsiteY28" fmla="*/ 8248 h 10610"/>
                <a:gd name="connsiteX29" fmla="*/ 7518 w 10117"/>
                <a:gd name="connsiteY29" fmla="*/ 8097 h 10610"/>
                <a:gd name="connsiteX30" fmla="*/ 7686 w 10117"/>
                <a:gd name="connsiteY30" fmla="*/ 7940 h 10610"/>
                <a:gd name="connsiteX31" fmla="*/ 7842 w 10117"/>
                <a:gd name="connsiteY31" fmla="*/ 7782 h 10610"/>
                <a:gd name="connsiteX32" fmla="*/ 7995 w 10117"/>
                <a:gd name="connsiteY32" fmla="*/ 7623 h 10610"/>
                <a:gd name="connsiteX33" fmla="*/ 8150 w 10117"/>
                <a:gd name="connsiteY33" fmla="*/ 7463 h 10610"/>
                <a:gd name="connsiteX34" fmla="*/ 8293 w 10117"/>
                <a:gd name="connsiteY34" fmla="*/ 7296 h 10610"/>
                <a:gd name="connsiteX35" fmla="*/ 8433 w 10117"/>
                <a:gd name="connsiteY35" fmla="*/ 7132 h 10610"/>
                <a:gd name="connsiteX36" fmla="*/ 8569 w 10117"/>
                <a:gd name="connsiteY36" fmla="*/ 6962 h 10610"/>
                <a:gd name="connsiteX37" fmla="*/ 8695 w 10117"/>
                <a:gd name="connsiteY37" fmla="*/ 6788 h 10610"/>
                <a:gd name="connsiteX38" fmla="*/ 8819 w 10117"/>
                <a:gd name="connsiteY38" fmla="*/ 6614 h 10610"/>
                <a:gd name="connsiteX39" fmla="*/ 8945 w 10117"/>
                <a:gd name="connsiteY39" fmla="*/ 6440 h 10610"/>
                <a:gd name="connsiteX40" fmla="*/ 9063 w 10117"/>
                <a:gd name="connsiteY40" fmla="*/ 6262 h 10610"/>
                <a:gd name="connsiteX41" fmla="*/ 9167 w 10117"/>
                <a:gd name="connsiteY41" fmla="*/ 6084 h 10610"/>
                <a:gd name="connsiteX42" fmla="*/ 9274 w 10117"/>
                <a:gd name="connsiteY42" fmla="*/ 5902 h 10610"/>
                <a:gd name="connsiteX43" fmla="*/ 9369 w 10117"/>
                <a:gd name="connsiteY43" fmla="*/ 5716 h 10610"/>
                <a:gd name="connsiteX44" fmla="*/ 9465 w 10117"/>
                <a:gd name="connsiteY44" fmla="*/ 5533 h 10610"/>
                <a:gd name="connsiteX45" fmla="*/ 9549 w 10117"/>
                <a:gd name="connsiteY45" fmla="*/ 5344 h 10610"/>
                <a:gd name="connsiteX46" fmla="*/ 9630 w 10117"/>
                <a:gd name="connsiteY46" fmla="*/ 5153 h 10610"/>
                <a:gd name="connsiteX47" fmla="*/ 9704 w 10117"/>
                <a:gd name="connsiteY47" fmla="*/ 4961 h 10610"/>
                <a:gd name="connsiteX48" fmla="*/ 9777 w 10117"/>
                <a:gd name="connsiteY48" fmla="*/ 4771 h 10610"/>
                <a:gd name="connsiteX49" fmla="*/ 9839 w 10117"/>
                <a:gd name="connsiteY49" fmla="*/ 4578 h 10610"/>
                <a:gd name="connsiteX50" fmla="*/ 9898 w 10117"/>
                <a:gd name="connsiteY50" fmla="*/ 4381 h 10610"/>
                <a:gd name="connsiteX51" fmla="*/ 9635 w 10117"/>
                <a:gd name="connsiteY51" fmla="*/ 0 h 10610"/>
                <a:gd name="connsiteX52" fmla="*/ 6408 w 10117"/>
                <a:gd name="connsiteY52" fmla="*/ 1883 h 10610"/>
                <a:gd name="connsiteX53" fmla="*/ 2450 w 10117"/>
                <a:gd name="connsiteY53" fmla="*/ 1500 h 10610"/>
                <a:gd name="connsiteX0" fmla="*/ 2450 w 10117"/>
                <a:gd name="connsiteY0" fmla="*/ 1500 h 10610"/>
                <a:gd name="connsiteX1" fmla="*/ 488 w 10117"/>
                <a:gd name="connsiteY1" fmla="*/ 5633 h 10610"/>
                <a:gd name="connsiteX2" fmla="*/ 393 w 10117"/>
                <a:gd name="connsiteY2" fmla="*/ 5681 h 10610"/>
                <a:gd name="connsiteX3" fmla="*/ 295 w 10117"/>
                <a:gd name="connsiteY3" fmla="*/ 5725 h 10610"/>
                <a:gd name="connsiteX4" fmla="*/ 198 w 10117"/>
                <a:gd name="connsiteY4" fmla="*/ 5773 h 10610"/>
                <a:gd name="connsiteX5" fmla="*/ 103 w 10117"/>
                <a:gd name="connsiteY5" fmla="*/ 5816 h 10610"/>
                <a:gd name="connsiteX6" fmla="*/ 0 w 10117"/>
                <a:gd name="connsiteY6" fmla="*/ 5857 h 10610"/>
                <a:gd name="connsiteX7" fmla="*/ 210 w 10117"/>
                <a:gd name="connsiteY7" fmla="*/ 8550 h 10610"/>
                <a:gd name="connsiteX8" fmla="*/ 3301 w 10117"/>
                <a:gd name="connsiteY8" fmla="*/ 10610 h 10610"/>
                <a:gd name="connsiteX9" fmla="*/ 3606 w 10117"/>
                <a:gd name="connsiteY9" fmla="*/ 10485 h 10610"/>
                <a:gd name="connsiteX10" fmla="*/ 3848 w 10117"/>
                <a:gd name="connsiteY10" fmla="*/ 10386 h 10610"/>
                <a:gd name="connsiteX11" fmla="*/ 4084 w 10117"/>
                <a:gd name="connsiteY11" fmla="*/ 10287 h 10610"/>
                <a:gd name="connsiteX12" fmla="*/ 4317 w 10117"/>
                <a:gd name="connsiteY12" fmla="*/ 10183 h 10610"/>
                <a:gd name="connsiteX13" fmla="*/ 4549 w 10117"/>
                <a:gd name="connsiteY13" fmla="*/ 10074 h 10610"/>
                <a:gd name="connsiteX14" fmla="*/ 4767 w 10117"/>
                <a:gd name="connsiteY14" fmla="*/ 9967 h 10610"/>
                <a:gd name="connsiteX15" fmla="*/ 4988 w 10117"/>
                <a:gd name="connsiteY15" fmla="*/ 9849 h 10610"/>
                <a:gd name="connsiteX16" fmla="*/ 5209 w 10117"/>
                <a:gd name="connsiteY16" fmla="*/ 9736 h 10610"/>
                <a:gd name="connsiteX17" fmla="*/ 5419 w 10117"/>
                <a:gd name="connsiteY17" fmla="*/ 9615 h 10610"/>
                <a:gd name="connsiteX18" fmla="*/ 5635 w 10117"/>
                <a:gd name="connsiteY18" fmla="*/ 9491 h 10610"/>
                <a:gd name="connsiteX19" fmla="*/ 5839 w 10117"/>
                <a:gd name="connsiteY19" fmla="*/ 9362 h 10610"/>
                <a:gd name="connsiteX20" fmla="*/ 6043 w 10117"/>
                <a:gd name="connsiteY20" fmla="*/ 9235 h 10610"/>
                <a:gd name="connsiteX21" fmla="*/ 6239 w 10117"/>
                <a:gd name="connsiteY21" fmla="*/ 9105 h 10610"/>
                <a:gd name="connsiteX22" fmla="*/ 6438 w 10117"/>
                <a:gd name="connsiteY22" fmla="*/ 8967 h 10610"/>
                <a:gd name="connsiteX23" fmla="*/ 6629 w 10117"/>
                <a:gd name="connsiteY23" fmla="*/ 8825 h 10610"/>
                <a:gd name="connsiteX24" fmla="*/ 6814 w 10117"/>
                <a:gd name="connsiteY24" fmla="*/ 8689 h 10610"/>
                <a:gd name="connsiteX25" fmla="*/ 6997 w 10117"/>
                <a:gd name="connsiteY25" fmla="*/ 8544 h 10610"/>
                <a:gd name="connsiteX26" fmla="*/ 7173 w 10117"/>
                <a:gd name="connsiteY26" fmla="*/ 8396 h 10610"/>
                <a:gd name="connsiteX27" fmla="*/ 7349 w 10117"/>
                <a:gd name="connsiteY27" fmla="*/ 8248 h 10610"/>
                <a:gd name="connsiteX28" fmla="*/ 7518 w 10117"/>
                <a:gd name="connsiteY28" fmla="*/ 8097 h 10610"/>
                <a:gd name="connsiteX29" fmla="*/ 7686 w 10117"/>
                <a:gd name="connsiteY29" fmla="*/ 7940 h 10610"/>
                <a:gd name="connsiteX30" fmla="*/ 7842 w 10117"/>
                <a:gd name="connsiteY30" fmla="*/ 7782 h 10610"/>
                <a:gd name="connsiteX31" fmla="*/ 7995 w 10117"/>
                <a:gd name="connsiteY31" fmla="*/ 7623 h 10610"/>
                <a:gd name="connsiteX32" fmla="*/ 8150 w 10117"/>
                <a:gd name="connsiteY32" fmla="*/ 7463 h 10610"/>
                <a:gd name="connsiteX33" fmla="*/ 8293 w 10117"/>
                <a:gd name="connsiteY33" fmla="*/ 7296 h 10610"/>
                <a:gd name="connsiteX34" fmla="*/ 8433 w 10117"/>
                <a:gd name="connsiteY34" fmla="*/ 7132 h 10610"/>
                <a:gd name="connsiteX35" fmla="*/ 8569 w 10117"/>
                <a:gd name="connsiteY35" fmla="*/ 6962 h 10610"/>
                <a:gd name="connsiteX36" fmla="*/ 8695 w 10117"/>
                <a:gd name="connsiteY36" fmla="*/ 6788 h 10610"/>
                <a:gd name="connsiteX37" fmla="*/ 8819 w 10117"/>
                <a:gd name="connsiteY37" fmla="*/ 6614 h 10610"/>
                <a:gd name="connsiteX38" fmla="*/ 8945 w 10117"/>
                <a:gd name="connsiteY38" fmla="*/ 6440 h 10610"/>
                <a:gd name="connsiteX39" fmla="*/ 9063 w 10117"/>
                <a:gd name="connsiteY39" fmla="*/ 6262 h 10610"/>
                <a:gd name="connsiteX40" fmla="*/ 9167 w 10117"/>
                <a:gd name="connsiteY40" fmla="*/ 6084 h 10610"/>
                <a:gd name="connsiteX41" fmla="*/ 9274 w 10117"/>
                <a:gd name="connsiteY41" fmla="*/ 5902 h 10610"/>
                <a:gd name="connsiteX42" fmla="*/ 9369 w 10117"/>
                <a:gd name="connsiteY42" fmla="*/ 5716 h 10610"/>
                <a:gd name="connsiteX43" fmla="*/ 9465 w 10117"/>
                <a:gd name="connsiteY43" fmla="*/ 5533 h 10610"/>
                <a:gd name="connsiteX44" fmla="*/ 9549 w 10117"/>
                <a:gd name="connsiteY44" fmla="*/ 5344 h 10610"/>
                <a:gd name="connsiteX45" fmla="*/ 9630 w 10117"/>
                <a:gd name="connsiteY45" fmla="*/ 5153 h 10610"/>
                <a:gd name="connsiteX46" fmla="*/ 9704 w 10117"/>
                <a:gd name="connsiteY46" fmla="*/ 4961 h 10610"/>
                <a:gd name="connsiteX47" fmla="*/ 9777 w 10117"/>
                <a:gd name="connsiteY47" fmla="*/ 4771 h 10610"/>
                <a:gd name="connsiteX48" fmla="*/ 9839 w 10117"/>
                <a:gd name="connsiteY48" fmla="*/ 4578 h 10610"/>
                <a:gd name="connsiteX49" fmla="*/ 9898 w 10117"/>
                <a:gd name="connsiteY49" fmla="*/ 4381 h 10610"/>
                <a:gd name="connsiteX50" fmla="*/ 9635 w 10117"/>
                <a:gd name="connsiteY50" fmla="*/ 0 h 10610"/>
                <a:gd name="connsiteX51" fmla="*/ 6408 w 10117"/>
                <a:gd name="connsiteY51" fmla="*/ 1883 h 10610"/>
                <a:gd name="connsiteX52" fmla="*/ 2450 w 10117"/>
                <a:gd name="connsiteY52" fmla="*/ 1500 h 10610"/>
                <a:gd name="connsiteX0" fmla="*/ 2450 w 10117"/>
                <a:gd name="connsiteY0" fmla="*/ 1500 h 10610"/>
                <a:gd name="connsiteX1" fmla="*/ 393 w 10117"/>
                <a:gd name="connsiteY1" fmla="*/ 5681 h 10610"/>
                <a:gd name="connsiteX2" fmla="*/ 295 w 10117"/>
                <a:gd name="connsiteY2" fmla="*/ 5725 h 10610"/>
                <a:gd name="connsiteX3" fmla="*/ 198 w 10117"/>
                <a:gd name="connsiteY3" fmla="*/ 5773 h 10610"/>
                <a:gd name="connsiteX4" fmla="*/ 103 w 10117"/>
                <a:gd name="connsiteY4" fmla="*/ 5816 h 10610"/>
                <a:gd name="connsiteX5" fmla="*/ 0 w 10117"/>
                <a:gd name="connsiteY5" fmla="*/ 5857 h 10610"/>
                <a:gd name="connsiteX6" fmla="*/ 210 w 10117"/>
                <a:gd name="connsiteY6" fmla="*/ 8550 h 10610"/>
                <a:gd name="connsiteX7" fmla="*/ 3301 w 10117"/>
                <a:gd name="connsiteY7" fmla="*/ 10610 h 10610"/>
                <a:gd name="connsiteX8" fmla="*/ 3606 w 10117"/>
                <a:gd name="connsiteY8" fmla="*/ 10485 h 10610"/>
                <a:gd name="connsiteX9" fmla="*/ 3848 w 10117"/>
                <a:gd name="connsiteY9" fmla="*/ 10386 h 10610"/>
                <a:gd name="connsiteX10" fmla="*/ 4084 w 10117"/>
                <a:gd name="connsiteY10" fmla="*/ 10287 h 10610"/>
                <a:gd name="connsiteX11" fmla="*/ 4317 w 10117"/>
                <a:gd name="connsiteY11" fmla="*/ 10183 h 10610"/>
                <a:gd name="connsiteX12" fmla="*/ 4549 w 10117"/>
                <a:gd name="connsiteY12" fmla="*/ 10074 h 10610"/>
                <a:gd name="connsiteX13" fmla="*/ 4767 w 10117"/>
                <a:gd name="connsiteY13" fmla="*/ 9967 h 10610"/>
                <a:gd name="connsiteX14" fmla="*/ 4988 w 10117"/>
                <a:gd name="connsiteY14" fmla="*/ 9849 h 10610"/>
                <a:gd name="connsiteX15" fmla="*/ 5209 w 10117"/>
                <a:gd name="connsiteY15" fmla="*/ 9736 h 10610"/>
                <a:gd name="connsiteX16" fmla="*/ 5419 w 10117"/>
                <a:gd name="connsiteY16" fmla="*/ 9615 h 10610"/>
                <a:gd name="connsiteX17" fmla="*/ 5635 w 10117"/>
                <a:gd name="connsiteY17" fmla="*/ 9491 h 10610"/>
                <a:gd name="connsiteX18" fmla="*/ 5839 w 10117"/>
                <a:gd name="connsiteY18" fmla="*/ 9362 h 10610"/>
                <a:gd name="connsiteX19" fmla="*/ 6043 w 10117"/>
                <a:gd name="connsiteY19" fmla="*/ 9235 h 10610"/>
                <a:gd name="connsiteX20" fmla="*/ 6239 w 10117"/>
                <a:gd name="connsiteY20" fmla="*/ 9105 h 10610"/>
                <a:gd name="connsiteX21" fmla="*/ 6438 w 10117"/>
                <a:gd name="connsiteY21" fmla="*/ 8967 h 10610"/>
                <a:gd name="connsiteX22" fmla="*/ 6629 w 10117"/>
                <a:gd name="connsiteY22" fmla="*/ 8825 h 10610"/>
                <a:gd name="connsiteX23" fmla="*/ 6814 w 10117"/>
                <a:gd name="connsiteY23" fmla="*/ 8689 h 10610"/>
                <a:gd name="connsiteX24" fmla="*/ 6997 w 10117"/>
                <a:gd name="connsiteY24" fmla="*/ 8544 h 10610"/>
                <a:gd name="connsiteX25" fmla="*/ 7173 w 10117"/>
                <a:gd name="connsiteY25" fmla="*/ 8396 h 10610"/>
                <a:gd name="connsiteX26" fmla="*/ 7349 w 10117"/>
                <a:gd name="connsiteY26" fmla="*/ 8248 h 10610"/>
                <a:gd name="connsiteX27" fmla="*/ 7518 w 10117"/>
                <a:gd name="connsiteY27" fmla="*/ 8097 h 10610"/>
                <a:gd name="connsiteX28" fmla="*/ 7686 w 10117"/>
                <a:gd name="connsiteY28" fmla="*/ 7940 h 10610"/>
                <a:gd name="connsiteX29" fmla="*/ 7842 w 10117"/>
                <a:gd name="connsiteY29" fmla="*/ 7782 h 10610"/>
                <a:gd name="connsiteX30" fmla="*/ 7995 w 10117"/>
                <a:gd name="connsiteY30" fmla="*/ 7623 h 10610"/>
                <a:gd name="connsiteX31" fmla="*/ 8150 w 10117"/>
                <a:gd name="connsiteY31" fmla="*/ 7463 h 10610"/>
                <a:gd name="connsiteX32" fmla="*/ 8293 w 10117"/>
                <a:gd name="connsiteY32" fmla="*/ 7296 h 10610"/>
                <a:gd name="connsiteX33" fmla="*/ 8433 w 10117"/>
                <a:gd name="connsiteY33" fmla="*/ 7132 h 10610"/>
                <a:gd name="connsiteX34" fmla="*/ 8569 w 10117"/>
                <a:gd name="connsiteY34" fmla="*/ 6962 h 10610"/>
                <a:gd name="connsiteX35" fmla="*/ 8695 w 10117"/>
                <a:gd name="connsiteY35" fmla="*/ 6788 h 10610"/>
                <a:gd name="connsiteX36" fmla="*/ 8819 w 10117"/>
                <a:gd name="connsiteY36" fmla="*/ 6614 h 10610"/>
                <a:gd name="connsiteX37" fmla="*/ 8945 w 10117"/>
                <a:gd name="connsiteY37" fmla="*/ 6440 h 10610"/>
                <a:gd name="connsiteX38" fmla="*/ 9063 w 10117"/>
                <a:gd name="connsiteY38" fmla="*/ 6262 h 10610"/>
                <a:gd name="connsiteX39" fmla="*/ 9167 w 10117"/>
                <a:gd name="connsiteY39" fmla="*/ 6084 h 10610"/>
                <a:gd name="connsiteX40" fmla="*/ 9274 w 10117"/>
                <a:gd name="connsiteY40" fmla="*/ 5902 h 10610"/>
                <a:gd name="connsiteX41" fmla="*/ 9369 w 10117"/>
                <a:gd name="connsiteY41" fmla="*/ 5716 h 10610"/>
                <a:gd name="connsiteX42" fmla="*/ 9465 w 10117"/>
                <a:gd name="connsiteY42" fmla="*/ 5533 h 10610"/>
                <a:gd name="connsiteX43" fmla="*/ 9549 w 10117"/>
                <a:gd name="connsiteY43" fmla="*/ 5344 h 10610"/>
                <a:gd name="connsiteX44" fmla="*/ 9630 w 10117"/>
                <a:gd name="connsiteY44" fmla="*/ 5153 h 10610"/>
                <a:gd name="connsiteX45" fmla="*/ 9704 w 10117"/>
                <a:gd name="connsiteY45" fmla="*/ 4961 h 10610"/>
                <a:gd name="connsiteX46" fmla="*/ 9777 w 10117"/>
                <a:gd name="connsiteY46" fmla="*/ 4771 h 10610"/>
                <a:gd name="connsiteX47" fmla="*/ 9839 w 10117"/>
                <a:gd name="connsiteY47" fmla="*/ 4578 h 10610"/>
                <a:gd name="connsiteX48" fmla="*/ 9898 w 10117"/>
                <a:gd name="connsiteY48" fmla="*/ 4381 h 10610"/>
                <a:gd name="connsiteX49" fmla="*/ 9635 w 10117"/>
                <a:gd name="connsiteY49" fmla="*/ 0 h 10610"/>
                <a:gd name="connsiteX50" fmla="*/ 6408 w 10117"/>
                <a:gd name="connsiteY50" fmla="*/ 1883 h 10610"/>
                <a:gd name="connsiteX51" fmla="*/ 2450 w 10117"/>
                <a:gd name="connsiteY51" fmla="*/ 1500 h 10610"/>
                <a:gd name="connsiteX0" fmla="*/ 2450 w 10117"/>
                <a:gd name="connsiteY0" fmla="*/ 1500 h 10610"/>
                <a:gd name="connsiteX1" fmla="*/ 295 w 10117"/>
                <a:gd name="connsiteY1" fmla="*/ 5725 h 10610"/>
                <a:gd name="connsiteX2" fmla="*/ 198 w 10117"/>
                <a:gd name="connsiteY2" fmla="*/ 5773 h 10610"/>
                <a:gd name="connsiteX3" fmla="*/ 103 w 10117"/>
                <a:gd name="connsiteY3" fmla="*/ 5816 h 10610"/>
                <a:gd name="connsiteX4" fmla="*/ 0 w 10117"/>
                <a:gd name="connsiteY4" fmla="*/ 5857 h 10610"/>
                <a:gd name="connsiteX5" fmla="*/ 210 w 10117"/>
                <a:gd name="connsiteY5" fmla="*/ 8550 h 10610"/>
                <a:gd name="connsiteX6" fmla="*/ 3301 w 10117"/>
                <a:gd name="connsiteY6" fmla="*/ 10610 h 10610"/>
                <a:gd name="connsiteX7" fmla="*/ 3606 w 10117"/>
                <a:gd name="connsiteY7" fmla="*/ 10485 h 10610"/>
                <a:gd name="connsiteX8" fmla="*/ 3848 w 10117"/>
                <a:gd name="connsiteY8" fmla="*/ 10386 h 10610"/>
                <a:gd name="connsiteX9" fmla="*/ 4084 w 10117"/>
                <a:gd name="connsiteY9" fmla="*/ 10287 h 10610"/>
                <a:gd name="connsiteX10" fmla="*/ 4317 w 10117"/>
                <a:gd name="connsiteY10" fmla="*/ 10183 h 10610"/>
                <a:gd name="connsiteX11" fmla="*/ 4549 w 10117"/>
                <a:gd name="connsiteY11" fmla="*/ 10074 h 10610"/>
                <a:gd name="connsiteX12" fmla="*/ 4767 w 10117"/>
                <a:gd name="connsiteY12" fmla="*/ 9967 h 10610"/>
                <a:gd name="connsiteX13" fmla="*/ 4988 w 10117"/>
                <a:gd name="connsiteY13" fmla="*/ 9849 h 10610"/>
                <a:gd name="connsiteX14" fmla="*/ 5209 w 10117"/>
                <a:gd name="connsiteY14" fmla="*/ 9736 h 10610"/>
                <a:gd name="connsiteX15" fmla="*/ 5419 w 10117"/>
                <a:gd name="connsiteY15" fmla="*/ 9615 h 10610"/>
                <a:gd name="connsiteX16" fmla="*/ 5635 w 10117"/>
                <a:gd name="connsiteY16" fmla="*/ 9491 h 10610"/>
                <a:gd name="connsiteX17" fmla="*/ 5839 w 10117"/>
                <a:gd name="connsiteY17" fmla="*/ 9362 h 10610"/>
                <a:gd name="connsiteX18" fmla="*/ 6043 w 10117"/>
                <a:gd name="connsiteY18" fmla="*/ 9235 h 10610"/>
                <a:gd name="connsiteX19" fmla="*/ 6239 w 10117"/>
                <a:gd name="connsiteY19" fmla="*/ 9105 h 10610"/>
                <a:gd name="connsiteX20" fmla="*/ 6438 w 10117"/>
                <a:gd name="connsiteY20" fmla="*/ 8967 h 10610"/>
                <a:gd name="connsiteX21" fmla="*/ 6629 w 10117"/>
                <a:gd name="connsiteY21" fmla="*/ 8825 h 10610"/>
                <a:gd name="connsiteX22" fmla="*/ 6814 w 10117"/>
                <a:gd name="connsiteY22" fmla="*/ 8689 h 10610"/>
                <a:gd name="connsiteX23" fmla="*/ 6997 w 10117"/>
                <a:gd name="connsiteY23" fmla="*/ 8544 h 10610"/>
                <a:gd name="connsiteX24" fmla="*/ 7173 w 10117"/>
                <a:gd name="connsiteY24" fmla="*/ 8396 h 10610"/>
                <a:gd name="connsiteX25" fmla="*/ 7349 w 10117"/>
                <a:gd name="connsiteY25" fmla="*/ 8248 h 10610"/>
                <a:gd name="connsiteX26" fmla="*/ 7518 w 10117"/>
                <a:gd name="connsiteY26" fmla="*/ 8097 h 10610"/>
                <a:gd name="connsiteX27" fmla="*/ 7686 w 10117"/>
                <a:gd name="connsiteY27" fmla="*/ 7940 h 10610"/>
                <a:gd name="connsiteX28" fmla="*/ 7842 w 10117"/>
                <a:gd name="connsiteY28" fmla="*/ 7782 h 10610"/>
                <a:gd name="connsiteX29" fmla="*/ 7995 w 10117"/>
                <a:gd name="connsiteY29" fmla="*/ 7623 h 10610"/>
                <a:gd name="connsiteX30" fmla="*/ 8150 w 10117"/>
                <a:gd name="connsiteY30" fmla="*/ 7463 h 10610"/>
                <a:gd name="connsiteX31" fmla="*/ 8293 w 10117"/>
                <a:gd name="connsiteY31" fmla="*/ 7296 h 10610"/>
                <a:gd name="connsiteX32" fmla="*/ 8433 w 10117"/>
                <a:gd name="connsiteY32" fmla="*/ 7132 h 10610"/>
                <a:gd name="connsiteX33" fmla="*/ 8569 w 10117"/>
                <a:gd name="connsiteY33" fmla="*/ 6962 h 10610"/>
                <a:gd name="connsiteX34" fmla="*/ 8695 w 10117"/>
                <a:gd name="connsiteY34" fmla="*/ 6788 h 10610"/>
                <a:gd name="connsiteX35" fmla="*/ 8819 w 10117"/>
                <a:gd name="connsiteY35" fmla="*/ 6614 h 10610"/>
                <a:gd name="connsiteX36" fmla="*/ 8945 w 10117"/>
                <a:gd name="connsiteY36" fmla="*/ 6440 h 10610"/>
                <a:gd name="connsiteX37" fmla="*/ 9063 w 10117"/>
                <a:gd name="connsiteY37" fmla="*/ 6262 h 10610"/>
                <a:gd name="connsiteX38" fmla="*/ 9167 w 10117"/>
                <a:gd name="connsiteY38" fmla="*/ 6084 h 10610"/>
                <a:gd name="connsiteX39" fmla="*/ 9274 w 10117"/>
                <a:gd name="connsiteY39" fmla="*/ 5902 h 10610"/>
                <a:gd name="connsiteX40" fmla="*/ 9369 w 10117"/>
                <a:gd name="connsiteY40" fmla="*/ 5716 h 10610"/>
                <a:gd name="connsiteX41" fmla="*/ 9465 w 10117"/>
                <a:gd name="connsiteY41" fmla="*/ 5533 h 10610"/>
                <a:gd name="connsiteX42" fmla="*/ 9549 w 10117"/>
                <a:gd name="connsiteY42" fmla="*/ 5344 h 10610"/>
                <a:gd name="connsiteX43" fmla="*/ 9630 w 10117"/>
                <a:gd name="connsiteY43" fmla="*/ 5153 h 10610"/>
                <a:gd name="connsiteX44" fmla="*/ 9704 w 10117"/>
                <a:gd name="connsiteY44" fmla="*/ 4961 h 10610"/>
                <a:gd name="connsiteX45" fmla="*/ 9777 w 10117"/>
                <a:gd name="connsiteY45" fmla="*/ 4771 h 10610"/>
                <a:gd name="connsiteX46" fmla="*/ 9839 w 10117"/>
                <a:gd name="connsiteY46" fmla="*/ 4578 h 10610"/>
                <a:gd name="connsiteX47" fmla="*/ 9898 w 10117"/>
                <a:gd name="connsiteY47" fmla="*/ 4381 h 10610"/>
                <a:gd name="connsiteX48" fmla="*/ 9635 w 10117"/>
                <a:gd name="connsiteY48" fmla="*/ 0 h 10610"/>
                <a:gd name="connsiteX49" fmla="*/ 6408 w 10117"/>
                <a:gd name="connsiteY49" fmla="*/ 1883 h 10610"/>
                <a:gd name="connsiteX50" fmla="*/ 2450 w 10117"/>
                <a:gd name="connsiteY50" fmla="*/ 1500 h 10610"/>
                <a:gd name="connsiteX0" fmla="*/ 2450 w 10117"/>
                <a:gd name="connsiteY0" fmla="*/ 1500 h 10610"/>
                <a:gd name="connsiteX1" fmla="*/ 297 w 10117"/>
                <a:gd name="connsiteY1" fmla="*/ 5689 h 10610"/>
                <a:gd name="connsiteX2" fmla="*/ 295 w 10117"/>
                <a:gd name="connsiteY2" fmla="*/ 5725 h 10610"/>
                <a:gd name="connsiteX3" fmla="*/ 198 w 10117"/>
                <a:gd name="connsiteY3" fmla="*/ 5773 h 10610"/>
                <a:gd name="connsiteX4" fmla="*/ 103 w 10117"/>
                <a:gd name="connsiteY4" fmla="*/ 5816 h 10610"/>
                <a:gd name="connsiteX5" fmla="*/ 0 w 10117"/>
                <a:gd name="connsiteY5" fmla="*/ 5857 h 10610"/>
                <a:gd name="connsiteX6" fmla="*/ 210 w 10117"/>
                <a:gd name="connsiteY6" fmla="*/ 8550 h 10610"/>
                <a:gd name="connsiteX7" fmla="*/ 3301 w 10117"/>
                <a:gd name="connsiteY7" fmla="*/ 10610 h 10610"/>
                <a:gd name="connsiteX8" fmla="*/ 3606 w 10117"/>
                <a:gd name="connsiteY8" fmla="*/ 10485 h 10610"/>
                <a:gd name="connsiteX9" fmla="*/ 3848 w 10117"/>
                <a:gd name="connsiteY9" fmla="*/ 10386 h 10610"/>
                <a:gd name="connsiteX10" fmla="*/ 4084 w 10117"/>
                <a:gd name="connsiteY10" fmla="*/ 10287 h 10610"/>
                <a:gd name="connsiteX11" fmla="*/ 4317 w 10117"/>
                <a:gd name="connsiteY11" fmla="*/ 10183 h 10610"/>
                <a:gd name="connsiteX12" fmla="*/ 4549 w 10117"/>
                <a:gd name="connsiteY12" fmla="*/ 10074 h 10610"/>
                <a:gd name="connsiteX13" fmla="*/ 4767 w 10117"/>
                <a:gd name="connsiteY13" fmla="*/ 9967 h 10610"/>
                <a:gd name="connsiteX14" fmla="*/ 4988 w 10117"/>
                <a:gd name="connsiteY14" fmla="*/ 9849 h 10610"/>
                <a:gd name="connsiteX15" fmla="*/ 5209 w 10117"/>
                <a:gd name="connsiteY15" fmla="*/ 9736 h 10610"/>
                <a:gd name="connsiteX16" fmla="*/ 5419 w 10117"/>
                <a:gd name="connsiteY16" fmla="*/ 9615 h 10610"/>
                <a:gd name="connsiteX17" fmla="*/ 5635 w 10117"/>
                <a:gd name="connsiteY17" fmla="*/ 9491 h 10610"/>
                <a:gd name="connsiteX18" fmla="*/ 5839 w 10117"/>
                <a:gd name="connsiteY18" fmla="*/ 9362 h 10610"/>
                <a:gd name="connsiteX19" fmla="*/ 6043 w 10117"/>
                <a:gd name="connsiteY19" fmla="*/ 9235 h 10610"/>
                <a:gd name="connsiteX20" fmla="*/ 6239 w 10117"/>
                <a:gd name="connsiteY20" fmla="*/ 9105 h 10610"/>
                <a:gd name="connsiteX21" fmla="*/ 6438 w 10117"/>
                <a:gd name="connsiteY21" fmla="*/ 8967 h 10610"/>
                <a:gd name="connsiteX22" fmla="*/ 6629 w 10117"/>
                <a:gd name="connsiteY22" fmla="*/ 8825 h 10610"/>
                <a:gd name="connsiteX23" fmla="*/ 6814 w 10117"/>
                <a:gd name="connsiteY23" fmla="*/ 8689 h 10610"/>
                <a:gd name="connsiteX24" fmla="*/ 6997 w 10117"/>
                <a:gd name="connsiteY24" fmla="*/ 8544 h 10610"/>
                <a:gd name="connsiteX25" fmla="*/ 7173 w 10117"/>
                <a:gd name="connsiteY25" fmla="*/ 8396 h 10610"/>
                <a:gd name="connsiteX26" fmla="*/ 7349 w 10117"/>
                <a:gd name="connsiteY26" fmla="*/ 8248 h 10610"/>
                <a:gd name="connsiteX27" fmla="*/ 7518 w 10117"/>
                <a:gd name="connsiteY27" fmla="*/ 8097 h 10610"/>
                <a:gd name="connsiteX28" fmla="*/ 7686 w 10117"/>
                <a:gd name="connsiteY28" fmla="*/ 7940 h 10610"/>
                <a:gd name="connsiteX29" fmla="*/ 7842 w 10117"/>
                <a:gd name="connsiteY29" fmla="*/ 7782 h 10610"/>
                <a:gd name="connsiteX30" fmla="*/ 7995 w 10117"/>
                <a:gd name="connsiteY30" fmla="*/ 7623 h 10610"/>
                <a:gd name="connsiteX31" fmla="*/ 8150 w 10117"/>
                <a:gd name="connsiteY31" fmla="*/ 7463 h 10610"/>
                <a:gd name="connsiteX32" fmla="*/ 8293 w 10117"/>
                <a:gd name="connsiteY32" fmla="*/ 7296 h 10610"/>
                <a:gd name="connsiteX33" fmla="*/ 8433 w 10117"/>
                <a:gd name="connsiteY33" fmla="*/ 7132 h 10610"/>
                <a:gd name="connsiteX34" fmla="*/ 8569 w 10117"/>
                <a:gd name="connsiteY34" fmla="*/ 6962 h 10610"/>
                <a:gd name="connsiteX35" fmla="*/ 8695 w 10117"/>
                <a:gd name="connsiteY35" fmla="*/ 6788 h 10610"/>
                <a:gd name="connsiteX36" fmla="*/ 8819 w 10117"/>
                <a:gd name="connsiteY36" fmla="*/ 6614 h 10610"/>
                <a:gd name="connsiteX37" fmla="*/ 8945 w 10117"/>
                <a:gd name="connsiteY37" fmla="*/ 6440 h 10610"/>
                <a:gd name="connsiteX38" fmla="*/ 9063 w 10117"/>
                <a:gd name="connsiteY38" fmla="*/ 6262 h 10610"/>
                <a:gd name="connsiteX39" fmla="*/ 9167 w 10117"/>
                <a:gd name="connsiteY39" fmla="*/ 6084 h 10610"/>
                <a:gd name="connsiteX40" fmla="*/ 9274 w 10117"/>
                <a:gd name="connsiteY40" fmla="*/ 5902 h 10610"/>
                <a:gd name="connsiteX41" fmla="*/ 9369 w 10117"/>
                <a:gd name="connsiteY41" fmla="*/ 5716 h 10610"/>
                <a:gd name="connsiteX42" fmla="*/ 9465 w 10117"/>
                <a:gd name="connsiteY42" fmla="*/ 5533 h 10610"/>
                <a:gd name="connsiteX43" fmla="*/ 9549 w 10117"/>
                <a:gd name="connsiteY43" fmla="*/ 5344 h 10610"/>
                <a:gd name="connsiteX44" fmla="*/ 9630 w 10117"/>
                <a:gd name="connsiteY44" fmla="*/ 5153 h 10610"/>
                <a:gd name="connsiteX45" fmla="*/ 9704 w 10117"/>
                <a:gd name="connsiteY45" fmla="*/ 4961 h 10610"/>
                <a:gd name="connsiteX46" fmla="*/ 9777 w 10117"/>
                <a:gd name="connsiteY46" fmla="*/ 4771 h 10610"/>
                <a:gd name="connsiteX47" fmla="*/ 9839 w 10117"/>
                <a:gd name="connsiteY47" fmla="*/ 4578 h 10610"/>
                <a:gd name="connsiteX48" fmla="*/ 9898 w 10117"/>
                <a:gd name="connsiteY48" fmla="*/ 4381 h 10610"/>
                <a:gd name="connsiteX49" fmla="*/ 9635 w 10117"/>
                <a:gd name="connsiteY49" fmla="*/ 0 h 10610"/>
                <a:gd name="connsiteX50" fmla="*/ 6408 w 10117"/>
                <a:gd name="connsiteY50" fmla="*/ 1883 h 10610"/>
                <a:gd name="connsiteX51" fmla="*/ 2450 w 10117"/>
                <a:gd name="connsiteY51" fmla="*/ 1500 h 10610"/>
                <a:gd name="connsiteX0" fmla="*/ 2450 w 10117"/>
                <a:gd name="connsiteY0" fmla="*/ 1500 h 10610"/>
                <a:gd name="connsiteX1" fmla="*/ 297 w 10117"/>
                <a:gd name="connsiteY1" fmla="*/ 5689 h 10610"/>
                <a:gd name="connsiteX2" fmla="*/ 295 w 10117"/>
                <a:gd name="connsiteY2" fmla="*/ 5725 h 10610"/>
                <a:gd name="connsiteX3" fmla="*/ 103 w 10117"/>
                <a:gd name="connsiteY3" fmla="*/ 5816 h 10610"/>
                <a:gd name="connsiteX4" fmla="*/ 0 w 10117"/>
                <a:gd name="connsiteY4" fmla="*/ 5857 h 10610"/>
                <a:gd name="connsiteX5" fmla="*/ 210 w 10117"/>
                <a:gd name="connsiteY5" fmla="*/ 8550 h 10610"/>
                <a:gd name="connsiteX6" fmla="*/ 3301 w 10117"/>
                <a:gd name="connsiteY6" fmla="*/ 10610 h 10610"/>
                <a:gd name="connsiteX7" fmla="*/ 3606 w 10117"/>
                <a:gd name="connsiteY7" fmla="*/ 10485 h 10610"/>
                <a:gd name="connsiteX8" fmla="*/ 3848 w 10117"/>
                <a:gd name="connsiteY8" fmla="*/ 10386 h 10610"/>
                <a:gd name="connsiteX9" fmla="*/ 4084 w 10117"/>
                <a:gd name="connsiteY9" fmla="*/ 10287 h 10610"/>
                <a:gd name="connsiteX10" fmla="*/ 4317 w 10117"/>
                <a:gd name="connsiteY10" fmla="*/ 10183 h 10610"/>
                <a:gd name="connsiteX11" fmla="*/ 4549 w 10117"/>
                <a:gd name="connsiteY11" fmla="*/ 10074 h 10610"/>
                <a:gd name="connsiteX12" fmla="*/ 4767 w 10117"/>
                <a:gd name="connsiteY12" fmla="*/ 9967 h 10610"/>
                <a:gd name="connsiteX13" fmla="*/ 4988 w 10117"/>
                <a:gd name="connsiteY13" fmla="*/ 9849 h 10610"/>
                <a:gd name="connsiteX14" fmla="*/ 5209 w 10117"/>
                <a:gd name="connsiteY14" fmla="*/ 9736 h 10610"/>
                <a:gd name="connsiteX15" fmla="*/ 5419 w 10117"/>
                <a:gd name="connsiteY15" fmla="*/ 9615 h 10610"/>
                <a:gd name="connsiteX16" fmla="*/ 5635 w 10117"/>
                <a:gd name="connsiteY16" fmla="*/ 9491 h 10610"/>
                <a:gd name="connsiteX17" fmla="*/ 5839 w 10117"/>
                <a:gd name="connsiteY17" fmla="*/ 9362 h 10610"/>
                <a:gd name="connsiteX18" fmla="*/ 6043 w 10117"/>
                <a:gd name="connsiteY18" fmla="*/ 9235 h 10610"/>
                <a:gd name="connsiteX19" fmla="*/ 6239 w 10117"/>
                <a:gd name="connsiteY19" fmla="*/ 9105 h 10610"/>
                <a:gd name="connsiteX20" fmla="*/ 6438 w 10117"/>
                <a:gd name="connsiteY20" fmla="*/ 8967 h 10610"/>
                <a:gd name="connsiteX21" fmla="*/ 6629 w 10117"/>
                <a:gd name="connsiteY21" fmla="*/ 8825 h 10610"/>
                <a:gd name="connsiteX22" fmla="*/ 6814 w 10117"/>
                <a:gd name="connsiteY22" fmla="*/ 8689 h 10610"/>
                <a:gd name="connsiteX23" fmla="*/ 6997 w 10117"/>
                <a:gd name="connsiteY23" fmla="*/ 8544 h 10610"/>
                <a:gd name="connsiteX24" fmla="*/ 7173 w 10117"/>
                <a:gd name="connsiteY24" fmla="*/ 8396 h 10610"/>
                <a:gd name="connsiteX25" fmla="*/ 7349 w 10117"/>
                <a:gd name="connsiteY25" fmla="*/ 8248 h 10610"/>
                <a:gd name="connsiteX26" fmla="*/ 7518 w 10117"/>
                <a:gd name="connsiteY26" fmla="*/ 8097 h 10610"/>
                <a:gd name="connsiteX27" fmla="*/ 7686 w 10117"/>
                <a:gd name="connsiteY27" fmla="*/ 7940 h 10610"/>
                <a:gd name="connsiteX28" fmla="*/ 7842 w 10117"/>
                <a:gd name="connsiteY28" fmla="*/ 7782 h 10610"/>
                <a:gd name="connsiteX29" fmla="*/ 7995 w 10117"/>
                <a:gd name="connsiteY29" fmla="*/ 7623 h 10610"/>
                <a:gd name="connsiteX30" fmla="*/ 8150 w 10117"/>
                <a:gd name="connsiteY30" fmla="*/ 7463 h 10610"/>
                <a:gd name="connsiteX31" fmla="*/ 8293 w 10117"/>
                <a:gd name="connsiteY31" fmla="*/ 7296 h 10610"/>
                <a:gd name="connsiteX32" fmla="*/ 8433 w 10117"/>
                <a:gd name="connsiteY32" fmla="*/ 7132 h 10610"/>
                <a:gd name="connsiteX33" fmla="*/ 8569 w 10117"/>
                <a:gd name="connsiteY33" fmla="*/ 6962 h 10610"/>
                <a:gd name="connsiteX34" fmla="*/ 8695 w 10117"/>
                <a:gd name="connsiteY34" fmla="*/ 6788 h 10610"/>
                <a:gd name="connsiteX35" fmla="*/ 8819 w 10117"/>
                <a:gd name="connsiteY35" fmla="*/ 6614 h 10610"/>
                <a:gd name="connsiteX36" fmla="*/ 8945 w 10117"/>
                <a:gd name="connsiteY36" fmla="*/ 6440 h 10610"/>
                <a:gd name="connsiteX37" fmla="*/ 9063 w 10117"/>
                <a:gd name="connsiteY37" fmla="*/ 6262 h 10610"/>
                <a:gd name="connsiteX38" fmla="*/ 9167 w 10117"/>
                <a:gd name="connsiteY38" fmla="*/ 6084 h 10610"/>
                <a:gd name="connsiteX39" fmla="*/ 9274 w 10117"/>
                <a:gd name="connsiteY39" fmla="*/ 5902 h 10610"/>
                <a:gd name="connsiteX40" fmla="*/ 9369 w 10117"/>
                <a:gd name="connsiteY40" fmla="*/ 5716 h 10610"/>
                <a:gd name="connsiteX41" fmla="*/ 9465 w 10117"/>
                <a:gd name="connsiteY41" fmla="*/ 5533 h 10610"/>
                <a:gd name="connsiteX42" fmla="*/ 9549 w 10117"/>
                <a:gd name="connsiteY42" fmla="*/ 5344 h 10610"/>
                <a:gd name="connsiteX43" fmla="*/ 9630 w 10117"/>
                <a:gd name="connsiteY43" fmla="*/ 5153 h 10610"/>
                <a:gd name="connsiteX44" fmla="*/ 9704 w 10117"/>
                <a:gd name="connsiteY44" fmla="*/ 4961 h 10610"/>
                <a:gd name="connsiteX45" fmla="*/ 9777 w 10117"/>
                <a:gd name="connsiteY45" fmla="*/ 4771 h 10610"/>
                <a:gd name="connsiteX46" fmla="*/ 9839 w 10117"/>
                <a:gd name="connsiteY46" fmla="*/ 4578 h 10610"/>
                <a:gd name="connsiteX47" fmla="*/ 9898 w 10117"/>
                <a:gd name="connsiteY47" fmla="*/ 4381 h 10610"/>
                <a:gd name="connsiteX48" fmla="*/ 9635 w 10117"/>
                <a:gd name="connsiteY48" fmla="*/ 0 h 10610"/>
                <a:gd name="connsiteX49" fmla="*/ 6408 w 10117"/>
                <a:gd name="connsiteY49" fmla="*/ 1883 h 10610"/>
                <a:gd name="connsiteX50" fmla="*/ 2450 w 10117"/>
                <a:gd name="connsiteY50" fmla="*/ 1500 h 10610"/>
                <a:gd name="connsiteX0" fmla="*/ 2450 w 10117"/>
                <a:gd name="connsiteY0" fmla="*/ 1500 h 10610"/>
                <a:gd name="connsiteX1" fmla="*/ 297 w 10117"/>
                <a:gd name="connsiteY1" fmla="*/ 5689 h 10610"/>
                <a:gd name="connsiteX2" fmla="*/ 103 w 10117"/>
                <a:gd name="connsiteY2" fmla="*/ 5816 h 10610"/>
                <a:gd name="connsiteX3" fmla="*/ 0 w 10117"/>
                <a:gd name="connsiteY3" fmla="*/ 5857 h 10610"/>
                <a:gd name="connsiteX4" fmla="*/ 210 w 10117"/>
                <a:gd name="connsiteY4" fmla="*/ 8550 h 10610"/>
                <a:gd name="connsiteX5" fmla="*/ 3301 w 10117"/>
                <a:gd name="connsiteY5" fmla="*/ 10610 h 10610"/>
                <a:gd name="connsiteX6" fmla="*/ 3606 w 10117"/>
                <a:gd name="connsiteY6" fmla="*/ 10485 h 10610"/>
                <a:gd name="connsiteX7" fmla="*/ 3848 w 10117"/>
                <a:gd name="connsiteY7" fmla="*/ 10386 h 10610"/>
                <a:gd name="connsiteX8" fmla="*/ 4084 w 10117"/>
                <a:gd name="connsiteY8" fmla="*/ 10287 h 10610"/>
                <a:gd name="connsiteX9" fmla="*/ 4317 w 10117"/>
                <a:gd name="connsiteY9" fmla="*/ 10183 h 10610"/>
                <a:gd name="connsiteX10" fmla="*/ 4549 w 10117"/>
                <a:gd name="connsiteY10" fmla="*/ 10074 h 10610"/>
                <a:gd name="connsiteX11" fmla="*/ 4767 w 10117"/>
                <a:gd name="connsiteY11" fmla="*/ 9967 h 10610"/>
                <a:gd name="connsiteX12" fmla="*/ 4988 w 10117"/>
                <a:gd name="connsiteY12" fmla="*/ 9849 h 10610"/>
                <a:gd name="connsiteX13" fmla="*/ 5209 w 10117"/>
                <a:gd name="connsiteY13" fmla="*/ 9736 h 10610"/>
                <a:gd name="connsiteX14" fmla="*/ 5419 w 10117"/>
                <a:gd name="connsiteY14" fmla="*/ 9615 h 10610"/>
                <a:gd name="connsiteX15" fmla="*/ 5635 w 10117"/>
                <a:gd name="connsiteY15" fmla="*/ 9491 h 10610"/>
                <a:gd name="connsiteX16" fmla="*/ 5839 w 10117"/>
                <a:gd name="connsiteY16" fmla="*/ 9362 h 10610"/>
                <a:gd name="connsiteX17" fmla="*/ 6043 w 10117"/>
                <a:gd name="connsiteY17" fmla="*/ 9235 h 10610"/>
                <a:gd name="connsiteX18" fmla="*/ 6239 w 10117"/>
                <a:gd name="connsiteY18" fmla="*/ 9105 h 10610"/>
                <a:gd name="connsiteX19" fmla="*/ 6438 w 10117"/>
                <a:gd name="connsiteY19" fmla="*/ 8967 h 10610"/>
                <a:gd name="connsiteX20" fmla="*/ 6629 w 10117"/>
                <a:gd name="connsiteY20" fmla="*/ 8825 h 10610"/>
                <a:gd name="connsiteX21" fmla="*/ 6814 w 10117"/>
                <a:gd name="connsiteY21" fmla="*/ 8689 h 10610"/>
                <a:gd name="connsiteX22" fmla="*/ 6997 w 10117"/>
                <a:gd name="connsiteY22" fmla="*/ 8544 h 10610"/>
                <a:gd name="connsiteX23" fmla="*/ 7173 w 10117"/>
                <a:gd name="connsiteY23" fmla="*/ 8396 h 10610"/>
                <a:gd name="connsiteX24" fmla="*/ 7349 w 10117"/>
                <a:gd name="connsiteY24" fmla="*/ 8248 h 10610"/>
                <a:gd name="connsiteX25" fmla="*/ 7518 w 10117"/>
                <a:gd name="connsiteY25" fmla="*/ 8097 h 10610"/>
                <a:gd name="connsiteX26" fmla="*/ 7686 w 10117"/>
                <a:gd name="connsiteY26" fmla="*/ 7940 h 10610"/>
                <a:gd name="connsiteX27" fmla="*/ 7842 w 10117"/>
                <a:gd name="connsiteY27" fmla="*/ 7782 h 10610"/>
                <a:gd name="connsiteX28" fmla="*/ 7995 w 10117"/>
                <a:gd name="connsiteY28" fmla="*/ 7623 h 10610"/>
                <a:gd name="connsiteX29" fmla="*/ 8150 w 10117"/>
                <a:gd name="connsiteY29" fmla="*/ 7463 h 10610"/>
                <a:gd name="connsiteX30" fmla="*/ 8293 w 10117"/>
                <a:gd name="connsiteY30" fmla="*/ 7296 h 10610"/>
                <a:gd name="connsiteX31" fmla="*/ 8433 w 10117"/>
                <a:gd name="connsiteY31" fmla="*/ 7132 h 10610"/>
                <a:gd name="connsiteX32" fmla="*/ 8569 w 10117"/>
                <a:gd name="connsiteY32" fmla="*/ 6962 h 10610"/>
                <a:gd name="connsiteX33" fmla="*/ 8695 w 10117"/>
                <a:gd name="connsiteY33" fmla="*/ 6788 h 10610"/>
                <a:gd name="connsiteX34" fmla="*/ 8819 w 10117"/>
                <a:gd name="connsiteY34" fmla="*/ 6614 h 10610"/>
                <a:gd name="connsiteX35" fmla="*/ 8945 w 10117"/>
                <a:gd name="connsiteY35" fmla="*/ 6440 h 10610"/>
                <a:gd name="connsiteX36" fmla="*/ 9063 w 10117"/>
                <a:gd name="connsiteY36" fmla="*/ 6262 h 10610"/>
                <a:gd name="connsiteX37" fmla="*/ 9167 w 10117"/>
                <a:gd name="connsiteY37" fmla="*/ 6084 h 10610"/>
                <a:gd name="connsiteX38" fmla="*/ 9274 w 10117"/>
                <a:gd name="connsiteY38" fmla="*/ 5902 h 10610"/>
                <a:gd name="connsiteX39" fmla="*/ 9369 w 10117"/>
                <a:gd name="connsiteY39" fmla="*/ 5716 h 10610"/>
                <a:gd name="connsiteX40" fmla="*/ 9465 w 10117"/>
                <a:gd name="connsiteY40" fmla="*/ 5533 h 10610"/>
                <a:gd name="connsiteX41" fmla="*/ 9549 w 10117"/>
                <a:gd name="connsiteY41" fmla="*/ 5344 h 10610"/>
                <a:gd name="connsiteX42" fmla="*/ 9630 w 10117"/>
                <a:gd name="connsiteY42" fmla="*/ 5153 h 10610"/>
                <a:gd name="connsiteX43" fmla="*/ 9704 w 10117"/>
                <a:gd name="connsiteY43" fmla="*/ 4961 h 10610"/>
                <a:gd name="connsiteX44" fmla="*/ 9777 w 10117"/>
                <a:gd name="connsiteY44" fmla="*/ 4771 h 10610"/>
                <a:gd name="connsiteX45" fmla="*/ 9839 w 10117"/>
                <a:gd name="connsiteY45" fmla="*/ 4578 h 10610"/>
                <a:gd name="connsiteX46" fmla="*/ 9898 w 10117"/>
                <a:gd name="connsiteY46" fmla="*/ 4381 h 10610"/>
                <a:gd name="connsiteX47" fmla="*/ 9635 w 10117"/>
                <a:gd name="connsiteY47" fmla="*/ 0 h 10610"/>
                <a:gd name="connsiteX48" fmla="*/ 6408 w 10117"/>
                <a:gd name="connsiteY48" fmla="*/ 1883 h 10610"/>
                <a:gd name="connsiteX49" fmla="*/ 2450 w 10117"/>
                <a:gd name="connsiteY49"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87"/>
                <a:gd name="connsiteY0" fmla="*/ 1500 h 10610"/>
                <a:gd name="connsiteX1" fmla="*/ 103 w 10187"/>
                <a:gd name="connsiteY1" fmla="*/ 5816 h 10610"/>
                <a:gd name="connsiteX2" fmla="*/ 0 w 10187"/>
                <a:gd name="connsiteY2" fmla="*/ 5857 h 10610"/>
                <a:gd name="connsiteX3" fmla="*/ 210 w 10187"/>
                <a:gd name="connsiteY3" fmla="*/ 8550 h 10610"/>
                <a:gd name="connsiteX4" fmla="*/ 3301 w 10187"/>
                <a:gd name="connsiteY4" fmla="*/ 10610 h 10610"/>
                <a:gd name="connsiteX5" fmla="*/ 3606 w 10187"/>
                <a:gd name="connsiteY5" fmla="*/ 10485 h 10610"/>
                <a:gd name="connsiteX6" fmla="*/ 3848 w 10187"/>
                <a:gd name="connsiteY6" fmla="*/ 10386 h 10610"/>
                <a:gd name="connsiteX7" fmla="*/ 4084 w 10187"/>
                <a:gd name="connsiteY7" fmla="*/ 10287 h 10610"/>
                <a:gd name="connsiteX8" fmla="*/ 4317 w 10187"/>
                <a:gd name="connsiteY8" fmla="*/ 10183 h 10610"/>
                <a:gd name="connsiteX9" fmla="*/ 4549 w 10187"/>
                <a:gd name="connsiteY9" fmla="*/ 10074 h 10610"/>
                <a:gd name="connsiteX10" fmla="*/ 4767 w 10187"/>
                <a:gd name="connsiteY10" fmla="*/ 9967 h 10610"/>
                <a:gd name="connsiteX11" fmla="*/ 4988 w 10187"/>
                <a:gd name="connsiteY11" fmla="*/ 9849 h 10610"/>
                <a:gd name="connsiteX12" fmla="*/ 5209 w 10187"/>
                <a:gd name="connsiteY12" fmla="*/ 9736 h 10610"/>
                <a:gd name="connsiteX13" fmla="*/ 5419 w 10187"/>
                <a:gd name="connsiteY13" fmla="*/ 9615 h 10610"/>
                <a:gd name="connsiteX14" fmla="*/ 5635 w 10187"/>
                <a:gd name="connsiteY14" fmla="*/ 9491 h 10610"/>
                <a:gd name="connsiteX15" fmla="*/ 5839 w 10187"/>
                <a:gd name="connsiteY15" fmla="*/ 9362 h 10610"/>
                <a:gd name="connsiteX16" fmla="*/ 6043 w 10187"/>
                <a:gd name="connsiteY16" fmla="*/ 9235 h 10610"/>
                <a:gd name="connsiteX17" fmla="*/ 6239 w 10187"/>
                <a:gd name="connsiteY17" fmla="*/ 9105 h 10610"/>
                <a:gd name="connsiteX18" fmla="*/ 6438 w 10187"/>
                <a:gd name="connsiteY18" fmla="*/ 8967 h 10610"/>
                <a:gd name="connsiteX19" fmla="*/ 6629 w 10187"/>
                <a:gd name="connsiteY19" fmla="*/ 8825 h 10610"/>
                <a:gd name="connsiteX20" fmla="*/ 6814 w 10187"/>
                <a:gd name="connsiteY20" fmla="*/ 8689 h 10610"/>
                <a:gd name="connsiteX21" fmla="*/ 6997 w 10187"/>
                <a:gd name="connsiteY21" fmla="*/ 8544 h 10610"/>
                <a:gd name="connsiteX22" fmla="*/ 7173 w 10187"/>
                <a:gd name="connsiteY22" fmla="*/ 8396 h 10610"/>
                <a:gd name="connsiteX23" fmla="*/ 7349 w 10187"/>
                <a:gd name="connsiteY23" fmla="*/ 8248 h 10610"/>
                <a:gd name="connsiteX24" fmla="*/ 7518 w 10187"/>
                <a:gd name="connsiteY24" fmla="*/ 8097 h 10610"/>
                <a:gd name="connsiteX25" fmla="*/ 7686 w 10187"/>
                <a:gd name="connsiteY25" fmla="*/ 7940 h 10610"/>
                <a:gd name="connsiteX26" fmla="*/ 7842 w 10187"/>
                <a:gd name="connsiteY26" fmla="*/ 7782 h 10610"/>
                <a:gd name="connsiteX27" fmla="*/ 7995 w 10187"/>
                <a:gd name="connsiteY27" fmla="*/ 7623 h 10610"/>
                <a:gd name="connsiteX28" fmla="*/ 8150 w 10187"/>
                <a:gd name="connsiteY28" fmla="*/ 7463 h 10610"/>
                <a:gd name="connsiteX29" fmla="*/ 8293 w 10187"/>
                <a:gd name="connsiteY29" fmla="*/ 7296 h 10610"/>
                <a:gd name="connsiteX30" fmla="*/ 8433 w 10187"/>
                <a:gd name="connsiteY30" fmla="*/ 7132 h 10610"/>
                <a:gd name="connsiteX31" fmla="*/ 8569 w 10187"/>
                <a:gd name="connsiteY31" fmla="*/ 6962 h 10610"/>
                <a:gd name="connsiteX32" fmla="*/ 8695 w 10187"/>
                <a:gd name="connsiteY32" fmla="*/ 6788 h 10610"/>
                <a:gd name="connsiteX33" fmla="*/ 8819 w 10187"/>
                <a:gd name="connsiteY33" fmla="*/ 6614 h 10610"/>
                <a:gd name="connsiteX34" fmla="*/ 8945 w 10187"/>
                <a:gd name="connsiteY34" fmla="*/ 6440 h 10610"/>
                <a:gd name="connsiteX35" fmla="*/ 9063 w 10187"/>
                <a:gd name="connsiteY35" fmla="*/ 6262 h 10610"/>
                <a:gd name="connsiteX36" fmla="*/ 9167 w 10187"/>
                <a:gd name="connsiteY36" fmla="*/ 6084 h 10610"/>
                <a:gd name="connsiteX37" fmla="*/ 9274 w 10187"/>
                <a:gd name="connsiteY37" fmla="*/ 5902 h 10610"/>
                <a:gd name="connsiteX38" fmla="*/ 9369 w 10187"/>
                <a:gd name="connsiteY38" fmla="*/ 5716 h 10610"/>
                <a:gd name="connsiteX39" fmla="*/ 9465 w 10187"/>
                <a:gd name="connsiteY39" fmla="*/ 5533 h 10610"/>
                <a:gd name="connsiteX40" fmla="*/ 9549 w 10187"/>
                <a:gd name="connsiteY40" fmla="*/ 5344 h 10610"/>
                <a:gd name="connsiteX41" fmla="*/ 9630 w 10187"/>
                <a:gd name="connsiteY41" fmla="*/ 5153 h 10610"/>
                <a:gd name="connsiteX42" fmla="*/ 9704 w 10187"/>
                <a:gd name="connsiteY42" fmla="*/ 4961 h 10610"/>
                <a:gd name="connsiteX43" fmla="*/ 9777 w 10187"/>
                <a:gd name="connsiteY43" fmla="*/ 4771 h 10610"/>
                <a:gd name="connsiteX44" fmla="*/ 9839 w 10187"/>
                <a:gd name="connsiteY44" fmla="*/ 4578 h 10610"/>
                <a:gd name="connsiteX45" fmla="*/ 9898 w 10187"/>
                <a:gd name="connsiteY45" fmla="*/ 4381 h 10610"/>
                <a:gd name="connsiteX46" fmla="*/ 9635 w 10187"/>
                <a:gd name="connsiteY46" fmla="*/ 0 h 10610"/>
                <a:gd name="connsiteX47" fmla="*/ 6408 w 10187"/>
                <a:gd name="connsiteY47" fmla="*/ 1883 h 10610"/>
                <a:gd name="connsiteX48" fmla="*/ 2450 w 10187"/>
                <a:gd name="connsiteY48" fmla="*/ 1500 h 10610"/>
                <a:gd name="connsiteX0" fmla="*/ 2450 w 10167"/>
                <a:gd name="connsiteY0" fmla="*/ 1500 h 10610"/>
                <a:gd name="connsiteX1" fmla="*/ 103 w 10167"/>
                <a:gd name="connsiteY1" fmla="*/ 5816 h 10610"/>
                <a:gd name="connsiteX2" fmla="*/ 0 w 10167"/>
                <a:gd name="connsiteY2" fmla="*/ 5857 h 10610"/>
                <a:gd name="connsiteX3" fmla="*/ 210 w 10167"/>
                <a:gd name="connsiteY3" fmla="*/ 8550 h 10610"/>
                <a:gd name="connsiteX4" fmla="*/ 3301 w 10167"/>
                <a:gd name="connsiteY4" fmla="*/ 10610 h 10610"/>
                <a:gd name="connsiteX5" fmla="*/ 3606 w 10167"/>
                <a:gd name="connsiteY5" fmla="*/ 10485 h 10610"/>
                <a:gd name="connsiteX6" fmla="*/ 3848 w 10167"/>
                <a:gd name="connsiteY6" fmla="*/ 10386 h 10610"/>
                <a:gd name="connsiteX7" fmla="*/ 4084 w 10167"/>
                <a:gd name="connsiteY7" fmla="*/ 10287 h 10610"/>
                <a:gd name="connsiteX8" fmla="*/ 4317 w 10167"/>
                <a:gd name="connsiteY8" fmla="*/ 10183 h 10610"/>
                <a:gd name="connsiteX9" fmla="*/ 4549 w 10167"/>
                <a:gd name="connsiteY9" fmla="*/ 10074 h 10610"/>
                <a:gd name="connsiteX10" fmla="*/ 4767 w 10167"/>
                <a:gd name="connsiteY10" fmla="*/ 9967 h 10610"/>
                <a:gd name="connsiteX11" fmla="*/ 4988 w 10167"/>
                <a:gd name="connsiteY11" fmla="*/ 9849 h 10610"/>
                <a:gd name="connsiteX12" fmla="*/ 5209 w 10167"/>
                <a:gd name="connsiteY12" fmla="*/ 9736 h 10610"/>
                <a:gd name="connsiteX13" fmla="*/ 5419 w 10167"/>
                <a:gd name="connsiteY13" fmla="*/ 9615 h 10610"/>
                <a:gd name="connsiteX14" fmla="*/ 5635 w 10167"/>
                <a:gd name="connsiteY14" fmla="*/ 9491 h 10610"/>
                <a:gd name="connsiteX15" fmla="*/ 5839 w 10167"/>
                <a:gd name="connsiteY15" fmla="*/ 9362 h 10610"/>
                <a:gd name="connsiteX16" fmla="*/ 6043 w 10167"/>
                <a:gd name="connsiteY16" fmla="*/ 9235 h 10610"/>
                <a:gd name="connsiteX17" fmla="*/ 6239 w 10167"/>
                <a:gd name="connsiteY17" fmla="*/ 9105 h 10610"/>
                <a:gd name="connsiteX18" fmla="*/ 6438 w 10167"/>
                <a:gd name="connsiteY18" fmla="*/ 8967 h 10610"/>
                <a:gd name="connsiteX19" fmla="*/ 6629 w 10167"/>
                <a:gd name="connsiteY19" fmla="*/ 8825 h 10610"/>
                <a:gd name="connsiteX20" fmla="*/ 6814 w 10167"/>
                <a:gd name="connsiteY20" fmla="*/ 8689 h 10610"/>
                <a:gd name="connsiteX21" fmla="*/ 6997 w 10167"/>
                <a:gd name="connsiteY21" fmla="*/ 8544 h 10610"/>
                <a:gd name="connsiteX22" fmla="*/ 7173 w 10167"/>
                <a:gd name="connsiteY22" fmla="*/ 8396 h 10610"/>
                <a:gd name="connsiteX23" fmla="*/ 7349 w 10167"/>
                <a:gd name="connsiteY23" fmla="*/ 8248 h 10610"/>
                <a:gd name="connsiteX24" fmla="*/ 7518 w 10167"/>
                <a:gd name="connsiteY24" fmla="*/ 8097 h 10610"/>
                <a:gd name="connsiteX25" fmla="*/ 7686 w 10167"/>
                <a:gd name="connsiteY25" fmla="*/ 7940 h 10610"/>
                <a:gd name="connsiteX26" fmla="*/ 7842 w 10167"/>
                <a:gd name="connsiteY26" fmla="*/ 7782 h 10610"/>
                <a:gd name="connsiteX27" fmla="*/ 7995 w 10167"/>
                <a:gd name="connsiteY27" fmla="*/ 7623 h 10610"/>
                <a:gd name="connsiteX28" fmla="*/ 8150 w 10167"/>
                <a:gd name="connsiteY28" fmla="*/ 7463 h 10610"/>
                <a:gd name="connsiteX29" fmla="*/ 8293 w 10167"/>
                <a:gd name="connsiteY29" fmla="*/ 7296 h 10610"/>
                <a:gd name="connsiteX30" fmla="*/ 8433 w 10167"/>
                <a:gd name="connsiteY30" fmla="*/ 7132 h 10610"/>
                <a:gd name="connsiteX31" fmla="*/ 8569 w 10167"/>
                <a:gd name="connsiteY31" fmla="*/ 6962 h 10610"/>
                <a:gd name="connsiteX32" fmla="*/ 8695 w 10167"/>
                <a:gd name="connsiteY32" fmla="*/ 6788 h 10610"/>
                <a:gd name="connsiteX33" fmla="*/ 8819 w 10167"/>
                <a:gd name="connsiteY33" fmla="*/ 6614 h 10610"/>
                <a:gd name="connsiteX34" fmla="*/ 8945 w 10167"/>
                <a:gd name="connsiteY34" fmla="*/ 6440 h 10610"/>
                <a:gd name="connsiteX35" fmla="*/ 9063 w 10167"/>
                <a:gd name="connsiteY35" fmla="*/ 6262 h 10610"/>
                <a:gd name="connsiteX36" fmla="*/ 9167 w 10167"/>
                <a:gd name="connsiteY36" fmla="*/ 6084 h 10610"/>
                <a:gd name="connsiteX37" fmla="*/ 9274 w 10167"/>
                <a:gd name="connsiteY37" fmla="*/ 5902 h 10610"/>
                <a:gd name="connsiteX38" fmla="*/ 9369 w 10167"/>
                <a:gd name="connsiteY38" fmla="*/ 5716 h 10610"/>
                <a:gd name="connsiteX39" fmla="*/ 9465 w 10167"/>
                <a:gd name="connsiteY39" fmla="*/ 5533 h 10610"/>
                <a:gd name="connsiteX40" fmla="*/ 9549 w 10167"/>
                <a:gd name="connsiteY40" fmla="*/ 5344 h 10610"/>
                <a:gd name="connsiteX41" fmla="*/ 9630 w 10167"/>
                <a:gd name="connsiteY41" fmla="*/ 5153 h 10610"/>
                <a:gd name="connsiteX42" fmla="*/ 9704 w 10167"/>
                <a:gd name="connsiteY42" fmla="*/ 4961 h 10610"/>
                <a:gd name="connsiteX43" fmla="*/ 9777 w 10167"/>
                <a:gd name="connsiteY43" fmla="*/ 4771 h 10610"/>
                <a:gd name="connsiteX44" fmla="*/ 9839 w 10167"/>
                <a:gd name="connsiteY44" fmla="*/ 4578 h 10610"/>
                <a:gd name="connsiteX45" fmla="*/ 9898 w 10167"/>
                <a:gd name="connsiteY45" fmla="*/ 4381 h 10610"/>
                <a:gd name="connsiteX46" fmla="*/ 9635 w 10167"/>
                <a:gd name="connsiteY46" fmla="*/ 0 h 10610"/>
                <a:gd name="connsiteX47" fmla="*/ 6408 w 10167"/>
                <a:gd name="connsiteY47" fmla="*/ 1883 h 10610"/>
                <a:gd name="connsiteX48" fmla="*/ 2450 w 10167"/>
                <a:gd name="connsiteY48" fmla="*/ 1500 h 10610"/>
                <a:gd name="connsiteX0" fmla="*/ 2450 w 10149"/>
                <a:gd name="connsiteY0" fmla="*/ 1500 h 10610"/>
                <a:gd name="connsiteX1" fmla="*/ 103 w 10149"/>
                <a:gd name="connsiteY1" fmla="*/ 5816 h 10610"/>
                <a:gd name="connsiteX2" fmla="*/ 0 w 10149"/>
                <a:gd name="connsiteY2" fmla="*/ 5857 h 10610"/>
                <a:gd name="connsiteX3" fmla="*/ 210 w 10149"/>
                <a:gd name="connsiteY3" fmla="*/ 8550 h 10610"/>
                <a:gd name="connsiteX4" fmla="*/ 3301 w 10149"/>
                <a:gd name="connsiteY4" fmla="*/ 10610 h 10610"/>
                <a:gd name="connsiteX5" fmla="*/ 3606 w 10149"/>
                <a:gd name="connsiteY5" fmla="*/ 10485 h 10610"/>
                <a:gd name="connsiteX6" fmla="*/ 3848 w 10149"/>
                <a:gd name="connsiteY6" fmla="*/ 10386 h 10610"/>
                <a:gd name="connsiteX7" fmla="*/ 4084 w 10149"/>
                <a:gd name="connsiteY7" fmla="*/ 10287 h 10610"/>
                <a:gd name="connsiteX8" fmla="*/ 4317 w 10149"/>
                <a:gd name="connsiteY8" fmla="*/ 10183 h 10610"/>
                <a:gd name="connsiteX9" fmla="*/ 4549 w 10149"/>
                <a:gd name="connsiteY9" fmla="*/ 10074 h 10610"/>
                <a:gd name="connsiteX10" fmla="*/ 4767 w 10149"/>
                <a:gd name="connsiteY10" fmla="*/ 9967 h 10610"/>
                <a:gd name="connsiteX11" fmla="*/ 4988 w 10149"/>
                <a:gd name="connsiteY11" fmla="*/ 9849 h 10610"/>
                <a:gd name="connsiteX12" fmla="*/ 5209 w 10149"/>
                <a:gd name="connsiteY12" fmla="*/ 9736 h 10610"/>
                <a:gd name="connsiteX13" fmla="*/ 5419 w 10149"/>
                <a:gd name="connsiteY13" fmla="*/ 9615 h 10610"/>
                <a:gd name="connsiteX14" fmla="*/ 5635 w 10149"/>
                <a:gd name="connsiteY14" fmla="*/ 9491 h 10610"/>
                <a:gd name="connsiteX15" fmla="*/ 5839 w 10149"/>
                <a:gd name="connsiteY15" fmla="*/ 9362 h 10610"/>
                <a:gd name="connsiteX16" fmla="*/ 6043 w 10149"/>
                <a:gd name="connsiteY16" fmla="*/ 9235 h 10610"/>
                <a:gd name="connsiteX17" fmla="*/ 6239 w 10149"/>
                <a:gd name="connsiteY17" fmla="*/ 9105 h 10610"/>
                <a:gd name="connsiteX18" fmla="*/ 6438 w 10149"/>
                <a:gd name="connsiteY18" fmla="*/ 8967 h 10610"/>
                <a:gd name="connsiteX19" fmla="*/ 6629 w 10149"/>
                <a:gd name="connsiteY19" fmla="*/ 8825 h 10610"/>
                <a:gd name="connsiteX20" fmla="*/ 6814 w 10149"/>
                <a:gd name="connsiteY20" fmla="*/ 8689 h 10610"/>
                <a:gd name="connsiteX21" fmla="*/ 6997 w 10149"/>
                <a:gd name="connsiteY21" fmla="*/ 8544 h 10610"/>
                <a:gd name="connsiteX22" fmla="*/ 7173 w 10149"/>
                <a:gd name="connsiteY22" fmla="*/ 8396 h 10610"/>
                <a:gd name="connsiteX23" fmla="*/ 7349 w 10149"/>
                <a:gd name="connsiteY23" fmla="*/ 8248 h 10610"/>
                <a:gd name="connsiteX24" fmla="*/ 7518 w 10149"/>
                <a:gd name="connsiteY24" fmla="*/ 8097 h 10610"/>
                <a:gd name="connsiteX25" fmla="*/ 7686 w 10149"/>
                <a:gd name="connsiteY25" fmla="*/ 7940 h 10610"/>
                <a:gd name="connsiteX26" fmla="*/ 7842 w 10149"/>
                <a:gd name="connsiteY26" fmla="*/ 7782 h 10610"/>
                <a:gd name="connsiteX27" fmla="*/ 7995 w 10149"/>
                <a:gd name="connsiteY27" fmla="*/ 7623 h 10610"/>
                <a:gd name="connsiteX28" fmla="*/ 8150 w 10149"/>
                <a:gd name="connsiteY28" fmla="*/ 7463 h 10610"/>
                <a:gd name="connsiteX29" fmla="*/ 8293 w 10149"/>
                <a:gd name="connsiteY29" fmla="*/ 7296 h 10610"/>
                <a:gd name="connsiteX30" fmla="*/ 8433 w 10149"/>
                <a:gd name="connsiteY30" fmla="*/ 7132 h 10610"/>
                <a:gd name="connsiteX31" fmla="*/ 8569 w 10149"/>
                <a:gd name="connsiteY31" fmla="*/ 6962 h 10610"/>
                <a:gd name="connsiteX32" fmla="*/ 8695 w 10149"/>
                <a:gd name="connsiteY32" fmla="*/ 6788 h 10610"/>
                <a:gd name="connsiteX33" fmla="*/ 8819 w 10149"/>
                <a:gd name="connsiteY33" fmla="*/ 6614 h 10610"/>
                <a:gd name="connsiteX34" fmla="*/ 8945 w 10149"/>
                <a:gd name="connsiteY34" fmla="*/ 6440 h 10610"/>
                <a:gd name="connsiteX35" fmla="*/ 9063 w 10149"/>
                <a:gd name="connsiteY35" fmla="*/ 6262 h 10610"/>
                <a:gd name="connsiteX36" fmla="*/ 9167 w 10149"/>
                <a:gd name="connsiteY36" fmla="*/ 6084 h 10610"/>
                <a:gd name="connsiteX37" fmla="*/ 9274 w 10149"/>
                <a:gd name="connsiteY37" fmla="*/ 5902 h 10610"/>
                <a:gd name="connsiteX38" fmla="*/ 9369 w 10149"/>
                <a:gd name="connsiteY38" fmla="*/ 5716 h 10610"/>
                <a:gd name="connsiteX39" fmla="*/ 9465 w 10149"/>
                <a:gd name="connsiteY39" fmla="*/ 5533 h 10610"/>
                <a:gd name="connsiteX40" fmla="*/ 9549 w 10149"/>
                <a:gd name="connsiteY40" fmla="*/ 5344 h 10610"/>
                <a:gd name="connsiteX41" fmla="*/ 9630 w 10149"/>
                <a:gd name="connsiteY41" fmla="*/ 5153 h 10610"/>
                <a:gd name="connsiteX42" fmla="*/ 9704 w 10149"/>
                <a:gd name="connsiteY42" fmla="*/ 4961 h 10610"/>
                <a:gd name="connsiteX43" fmla="*/ 9777 w 10149"/>
                <a:gd name="connsiteY43" fmla="*/ 4771 h 10610"/>
                <a:gd name="connsiteX44" fmla="*/ 9839 w 10149"/>
                <a:gd name="connsiteY44" fmla="*/ 4578 h 10610"/>
                <a:gd name="connsiteX45" fmla="*/ 9898 w 10149"/>
                <a:gd name="connsiteY45" fmla="*/ 4381 h 10610"/>
                <a:gd name="connsiteX46" fmla="*/ 9635 w 10149"/>
                <a:gd name="connsiteY46" fmla="*/ 0 h 10610"/>
                <a:gd name="connsiteX47" fmla="*/ 6408 w 10149"/>
                <a:gd name="connsiteY47" fmla="*/ 1883 h 10610"/>
                <a:gd name="connsiteX48" fmla="*/ 2450 w 10149"/>
                <a:gd name="connsiteY48" fmla="*/ 1500 h 10610"/>
                <a:gd name="connsiteX0" fmla="*/ 2450 w 10171"/>
                <a:gd name="connsiteY0" fmla="*/ 1500 h 10610"/>
                <a:gd name="connsiteX1" fmla="*/ 103 w 10171"/>
                <a:gd name="connsiteY1" fmla="*/ 5816 h 10610"/>
                <a:gd name="connsiteX2" fmla="*/ 0 w 10171"/>
                <a:gd name="connsiteY2" fmla="*/ 5857 h 10610"/>
                <a:gd name="connsiteX3" fmla="*/ 210 w 10171"/>
                <a:gd name="connsiteY3" fmla="*/ 8550 h 10610"/>
                <a:gd name="connsiteX4" fmla="*/ 3301 w 10171"/>
                <a:gd name="connsiteY4" fmla="*/ 10610 h 10610"/>
                <a:gd name="connsiteX5" fmla="*/ 3606 w 10171"/>
                <a:gd name="connsiteY5" fmla="*/ 10485 h 10610"/>
                <a:gd name="connsiteX6" fmla="*/ 3848 w 10171"/>
                <a:gd name="connsiteY6" fmla="*/ 10386 h 10610"/>
                <a:gd name="connsiteX7" fmla="*/ 4084 w 10171"/>
                <a:gd name="connsiteY7" fmla="*/ 10287 h 10610"/>
                <a:gd name="connsiteX8" fmla="*/ 4317 w 10171"/>
                <a:gd name="connsiteY8" fmla="*/ 10183 h 10610"/>
                <a:gd name="connsiteX9" fmla="*/ 4549 w 10171"/>
                <a:gd name="connsiteY9" fmla="*/ 10074 h 10610"/>
                <a:gd name="connsiteX10" fmla="*/ 4767 w 10171"/>
                <a:gd name="connsiteY10" fmla="*/ 9967 h 10610"/>
                <a:gd name="connsiteX11" fmla="*/ 4988 w 10171"/>
                <a:gd name="connsiteY11" fmla="*/ 9849 h 10610"/>
                <a:gd name="connsiteX12" fmla="*/ 5209 w 10171"/>
                <a:gd name="connsiteY12" fmla="*/ 9736 h 10610"/>
                <a:gd name="connsiteX13" fmla="*/ 5419 w 10171"/>
                <a:gd name="connsiteY13" fmla="*/ 9615 h 10610"/>
                <a:gd name="connsiteX14" fmla="*/ 5635 w 10171"/>
                <a:gd name="connsiteY14" fmla="*/ 9491 h 10610"/>
                <a:gd name="connsiteX15" fmla="*/ 5839 w 10171"/>
                <a:gd name="connsiteY15" fmla="*/ 9362 h 10610"/>
                <a:gd name="connsiteX16" fmla="*/ 6043 w 10171"/>
                <a:gd name="connsiteY16" fmla="*/ 9235 h 10610"/>
                <a:gd name="connsiteX17" fmla="*/ 6239 w 10171"/>
                <a:gd name="connsiteY17" fmla="*/ 9105 h 10610"/>
                <a:gd name="connsiteX18" fmla="*/ 6438 w 10171"/>
                <a:gd name="connsiteY18" fmla="*/ 8967 h 10610"/>
                <a:gd name="connsiteX19" fmla="*/ 6629 w 10171"/>
                <a:gd name="connsiteY19" fmla="*/ 8825 h 10610"/>
                <a:gd name="connsiteX20" fmla="*/ 6814 w 10171"/>
                <a:gd name="connsiteY20" fmla="*/ 8689 h 10610"/>
                <a:gd name="connsiteX21" fmla="*/ 6997 w 10171"/>
                <a:gd name="connsiteY21" fmla="*/ 8544 h 10610"/>
                <a:gd name="connsiteX22" fmla="*/ 7173 w 10171"/>
                <a:gd name="connsiteY22" fmla="*/ 8396 h 10610"/>
                <a:gd name="connsiteX23" fmla="*/ 7349 w 10171"/>
                <a:gd name="connsiteY23" fmla="*/ 8248 h 10610"/>
                <a:gd name="connsiteX24" fmla="*/ 7518 w 10171"/>
                <a:gd name="connsiteY24" fmla="*/ 8097 h 10610"/>
                <a:gd name="connsiteX25" fmla="*/ 7686 w 10171"/>
                <a:gd name="connsiteY25" fmla="*/ 7940 h 10610"/>
                <a:gd name="connsiteX26" fmla="*/ 7842 w 10171"/>
                <a:gd name="connsiteY26" fmla="*/ 7782 h 10610"/>
                <a:gd name="connsiteX27" fmla="*/ 7995 w 10171"/>
                <a:gd name="connsiteY27" fmla="*/ 7623 h 10610"/>
                <a:gd name="connsiteX28" fmla="*/ 8150 w 10171"/>
                <a:gd name="connsiteY28" fmla="*/ 7463 h 10610"/>
                <a:gd name="connsiteX29" fmla="*/ 8293 w 10171"/>
                <a:gd name="connsiteY29" fmla="*/ 7296 h 10610"/>
                <a:gd name="connsiteX30" fmla="*/ 8433 w 10171"/>
                <a:gd name="connsiteY30" fmla="*/ 7132 h 10610"/>
                <a:gd name="connsiteX31" fmla="*/ 8569 w 10171"/>
                <a:gd name="connsiteY31" fmla="*/ 6962 h 10610"/>
                <a:gd name="connsiteX32" fmla="*/ 8695 w 10171"/>
                <a:gd name="connsiteY32" fmla="*/ 6788 h 10610"/>
                <a:gd name="connsiteX33" fmla="*/ 8819 w 10171"/>
                <a:gd name="connsiteY33" fmla="*/ 6614 h 10610"/>
                <a:gd name="connsiteX34" fmla="*/ 8945 w 10171"/>
                <a:gd name="connsiteY34" fmla="*/ 6440 h 10610"/>
                <a:gd name="connsiteX35" fmla="*/ 9063 w 10171"/>
                <a:gd name="connsiteY35" fmla="*/ 6262 h 10610"/>
                <a:gd name="connsiteX36" fmla="*/ 9167 w 10171"/>
                <a:gd name="connsiteY36" fmla="*/ 6084 h 10610"/>
                <a:gd name="connsiteX37" fmla="*/ 9274 w 10171"/>
                <a:gd name="connsiteY37" fmla="*/ 5902 h 10610"/>
                <a:gd name="connsiteX38" fmla="*/ 9369 w 10171"/>
                <a:gd name="connsiteY38" fmla="*/ 5716 h 10610"/>
                <a:gd name="connsiteX39" fmla="*/ 9465 w 10171"/>
                <a:gd name="connsiteY39" fmla="*/ 5533 h 10610"/>
                <a:gd name="connsiteX40" fmla="*/ 9549 w 10171"/>
                <a:gd name="connsiteY40" fmla="*/ 5344 h 10610"/>
                <a:gd name="connsiteX41" fmla="*/ 9630 w 10171"/>
                <a:gd name="connsiteY41" fmla="*/ 5153 h 10610"/>
                <a:gd name="connsiteX42" fmla="*/ 9704 w 10171"/>
                <a:gd name="connsiteY42" fmla="*/ 4961 h 10610"/>
                <a:gd name="connsiteX43" fmla="*/ 9777 w 10171"/>
                <a:gd name="connsiteY43" fmla="*/ 4771 h 10610"/>
                <a:gd name="connsiteX44" fmla="*/ 9839 w 10171"/>
                <a:gd name="connsiteY44" fmla="*/ 4578 h 10610"/>
                <a:gd name="connsiteX45" fmla="*/ 9898 w 10171"/>
                <a:gd name="connsiteY45" fmla="*/ 4381 h 10610"/>
                <a:gd name="connsiteX46" fmla="*/ 9635 w 10171"/>
                <a:gd name="connsiteY46" fmla="*/ 0 h 10610"/>
                <a:gd name="connsiteX47" fmla="*/ 6408 w 10171"/>
                <a:gd name="connsiteY47" fmla="*/ 1883 h 10610"/>
                <a:gd name="connsiteX48" fmla="*/ 2450 w 10171"/>
                <a:gd name="connsiteY48" fmla="*/ 1500 h 10610"/>
                <a:gd name="connsiteX0" fmla="*/ 2450 w 10171"/>
                <a:gd name="connsiteY0" fmla="*/ 1500 h 10610"/>
                <a:gd name="connsiteX1" fmla="*/ 103 w 10171"/>
                <a:gd name="connsiteY1" fmla="*/ 5816 h 10610"/>
                <a:gd name="connsiteX2" fmla="*/ 0 w 10171"/>
                <a:gd name="connsiteY2" fmla="*/ 5857 h 10610"/>
                <a:gd name="connsiteX3" fmla="*/ 210 w 10171"/>
                <a:gd name="connsiteY3" fmla="*/ 8550 h 10610"/>
                <a:gd name="connsiteX4" fmla="*/ 3281 w 10171"/>
                <a:gd name="connsiteY4" fmla="*/ 10596 h 10610"/>
                <a:gd name="connsiteX5" fmla="*/ 3301 w 10171"/>
                <a:gd name="connsiteY5" fmla="*/ 10610 h 10610"/>
                <a:gd name="connsiteX6" fmla="*/ 3606 w 10171"/>
                <a:gd name="connsiteY6" fmla="*/ 10485 h 10610"/>
                <a:gd name="connsiteX7" fmla="*/ 3848 w 10171"/>
                <a:gd name="connsiteY7" fmla="*/ 10386 h 10610"/>
                <a:gd name="connsiteX8" fmla="*/ 4084 w 10171"/>
                <a:gd name="connsiteY8" fmla="*/ 10287 h 10610"/>
                <a:gd name="connsiteX9" fmla="*/ 4317 w 10171"/>
                <a:gd name="connsiteY9" fmla="*/ 10183 h 10610"/>
                <a:gd name="connsiteX10" fmla="*/ 4549 w 10171"/>
                <a:gd name="connsiteY10" fmla="*/ 10074 h 10610"/>
                <a:gd name="connsiteX11" fmla="*/ 4767 w 10171"/>
                <a:gd name="connsiteY11" fmla="*/ 9967 h 10610"/>
                <a:gd name="connsiteX12" fmla="*/ 4988 w 10171"/>
                <a:gd name="connsiteY12" fmla="*/ 9849 h 10610"/>
                <a:gd name="connsiteX13" fmla="*/ 5209 w 10171"/>
                <a:gd name="connsiteY13" fmla="*/ 9736 h 10610"/>
                <a:gd name="connsiteX14" fmla="*/ 5419 w 10171"/>
                <a:gd name="connsiteY14" fmla="*/ 9615 h 10610"/>
                <a:gd name="connsiteX15" fmla="*/ 5635 w 10171"/>
                <a:gd name="connsiteY15" fmla="*/ 9491 h 10610"/>
                <a:gd name="connsiteX16" fmla="*/ 5839 w 10171"/>
                <a:gd name="connsiteY16" fmla="*/ 9362 h 10610"/>
                <a:gd name="connsiteX17" fmla="*/ 6043 w 10171"/>
                <a:gd name="connsiteY17" fmla="*/ 9235 h 10610"/>
                <a:gd name="connsiteX18" fmla="*/ 6239 w 10171"/>
                <a:gd name="connsiteY18" fmla="*/ 9105 h 10610"/>
                <a:gd name="connsiteX19" fmla="*/ 6438 w 10171"/>
                <a:gd name="connsiteY19" fmla="*/ 8967 h 10610"/>
                <a:gd name="connsiteX20" fmla="*/ 6629 w 10171"/>
                <a:gd name="connsiteY20" fmla="*/ 8825 h 10610"/>
                <a:gd name="connsiteX21" fmla="*/ 6814 w 10171"/>
                <a:gd name="connsiteY21" fmla="*/ 8689 h 10610"/>
                <a:gd name="connsiteX22" fmla="*/ 6997 w 10171"/>
                <a:gd name="connsiteY22" fmla="*/ 8544 h 10610"/>
                <a:gd name="connsiteX23" fmla="*/ 7173 w 10171"/>
                <a:gd name="connsiteY23" fmla="*/ 8396 h 10610"/>
                <a:gd name="connsiteX24" fmla="*/ 7349 w 10171"/>
                <a:gd name="connsiteY24" fmla="*/ 8248 h 10610"/>
                <a:gd name="connsiteX25" fmla="*/ 7518 w 10171"/>
                <a:gd name="connsiteY25" fmla="*/ 8097 h 10610"/>
                <a:gd name="connsiteX26" fmla="*/ 7686 w 10171"/>
                <a:gd name="connsiteY26" fmla="*/ 7940 h 10610"/>
                <a:gd name="connsiteX27" fmla="*/ 7842 w 10171"/>
                <a:gd name="connsiteY27" fmla="*/ 7782 h 10610"/>
                <a:gd name="connsiteX28" fmla="*/ 7995 w 10171"/>
                <a:gd name="connsiteY28" fmla="*/ 7623 h 10610"/>
                <a:gd name="connsiteX29" fmla="*/ 8150 w 10171"/>
                <a:gd name="connsiteY29" fmla="*/ 7463 h 10610"/>
                <a:gd name="connsiteX30" fmla="*/ 8293 w 10171"/>
                <a:gd name="connsiteY30" fmla="*/ 7296 h 10610"/>
                <a:gd name="connsiteX31" fmla="*/ 8433 w 10171"/>
                <a:gd name="connsiteY31" fmla="*/ 7132 h 10610"/>
                <a:gd name="connsiteX32" fmla="*/ 8569 w 10171"/>
                <a:gd name="connsiteY32" fmla="*/ 6962 h 10610"/>
                <a:gd name="connsiteX33" fmla="*/ 8695 w 10171"/>
                <a:gd name="connsiteY33" fmla="*/ 6788 h 10610"/>
                <a:gd name="connsiteX34" fmla="*/ 8819 w 10171"/>
                <a:gd name="connsiteY34" fmla="*/ 6614 h 10610"/>
                <a:gd name="connsiteX35" fmla="*/ 8945 w 10171"/>
                <a:gd name="connsiteY35" fmla="*/ 6440 h 10610"/>
                <a:gd name="connsiteX36" fmla="*/ 9063 w 10171"/>
                <a:gd name="connsiteY36" fmla="*/ 6262 h 10610"/>
                <a:gd name="connsiteX37" fmla="*/ 9167 w 10171"/>
                <a:gd name="connsiteY37" fmla="*/ 6084 h 10610"/>
                <a:gd name="connsiteX38" fmla="*/ 9274 w 10171"/>
                <a:gd name="connsiteY38" fmla="*/ 5902 h 10610"/>
                <a:gd name="connsiteX39" fmla="*/ 9369 w 10171"/>
                <a:gd name="connsiteY39" fmla="*/ 5716 h 10610"/>
                <a:gd name="connsiteX40" fmla="*/ 9465 w 10171"/>
                <a:gd name="connsiteY40" fmla="*/ 5533 h 10610"/>
                <a:gd name="connsiteX41" fmla="*/ 9549 w 10171"/>
                <a:gd name="connsiteY41" fmla="*/ 5344 h 10610"/>
                <a:gd name="connsiteX42" fmla="*/ 9630 w 10171"/>
                <a:gd name="connsiteY42" fmla="*/ 5153 h 10610"/>
                <a:gd name="connsiteX43" fmla="*/ 9704 w 10171"/>
                <a:gd name="connsiteY43" fmla="*/ 4961 h 10610"/>
                <a:gd name="connsiteX44" fmla="*/ 9777 w 10171"/>
                <a:gd name="connsiteY44" fmla="*/ 4771 h 10610"/>
                <a:gd name="connsiteX45" fmla="*/ 9839 w 10171"/>
                <a:gd name="connsiteY45" fmla="*/ 4578 h 10610"/>
                <a:gd name="connsiteX46" fmla="*/ 9898 w 10171"/>
                <a:gd name="connsiteY46" fmla="*/ 4381 h 10610"/>
                <a:gd name="connsiteX47" fmla="*/ 9635 w 10171"/>
                <a:gd name="connsiteY47" fmla="*/ 0 h 10610"/>
                <a:gd name="connsiteX48" fmla="*/ 6408 w 10171"/>
                <a:gd name="connsiteY48" fmla="*/ 1883 h 10610"/>
                <a:gd name="connsiteX49" fmla="*/ 2450 w 10171"/>
                <a:gd name="connsiteY49" fmla="*/ 1500 h 10610"/>
                <a:gd name="connsiteX0" fmla="*/ 2450 w 10171"/>
                <a:gd name="connsiteY0" fmla="*/ 1500 h 10720"/>
                <a:gd name="connsiteX1" fmla="*/ 103 w 10171"/>
                <a:gd name="connsiteY1" fmla="*/ 5816 h 10720"/>
                <a:gd name="connsiteX2" fmla="*/ 0 w 10171"/>
                <a:gd name="connsiteY2" fmla="*/ 5857 h 10720"/>
                <a:gd name="connsiteX3" fmla="*/ 210 w 10171"/>
                <a:gd name="connsiteY3" fmla="*/ 8550 h 10720"/>
                <a:gd name="connsiteX4" fmla="*/ 3281 w 10171"/>
                <a:gd name="connsiteY4" fmla="*/ 10596 h 10720"/>
                <a:gd name="connsiteX5" fmla="*/ 3606 w 10171"/>
                <a:gd name="connsiteY5" fmla="*/ 10485 h 10720"/>
                <a:gd name="connsiteX6" fmla="*/ 3848 w 10171"/>
                <a:gd name="connsiteY6" fmla="*/ 10386 h 10720"/>
                <a:gd name="connsiteX7" fmla="*/ 4084 w 10171"/>
                <a:gd name="connsiteY7" fmla="*/ 10287 h 10720"/>
                <a:gd name="connsiteX8" fmla="*/ 4317 w 10171"/>
                <a:gd name="connsiteY8" fmla="*/ 10183 h 10720"/>
                <a:gd name="connsiteX9" fmla="*/ 4549 w 10171"/>
                <a:gd name="connsiteY9" fmla="*/ 10074 h 10720"/>
                <a:gd name="connsiteX10" fmla="*/ 4767 w 10171"/>
                <a:gd name="connsiteY10" fmla="*/ 9967 h 10720"/>
                <a:gd name="connsiteX11" fmla="*/ 4988 w 10171"/>
                <a:gd name="connsiteY11" fmla="*/ 9849 h 10720"/>
                <a:gd name="connsiteX12" fmla="*/ 5209 w 10171"/>
                <a:gd name="connsiteY12" fmla="*/ 9736 h 10720"/>
                <a:gd name="connsiteX13" fmla="*/ 5419 w 10171"/>
                <a:gd name="connsiteY13" fmla="*/ 9615 h 10720"/>
                <a:gd name="connsiteX14" fmla="*/ 5635 w 10171"/>
                <a:gd name="connsiteY14" fmla="*/ 9491 h 10720"/>
                <a:gd name="connsiteX15" fmla="*/ 5839 w 10171"/>
                <a:gd name="connsiteY15" fmla="*/ 9362 h 10720"/>
                <a:gd name="connsiteX16" fmla="*/ 6043 w 10171"/>
                <a:gd name="connsiteY16" fmla="*/ 9235 h 10720"/>
                <a:gd name="connsiteX17" fmla="*/ 6239 w 10171"/>
                <a:gd name="connsiteY17" fmla="*/ 9105 h 10720"/>
                <a:gd name="connsiteX18" fmla="*/ 6438 w 10171"/>
                <a:gd name="connsiteY18" fmla="*/ 8967 h 10720"/>
                <a:gd name="connsiteX19" fmla="*/ 6629 w 10171"/>
                <a:gd name="connsiteY19" fmla="*/ 8825 h 10720"/>
                <a:gd name="connsiteX20" fmla="*/ 6814 w 10171"/>
                <a:gd name="connsiteY20" fmla="*/ 8689 h 10720"/>
                <a:gd name="connsiteX21" fmla="*/ 6997 w 10171"/>
                <a:gd name="connsiteY21" fmla="*/ 8544 h 10720"/>
                <a:gd name="connsiteX22" fmla="*/ 7173 w 10171"/>
                <a:gd name="connsiteY22" fmla="*/ 8396 h 10720"/>
                <a:gd name="connsiteX23" fmla="*/ 7349 w 10171"/>
                <a:gd name="connsiteY23" fmla="*/ 8248 h 10720"/>
                <a:gd name="connsiteX24" fmla="*/ 7518 w 10171"/>
                <a:gd name="connsiteY24" fmla="*/ 8097 h 10720"/>
                <a:gd name="connsiteX25" fmla="*/ 7686 w 10171"/>
                <a:gd name="connsiteY25" fmla="*/ 7940 h 10720"/>
                <a:gd name="connsiteX26" fmla="*/ 7842 w 10171"/>
                <a:gd name="connsiteY26" fmla="*/ 7782 h 10720"/>
                <a:gd name="connsiteX27" fmla="*/ 7995 w 10171"/>
                <a:gd name="connsiteY27" fmla="*/ 7623 h 10720"/>
                <a:gd name="connsiteX28" fmla="*/ 8150 w 10171"/>
                <a:gd name="connsiteY28" fmla="*/ 7463 h 10720"/>
                <a:gd name="connsiteX29" fmla="*/ 8293 w 10171"/>
                <a:gd name="connsiteY29" fmla="*/ 7296 h 10720"/>
                <a:gd name="connsiteX30" fmla="*/ 8433 w 10171"/>
                <a:gd name="connsiteY30" fmla="*/ 7132 h 10720"/>
                <a:gd name="connsiteX31" fmla="*/ 8569 w 10171"/>
                <a:gd name="connsiteY31" fmla="*/ 6962 h 10720"/>
                <a:gd name="connsiteX32" fmla="*/ 8695 w 10171"/>
                <a:gd name="connsiteY32" fmla="*/ 6788 h 10720"/>
                <a:gd name="connsiteX33" fmla="*/ 8819 w 10171"/>
                <a:gd name="connsiteY33" fmla="*/ 6614 h 10720"/>
                <a:gd name="connsiteX34" fmla="*/ 8945 w 10171"/>
                <a:gd name="connsiteY34" fmla="*/ 6440 h 10720"/>
                <a:gd name="connsiteX35" fmla="*/ 9063 w 10171"/>
                <a:gd name="connsiteY35" fmla="*/ 6262 h 10720"/>
                <a:gd name="connsiteX36" fmla="*/ 9167 w 10171"/>
                <a:gd name="connsiteY36" fmla="*/ 6084 h 10720"/>
                <a:gd name="connsiteX37" fmla="*/ 9274 w 10171"/>
                <a:gd name="connsiteY37" fmla="*/ 5902 h 10720"/>
                <a:gd name="connsiteX38" fmla="*/ 9369 w 10171"/>
                <a:gd name="connsiteY38" fmla="*/ 5716 h 10720"/>
                <a:gd name="connsiteX39" fmla="*/ 9465 w 10171"/>
                <a:gd name="connsiteY39" fmla="*/ 5533 h 10720"/>
                <a:gd name="connsiteX40" fmla="*/ 9549 w 10171"/>
                <a:gd name="connsiteY40" fmla="*/ 5344 h 10720"/>
                <a:gd name="connsiteX41" fmla="*/ 9630 w 10171"/>
                <a:gd name="connsiteY41" fmla="*/ 5153 h 10720"/>
                <a:gd name="connsiteX42" fmla="*/ 9704 w 10171"/>
                <a:gd name="connsiteY42" fmla="*/ 4961 h 10720"/>
                <a:gd name="connsiteX43" fmla="*/ 9777 w 10171"/>
                <a:gd name="connsiteY43" fmla="*/ 4771 h 10720"/>
                <a:gd name="connsiteX44" fmla="*/ 9839 w 10171"/>
                <a:gd name="connsiteY44" fmla="*/ 4578 h 10720"/>
                <a:gd name="connsiteX45" fmla="*/ 9898 w 10171"/>
                <a:gd name="connsiteY45" fmla="*/ 4381 h 10720"/>
                <a:gd name="connsiteX46" fmla="*/ 9635 w 10171"/>
                <a:gd name="connsiteY46" fmla="*/ 0 h 10720"/>
                <a:gd name="connsiteX47" fmla="*/ 6408 w 10171"/>
                <a:gd name="connsiteY47" fmla="*/ 1883 h 10720"/>
                <a:gd name="connsiteX48" fmla="*/ 2450 w 10171"/>
                <a:gd name="connsiteY48" fmla="*/ 1500 h 10720"/>
                <a:gd name="connsiteX0" fmla="*/ 2450 w 10171"/>
                <a:gd name="connsiteY0" fmla="*/ 1500 h 10596"/>
                <a:gd name="connsiteX1" fmla="*/ 103 w 10171"/>
                <a:gd name="connsiteY1" fmla="*/ 5816 h 10596"/>
                <a:gd name="connsiteX2" fmla="*/ 0 w 10171"/>
                <a:gd name="connsiteY2" fmla="*/ 5857 h 10596"/>
                <a:gd name="connsiteX3" fmla="*/ 210 w 10171"/>
                <a:gd name="connsiteY3" fmla="*/ 8550 h 10596"/>
                <a:gd name="connsiteX4" fmla="*/ 3281 w 10171"/>
                <a:gd name="connsiteY4" fmla="*/ 10596 h 10596"/>
                <a:gd name="connsiteX5" fmla="*/ 3606 w 10171"/>
                <a:gd name="connsiteY5" fmla="*/ 10485 h 10596"/>
                <a:gd name="connsiteX6" fmla="*/ 3848 w 10171"/>
                <a:gd name="connsiteY6" fmla="*/ 10386 h 10596"/>
                <a:gd name="connsiteX7" fmla="*/ 4084 w 10171"/>
                <a:gd name="connsiteY7" fmla="*/ 10287 h 10596"/>
                <a:gd name="connsiteX8" fmla="*/ 4317 w 10171"/>
                <a:gd name="connsiteY8" fmla="*/ 10183 h 10596"/>
                <a:gd name="connsiteX9" fmla="*/ 4549 w 10171"/>
                <a:gd name="connsiteY9" fmla="*/ 10074 h 10596"/>
                <a:gd name="connsiteX10" fmla="*/ 4767 w 10171"/>
                <a:gd name="connsiteY10" fmla="*/ 9967 h 10596"/>
                <a:gd name="connsiteX11" fmla="*/ 4988 w 10171"/>
                <a:gd name="connsiteY11" fmla="*/ 9849 h 10596"/>
                <a:gd name="connsiteX12" fmla="*/ 5209 w 10171"/>
                <a:gd name="connsiteY12" fmla="*/ 9736 h 10596"/>
                <a:gd name="connsiteX13" fmla="*/ 5419 w 10171"/>
                <a:gd name="connsiteY13" fmla="*/ 9615 h 10596"/>
                <a:gd name="connsiteX14" fmla="*/ 5635 w 10171"/>
                <a:gd name="connsiteY14" fmla="*/ 9491 h 10596"/>
                <a:gd name="connsiteX15" fmla="*/ 5839 w 10171"/>
                <a:gd name="connsiteY15" fmla="*/ 9362 h 10596"/>
                <a:gd name="connsiteX16" fmla="*/ 6043 w 10171"/>
                <a:gd name="connsiteY16" fmla="*/ 9235 h 10596"/>
                <a:gd name="connsiteX17" fmla="*/ 6239 w 10171"/>
                <a:gd name="connsiteY17" fmla="*/ 9105 h 10596"/>
                <a:gd name="connsiteX18" fmla="*/ 6438 w 10171"/>
                <a:gd name="connsiteY18" fmla="*/ 8967 h 10596"/>
                <a:gd name="connsiteX19" fmla="*/ 6629 w 10171"/>
                <a:gd name="connsiteY19" fmla="*/ 8825 h 10596"/>
                <a:gd name="connsiteX20" fmla="*/ 6814 w 10171"/>
                <a:gd name="connsiteY20" fmla="*/ 8689 h 10596"/>
                <a:gd name="connsiteX21" fmla="*/ 6997 w 10171"/>
                <a:gd name="connsiteY21" fmla="*/ 8544 h 10596"/>
                <a:gd name="connsiteX22" fmla="*/ 7173 w 10171"/>
                <a:gd name="connsiteY22" fmla="*/ 8396 h 10596"/>
                <a:gd name="connsiteX23" fmla="*/ 7349 w 10171"/>
                <a:gd name="connsiteY23" fmla="*/ 8248 h 10596"/>
                <a:gd name="connsiteX24" fmla="*/ 7518 w 10171"/>
                <a:gd name="connsiteY24" fmla="*/ 8097 h 10596"/>
                <a:gd name="connsiteX25" fmla="*/ 7686 w 10171"/>
                <a:gd name="connsiteY25" fmla="*/ 7940 h 10596"/>
                <a:gd name="connsiteX26" fmla="*/ 7842 w 10171"/>
                <a:gd name="connsiteY26" fmla="*/ 7782 h 10596"/>
                <a:gd name="connsiteX27" fmla="*/ 7995 w 10171"/>
                <a:gd name="connsiteY27" fmla="*/ 7623 h 10596"/>
                <a:gd name="connsiteX28" fmla="*/ 8150 w 10171"/>
                <a:gd name="connsiteY28" fmla="*/ 7463 h 10596"/>
                <a:gd name="connsiteX29" fmla="*/ 8293 w 10171"/>
                <a:gd name="connsiteY29" fmla="*/ 7296 h 10596"/>
                <a:gd name="connsiteX30" fmla="*/ 8433 w 10171"/>
                <a:gd name="connsiteY30" fmla="*/ 7132 h 10596"/>
                <a:gd name="connsiteX31" fmla="*/ 8569 w 10171"/>
                <a:gd name="connsiteY31" fmla="*/ 6962 h 10596"/>
                <a:gd name="connsiteX32" fmla="*/ 8695 w 10171"/>
                <a:gd name="connsiteY32" fmla="*/ 6788 h 10596"/>
                <a:gd name="connsiteX33" fmla="*/ 8819 w 10171"/>
                <a:gd name="connsiteY33" fmla="*/ 6614 h 10596"/>
                <a:gd name="connsiteX34" fmla="*/ 8945 w 10171"/>
                <a:gd name="connsiteY34" fmla="*/ 6440 h 10596"/>
                <a:gd name="connsiteX35" fmla="*/ 9063 w 10171"/>
                <a:gd name="connsiteY35" fmla="*/ 6262 h 10596"/>
                <a:gd name="connsiteX36" fmla="*/ 9167 w 10171"/>
                <a:gd name="connsiteY36" fmla="*/ 6084 h 10596"/>
                <a:gd name="connsiteX37" fmla="*/ 9274 w 10171"/>
                <a:gd name="connsiteY37" fmla="*/ 5902 h 10596"/>
                <a:gd name="connsiteX38" fmla="*/ 9369 w 10171"/>
                <a:gd name="connsiteY38" fmla="*/ 5716 h 10596"/>
                <a:gd name="connsiteX39" fmla="*/ 9465 w 10171"/>
                <a:gd name="connsiteY39" fmla="*/ 5533 h 10596"/>
                <a:gd name="connsiteX40" fmla="*/ 9549 w 10171"/>
                <a:gd name="connsiteY40" fmla="*/ 5344 h 10596"/>
                <a:gd name="connsiteX41" fmla="*/ 9630 w 10171"/>
                <a:gd name="connsiteY41" fmla="*/ 5153 h 10596"/>
                <a:gd name="connsiteX42" fmla="*/ 9704 w 10171"/>
                <a:gd name="connsiteY42" fmla="*/ 4961 h 10596"/>
                <a:gd name="connsiteX43" fmla="*/ 9777 w 10171"/>
                <a:gd name="connsiteY43" fmla="*/ 4771 h 10596"/>
                <a:gd name="connsiteX44" fmla="*/ 9839 w 10171"/>
                <a:gd name="connsiteY44" fmla="*/ 4578 h 10596"/>
                <a:gd name="connsiteX45" fmla="*/ 9898 w 10171"/>
                <a:gd name="connsiteY45" fmla="*/ 4381 h 10596"/>
                <a:gd name="connsiteX46" fmla="*/ 9635 w 10171"/>
                <a:gd name="connsiteY46" fmla="*/ 0 h 10596"/>
                <a:gd name="connsiteX47" fmla="*/ 6408 w 10171"/>
                <a:gd name="connsiteY47" fmla="*/ 1883 h 10596"/>
                <a:gd name="connsiteX48" fmla="*/ 2450 w 10171"/>
                <a:gd name="connsiteY48" fmla="*/ 1500 h 10596"/>
                <a:gd name="connsiteX0" fmla="*/ 2450 w 10171"/>
                <a:gd name="connsiteY0" fmla="*/ 1500 h 10596"/>
                <a:gd name="connsiteX1" fmla="*/ 103 w 10171"/>
                <a:gd name="connsiteY1" fmla="*/ 5816 h 10596"/>
                <a:gd name="connsiteX2" fmla="*/ 0 w 10171"/>
                <a:gd name="connsiteY2" fmla="*/ 5857 h 10596"/>
                <a:gd name="connsiteX3" fmla="*/ 210 w 10171"/>
                <a:gd name="connsiteY3" fmla="*/ 8550 h 10596"/>
                <a:gd name="connsiteX4" fmla="*/ 3281 w 10171"/>
                <a:gd name="connsiteY4" fmla="*/ 10596 h 10596"/>
                <a:gd name="connsiteX5" fmla="*/ 3606 w 10171"/>
                <a:gd name="connsiteY5" fmla="*/ 10485 h 10596"/>
                <a:gd name="connsiteX6" fmla="*/ 3848 w 10171"/>
                <a:gd name="connsiteY6" fmla="*/ 10386 h 10596"/>
                <a:gd name="connsiteX7" fmla="*/ 4084 w 10171"/>
                <a:gd name="connsiteY7" fmla="*/ 10287 h 10596"/>
                <a:gd name="connsiteX8" fmla="*/ 4317 w 10171"/>
                <a:gd name="connsiteY8" fmla="*/ 10183 h 10596"/>
                <a:gd name="connsiteX9" fmla="*/ 4549 w 10171"/>
                <a:gd name="connsiteY9" fmla="*/ 10074 h 10596"/>
                <a:gd name="connsiteX10" fmla="*/ 4767 w 10171"/>
                <a:gd name="connsiteY10" fmla="*/ 9967 h 10596"/>
                <a:gd name="connsiteX11" fmla="*/ 4988 w 10171"/>
                <a:gd name="connsiteY11" fmla="*/ 9849 h 10596"/>
                <a:gd name="connsiteX12" fmla="*/ 5209 w 10171"/>
                <a:gd name="connsiteY12" fmla="*/ 9736 h 10596"/>
                <a:gd name="connsiteX13" fmla="*/ 5419 w 10171"/>
                <a:gd name="connsiteY13" fmla="*/ 9615 h 10596"/>
                <a:gd name="connsiteX14" fmla="*/ 5635 w 10171"/>
                <a:gd name="connsiteY14" fmla="*/ 9491 h 10596"/>
                <a:gd name="connsiteX15" fmla="*/ 5839 w 10171"/>
                <a:gd name="connsiteY15" fmla="*/ 9362 h 10596"/>
                <a:gd name="connsiteX16" fmla="*/ 6043 w 10171"/>
                <a:gd name="connsiteY16" fmla="*/ 9235 h 10596"/>
                <a:gd name="connsiteX17" fmla="*/ 6239 w 10171"/>
                <a:gd name="connsiteY17" fmla="*/ 9105 h 10596"/>
                <a:gd name="connsiteX18" fmla="*/ 6438 w 10171"/>
                <a:gd name="connsiteY18" fmla="*/ 8967 h 10596"/>
                <a:gd name="connsiteX19" fmla="*/ 6629 w 10171"/>
                <a:gd name="connsiteY19" fmla="*/ 8825 h 10596"/>
                <a:gd name="connsiteX20" fmla="*/ 6814 w 10171"/>
                <a:gd name="connsiteY20" fmla="*/ 8689 h 10596"/>
                <a:gd name="connsiteX21" fmla="*/ 6997 w 10171"/>
                <a:gd name="connsiteY21" fmla="*/ 8544 h 10596"/>
                <a:gd name="connsiteX22" fmla="*/ 7173 w 10171"/>
                <a:gd name="connsiteY22" fmla="*/ 8396 h 10596"/>
                <a:gd name="connsiteX23" fmla="*/ 7349 w 10171"/>
                <a:gd name="connsiteY23" fmla="*/ 8248 h 10596"/>
                <a:gd name="connsiteX24" fmla="*/ 7518 w 10171"/>
                <a:gd name="connsiteY24" fmla="*/ 8097 h 10596"/>
                <a:gd name="connsiteX25" fmla="*/ 7686 w 10171"/>
                <a:gd name="connsiteY25" fmla="*/ 7940 h 10596"/>
                <a:gd name="connsiteX26" fmla="*/ 7842 w 10171"/>
                <a:gd name="connsiteY26" fmla="*/ 7782 h 10596"/>
                <a:gd name="connsiteX27" fmla="*/ 7995 w 10171"/>
                <a:gd name="connsiteY27" fmla="*/ 7623 h 10596"/>
                <a:gd name="connsiteX28" fmla="*/ 8150 w 10171"/>
                <a:gd name="connsiteY28" fmla="*/ 7463 h 10596"/>
                <a:gd name="connsiteX29" fmla="*/ 8293 w 10171"/>
                <a:gd name="connsiteY29" fmla="*/ 7296 h 10596"/>
                <a:gd name="connsiteX30" fmla="*/ 8433 w 10171"/>
                <a:gd name="connsiteY30" fmla="*/ 7132 h 10596"/>
                <a:gd name="connsiteX31" fmla="*/ 8569 w 10171"/>
                <a:gd name="connsiteY31" fmla="*/ 6962 h 10596"/>
                <a:gd name="connsiteX32" fmla="*/ 8695 w 10171"/>
                <a:gd name="connsiteY32" fmla="*/ 6788 h 10596"/>
                <a:gd name="connsiteX33" fmla="*/ 8819 w 10171"/>
                <a:gd name="connsiteY33" fmla="*/ 6614 h 10596"/>
                <a:gd name="connsiteX34" fmla="*/ 8945 w 10171"/>
                <a:gd name="connsiteY34" fmla="*/ 6440 h 10596"/>
                <a:gd name="connsiteX35" fmla="*/ 9063 w 10171"/>
                <a:gd name="connsiteY35" fmla="*/ 6262 h 10596"/>
                <a:gd name="connsiteX36" fmla="*/ 9167 w 10171"/>
                <a:gd name="connsiteY36" fmla="*/ 6084 h 10596"/>
                <a:gd name="connsiteX37" fmla="*/ 9274 w 10171"/>
                <a:gd name="connsiteY37" fmla="*/ 5902 h 10596"/>
                <a:gd name="connsiteX38" fmla="*/ 9369 w 10171"/>
                <a:gd name="connsiteY38" fmla="*/ 5716 h 10596"/>
                <a:gd name="connsiteX39" fmla="*/ 9465 w 10171"/>
                <a:gd name="connsiteY39" fmla="*/ 5533 h 10596"/>
                <a:gd name="connsiteX40" fmla="*/ 9549 w 10171"/>
                <a:gd name="connsiteY40" fmla="*/ 5344 h 10596"/>
                <a:gd name="connsiteX41" fmla="*/ 9630 w 10171"/>
                <a:gd name="connsiteY41" fmla="*/ 5153 h 10596"/>
                <a:gd name="connsiteX42" fmla="*/ 9704 w 10171"/>
                <a:gd name="connsiteY42" fmla="*/ 4961 h 10596"/>
                <a:gd name="connsiteX43" fmla="*/ 9777 w 10171"/>
                <a:gd name="connsiteY43" fmla="*/ 4771 h 10596"/>
                <a:gd name="connsiteX44" fmla="*/ 9839 w 10171"/>
                <a:gd name="connsiteY44" fmla="*/ 4578 h 10596"/>
                <a:gd name="connsiteX45" fmla="*/ 9898 w 10171"/>
                <a:gd name="connsiteY45" fmla="*/ 4381 h 10596"/>
                <a:gd name="connsiteX46" fmla="*/ 9635 w 10171"/>
                <a:gd name="connsiteY46" fmla="*/ 0 h 10596"/>
                <a:gd name="connsiteX47" fmla="*/ 6408 w 10171"/>
                <a:gd name="connsiteY47" fmla="*/ 1883 h 10596"/>
                <a:gd name="connsiteX48" fmla="*/ 2450 w 10171"/>
                <a:gd name="connsiteY48" fmla="*/ 1500 h 1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171" h="10596">
                  <a:moveTo>
                    <a:pt x="2450" y="1500"/>
                  </a:moveTo>
                  <a:cubicBezTo>
                    <a:pt x="2798" y="2409"/>
                    <a:pt x="3158" y="4458"/>
                    <a:pt x="103" y="5816"/>
                  </a:cubicBezTo>
                  <a:cubicBezTo>
                    <a:pt x="69" y="5831"/>
                    <a:pt x="34" y="5845"/>
                    <a:pt x="0" y="5857"/>
                  </a:cubicBezTo>
                  <a:lnTo>
                    <a:pt x="210" y="8550"/>
                  </a:lnTo>
                  <a:lnTo>
                    <a:pt x="3281" y="10596"/>
                  </a:lnTo>
                  <a:lnTo>
                    <a:pt x="3606" y="10485"/>
                  </a:lnTo>
                  <a:cubicBezTo>
                    <a:pt x="3700" y="10450"/>
                    <a:pt x="3768" y="10419"/>
                    <a:pt x="3848" y="10386"/>
                  </a:cubicBezTo>
                  <a:lnTo>
                    <a:pt x="4084" y="10287"/>
                  </a:lnTo>
                  <a:lnTo>
                    <a:pt x="4317" y="10183"/>
                  </a:lnTo>
                  <a:lnTo>
                    <a:pt x="4549" y="10074"/>
                  </a:lnTo>
                  <a:lnTo>
                    <a:pt x="4767" y="9967"/>
                  </a:lnTo>
                  <a:cubicBezTo>
                    <a:pt x="4844" y="9928"/>
                    <a:pt x="4916" y="9889"/>
                    <a:pt x="4988" y="9849"/>
                  </a:cubicBezTo>
                  <a:lnTo>
                    <a:pt x="5209" y="9736"/>
                  </a:lnTo>
                  <a:cubicBezTo>
                    <a:pt x="5280" y="9694"/>
                    <a:pt x="5352" y="9655"/>
                    <a:pt x="5419" y="9615"/>
                  </a:cubicBezTo>
                  <a:lnTo>
                    <a:pt x="5635" y="9491"/>
                  </a:lnTo>
                  <a:lnTo>
                    <a:pt x="5839" y="9362"/>
                  </a:lnTo>
                  <a:cubicBezTo>
                    <a:pt x="5909" y="9322"/>
                    <a:pt x="5977" y="9276"/>
                    <a:pt x="6043" y="9235"/>
                  </a:cubicBezTo>
                  <a:cubicBezTo>
                    <a:pt x="6113" y="9192"/>
                    <a:pt x="6176" y="9147"/>
                    <a:pt x="6239" y="9105"/>
                  </a:cubicBezTo>
                  <a:lnTo>
                    <a:pt x="6438" y="8967"/>
                  </a:lnTo>
                  <a:cubicBezTo>
                    <a:pt x="6499" y="8918"/>
                    <a:pt x="6564" y="8873"/>
                    <a:pt x="6629" y="8825"/>
                  </a:cubicBezTo>
                  <a:lnTo>
                    <a:pt x="6814" y="8689"/>
                  </a:lnTo>
                  <a:lnTo>
                    <a:pt x="6997" y="8544"/>
                  </a:lnTo>
                  <a:cubicBezTo>
                    <a:pt x="7051" y="8493"/>
                    <a:pt x="7114" y="8446"/>
                    <a:pt x="7173" y="8396"/>
                  </a:cubicBezTo>
                  <a:cubicBezTo>
                    <a:pt x="7233" y="8346"/>
                    <a:pt x="7293" y="8298"/>
                    <a:pt x="7349" y="8248"/>
                  </a:cubicBezTo>
                  <a:cubicBezTo>
                    <a:pt x="7406" y="8199"/>
                    <a:pt x="7458" y="8146"/>
                    <a:pt x="7518" y="8097"/>
                  </a:cubicBezTo>
                  <a:cubicBezTo>
                    <a:pt x="7572" y="8042"/>
                    <a:pt x="7626" y="7990"/>
                    <a:pt x="7686" y="7940"/>
                  </a:cubicBezTo>
                  <a:cubicBezTo>
                    <a:pt x="7736" y="7887"/>
                    <a:pt x="7788" y="7839"/>
                    <a:pt x="7842" y="7782"/>
                  </a:cubicBezTo>
                  <a:cubicBezTo>
                    <a:pt x="7893" y="7729"/>
                    <a:pt x="7944" y="7678"/>
                    <a:pt x="7995" y="7623"/>
                  </a:cubicBezTo>
                  <a:cubicBezTo>
                    <a:pt x="8046" y="7568"/>
                    <a:pt x="8098" y="7516"/>
                    <a:pt x="8150" y="7463"/>
                  </a:cubicBezTo>
                  <a:cubicBezTo>
                    <a:pt x="8198" y="7407"/>
                    <a:pt x="8245" y="7351"/>
                    <a:pt x="8293" y="7296"/>
                  </a:cubicBezTo>
                  <a:cubicBezTo>
                    <a:pt x="8339" y="7242"/>
                    <a:pt x="8384" y="7184"/>
                    <a:pt x="8433" y="7132"/>
                  </a:cubicBezTo>
                  <a:cubicBezTo>
                    <a:pt x="8479" y="7075"/>
                    <a:pt x="8523" y="7019"/>
                    <a:pt x="8569" y="6962"/>
                  </a:cubicBezTo>
                  <a:cubicBezTo>
                    <a:pt x="8614" y="6904"/>
                    <a:pt x="8657" y="6848"/>
                    <a:pt x="8695" y="6788"/>
                  </a:cubicBezTo>
                  <a:cubicBezTo>
                    <a:pt x="8742" y="6729"/>
                    <a:pt x="8780" y="6672"/>
                    <a:pt x="8819" y="6614"/>
                  </a:cubicBezTo>
                  <a:cubicBezTo>
                    <a:pt x="8864" y="6555"/>
                    <a:pt x="8902" y="6500"/>
                    <a:pt x="8945" y="6440"/>
                  </a:cubicBezTo>
                  <a:cubicBezTo>
                    <a:pt x="8982" y="6381"/>
                    <a:pt x="9021" y="6323"/>
                    <a:pt x="9063" y="6262"/>
                  </a:cubicBezTo>
                  <a:cubicBezTo>
                    <a:pt x="9091" y="6201"/>
                    <a:pt x="9131" y="6143"/>
                    <a:pt x="9167" y="6084"/>
                  </a:cubicBezTo>
                  <a:cubicBezTo>
                    <a:pt x="9204" y="6025"/>
                    <a:pt x="9237" y="5961"/>
                    <a:pt x="9274" y="5902"/>
                  </a:cubicBezTo>
                  <a:cubicBezTo>
                    <a:pt x="9305" y="5840"/>
                    <a:pt x="9339" y="5778"/>
                    <a:pt x="9369" y="5716"/>
                  </a:cubicBezTo>
                  <a:cubicBezTo>
                    <a:pt x="9400" y="5654"/>
                    <a:pt x="9433" y="5594"/>
                    <a:pt x="9465" y="5533"/>
                  </a:cubicBezTo>
                  <a:cubicBezTo>
                    <a:pt x="9491" y="5470"/>
                    <a:pt x="9521" y="5406"/>
                    <a:pt x="9549" y="5344"/>
                  </a:cubicBezTo>
                  <a:cubicBezTo>
                    <a:pt x="9579" y="5280"/>
                    <a:pt x="9607" y="5215"/>
                    <a:pt x="9630" y="5153"/>
                  </a:cubicBezTo>
                  <a:cubicBezTo>
                    <a:pt x="9658" y="5091"/>
                    <a:pt x="9682" y="5026"/>
                    <a:pt x="9704" y="4961"/>
                  </a:cubicBezTo>
                  <a:cubicBezTo>
                    <a:pt x="9729" y="4899"/>
                    <a:pt x="9753" y="4835"/>
                    <a:pt x="9777" y="4771"/>
                  </a:cubicBezTo>
                  <a:cubicBezTo>
                    <a:pt x="9798" y="4707"/>
                    <a:pt x="9823" y="4643"/>
                    <a:pt x="9839" y="4578"/>
                  </a:cubicBezTo>
                  <a:cubicBezTo>
                    <a:pt x="9860" y="4513"/>
                    <a:pt x="9877" y="4447"/>
                    <a:pt x="9898" y="4381"/>
                  </a:cubicBezTo>
                  <a:cubicBezTo>
                    <a:pt x="10569" y="2591"/>
                    <a:pt x="9815" y="371"/>
                    <a:pt x="9635" y="0"/>
                  </a:cubicBezTo>
                  <a:lnTo>
                    <a:pt x="6408" y="1883"/>
                  </a:lnTo>
                  <a:lnTo>
                    <a:pt x="2450" y="1500"/>
                  </a:lnTo>
                  <a:close/>
                </a:path>
              </a:pathLst>
            </a:custGeom>
            <a:grpFill/>
            <a:ln w="9525">
              <a:solidFill>
                <a:schemeClr val="tx2">
                  <a:lumMod val="10000"/>
                  <a:lumOff val="90000"/>
                </a:schemeClr>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grpSp>
      <p:sp>
        <p:nvSpPr>
          <p:cNvPr id="94" name="Rectangle 286">
            <a:extLst>
              <a:ext uri="{FF2B5EF4-FFF2-40B4-BE49-F238E27FC236}">
                <a16:creationId xmlns:a16="http://schemas.microsoft.com/office/drawing/2014/main" id="{97B66DE4-F36A-44E9-99F8-1415E0C7A79F}"/>
              </a:ext>
            </a:extLst>
          </p:cNvPr>
          <p:cNvSpPr txBox="1">
            <a:spLocks noChangeArrowheads="1"/>
          </p:cNvSpPr>
          <p:nvPr>
            <p:custDataLst>
              <p:tags r:id="rId13"/>
            </p:custDataLst>
          </p:nvPr>
        </p:nvSpPr>
        <p:spPr bwMode="auto">
          <a:xfrm>
            <a:off x="4845340" y="4808966"/>
            <a:ext cx="1070689" cy="650814"/>
          </a:xfrm>
          <a:prstGeom prst="rect">
            <a:avLst/>
          </a:prstGeom>
          <a:solidFill>
            <a:schemeClr val="accent2"/>
          </a:solidFill>
          <a:ln>
            <a:noFill/>
          </a:ln>
          <a:effectLst/>
        </p:spPr>
        <p:txBody>
          <a:bodyPr vert="horz" wrap="square" lIns="0" tIns="0" rIns="0" bIns="73462"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Opvolg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acties</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na</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he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5" name="Rectangle 286">
            <a:extLst>
              <a:ext uri="{FF2B5EF4-FFF2-40B4-BE49-F238E27FC236}">
                <a16:creationId xmlns:a16="http://schemas.microsoft.com/office/drawing/2014/main" id="{5E789610-28A6-4179-BAB8-F35373CF8B13}"/>
              </a:ext>
            </a:extLst>
          </p:cNvPr>
          <p:cNvSpPr txBox="1">
            <a:spLocks noChangeArrowheads="1"/>
          </p:cNvSpPr>
          <p:nvPr>
            <p:custDataLst>
              <p:tags r:id="rId14"/>
            </p:custDataLst>
          </p:nvPr>
        </p:nvSpPr>
        <p:spPr bwMode="auto">
          <a:xfrm>
            <a:off x="3937147" y="3660373"/>
            <a:ext cx="1000584" cy="184666"/>
          </a:xfrm>
          <a:prstGeom prst="rect">
            <a:avLst/>
          </a:prstGeom>
          <a:solidFill>
            <a:schemeClr val="accent2"/>
          </a:solidFill>
          <a:ln>
            <a:noFill/>
          </a:ln>
          <a:effec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Waarborgen</a:t>
            </a:r>
          </a:p>
        </p:txBody>
      </p:sp>
      <p:sp>
        <p:nvSpPr>
          <p:cNvPr id="109" name="TextBox 108">
            <a:extLst>
              <a:ext uri="{FF2B5EF4-FFF2-40B4-BE49-F238E27FC236}">
                <a16:creationId xmlns:a16="http://schemas.microsoft.com/office/drawing/2014/main" id="{6087C001-7015-452A-A000-DF6A2CC5836F}"/>
              </a:ext>
            </a:extLst>
          </p:cNvPr>
          <p:cNvSpPr txBox="1">
            <a:spLocks/>
          </p:cNvSpPr>
          <p:nvPr/>
        </p:nvSpPr>
        <p:spPr>
          <a:xfrm>
            <a:off x="8491874" y="5093939"/>
            <a:ext cx="3145311" cy="1256375"/>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Voeren van het goede gesprek</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Echt gericht op de wensen van de medewerker (leren, ontwikkelen, contractgrootte)</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erdieping op contract wensen</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ervolgstappen</a:t>
            </a:r>
          </a:p>
        </p:txBody>
      </p:sp>
      <p:sp>
        <p:nvSpPr>
          <p:cNvPr id="117" name="TextBox 116">
            <a:extLst>
              <a:ext uri="{FF2B5EF4-FFF2-40B4-BE49-F238E27FC236}">
                <a16:creationId xmlns:a16="http://schemas.microsoft.com/office/drawing/2014/main" id="{7E15DA58-B49F-42FB-9259-5A2BD0EE0D6F}"/>
              </a:ext>
            </a:extLst>
          </p:cNvPr>
          <p:cNvSpPr txBox="1">
            <a:spLocks/>
          </p:cNvSpPr>
          <p:nvPr/>
        </p:nvSpPr>
        <p:spPr>
          <a:xfrm>
            <a:off x="7875423" y="1214110"/>
            <a:ext cx="3771428" cy="803579"/>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no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179466" marR="0" lvl="1" indent="-179466"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Rooster pilot</a:t>
            </a:r>
          </a:p>
          <a:p>
            <a:pPr marL="179466" marR="0" lvl="1" indent="-179466"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Jaarlijks moment</a:t>
            </a:r>
          </a:p>
          <a:p>
            <a:pPr marL="179466" marR="0" lvl="1" indent="-179466"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Arial"/>
              </a:rPr>
              <a:t>“Levensfase-moment”: in dienst treden, eerste kind, kinderen naar basisschool, etc.</a:t>
            </a:r>
          </a:p>
        </p:txBody>
      </p:sp>
      <p:sp>
        <p:nvSpPr>
          <p:cNvPr id="119" name="TextBox 118">
            <a:extLst>
              <a:ext uri="{FF2B5EF4-FFF2-40B4-BE49-F238E27FC236}">
                <a16:creationId xmlns:a16="http://schemas.microsoft.com/office/drawing/2014/main" id="{DE358641-4FB0-475F-8D6F-0A66C624FDDF}"/>
              </a:ext>
            </a:extLst>
          </p:cNvPr>
          <p:cNvSpPr txBox="1">
            <a:spLocks/>
          </p:cNvSpPr>
          <p:nvPr/>
        </p:nvSpPr>
        <p:spPr>
          <a:xfrm>
            <a:off x="8491875" y="2807089"/>
            <a:ext cx="3145311" cy="2179704"/>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Manager / HR / coaches: </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Uitnodigingsmail sturen met aanleiding, agenda, verwachtingen en doelen, achtergrond informatie, voorstel voor data, eventuele voorbereiding</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Begrijpen van profiel van de medewerker </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oorbereiden van gesprek (</a:t>
            </a:r>
            <a:r>
              <a:rPr kumimoji="0" lang="nl-NL" sz="1200" b="0" i="0" u="none" strike="noStrike" kern="1200" cap="none" spc="0" normalizeH="0" baseline="0" noProof="0" err="1">
                <a:ln>
                  <a:noFill/>
                </a:ln>
                <a:solidFill>
                  <a:srgbClr val="000000"/>
                </a:solidFill>
                <a:effectLst/>
                <a:uLnTx/>
                <a:uFillTx/>
                <a:latin typeface="Arial"/>
                <a:ea typeface="ＭＳ Ｐゴシック"/>
                <a:cs typeface="+mn-cs"/>
              </a:rPr>
              <a:t>ahv</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 leidraad)</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endParaRPr kumimoji="0" lang="nl-NL" sz="1200" b="1" i="0" u="none" strike="noStrike" kern="1200" cap="none" spc="0" normalizeH="0" baseline="0" noProof="0">
              <a:ln>
                <a:noFill/>
              </a:ln>
              <a:solidFill>
                <a:srgbClr val="000000"/>
              </a:solidFill>
              <a:effectLst/>
              <a:uLnTx/>
              <a:uFillTx/>
              <a:latin typeface="Arial"/>
              <a:ea typeface="ＭＳ Ｐゴシック"/>
              <a:cs typeface="+mn-cs"/>
            </a:endParaRPr>
          </a:p>
          <a:p>
            <a:pPr marL="0" marR="0" lvl="1" indent="0" algn="l" defTabSz="877533" rtl="0" eaLnBrk="1" fontAlgn="auto" latinLnBrk="0" hangingPunct="1">
              <a:lnSpc>
                <a:spcPct val="100000"/>
              </a:lnSpc>
              <a:spcBef>
                <a:spcPts val="0"/>
              </a:spcBef>
              <a:spcAft>
                <a:spcPts val="0"/>
              </a:spcAft>
              <a:buClr>
                <a:srgbClr val="000000"/>
              </a:buClr>
              <a:buSzPct val="100000"/>
              <a:buFont typeface="Arial" pitchFamily="34" charset="0"/>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Zorgmedewerkers:</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oorbereiden van gesprek (</a:t>
            </a:r>
            <a:r>
              <a:rPr kumimoji="0" lang="nl-NL" sz="1200" b="0" i="0" u="none" strike="noStrike" kern="1200" cap="none" spc="0" normalizeH="0" baseline="0" noProof="0" err="1">
                <a:ln>
                  <a:noFill/>
                </a:ln>
                <a:solidFill>
                  <a:srgbClr val="000000"/>
                </a:solidFill>
                <a:effectLst/>
                <a:uLnTx/>
                <a:uFillTx/>
                <a:latin typeface="Arial"/>
                <a:ea typeface="ＭＳ Ｐゴシック"/>
                <a:cs typeface="+mn-cs"/>
              </a:rPr>
              <a:t>ahv</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 uitnodigingsmail)</a:t>
            </a:r>
          </a:p>
        </p:txBody>
      </p:sp>
      <p:cxnSp>
        <p:nvCxnSpPr>
          <p:cNvPr id="128" name="Elbow Connector 127">
            <a:extLst>
              <a:ext uri="{FF2B5EF4-FFF2-40B4-BE49-F238E27FC236}">
                <a16:creationId xmlns:a16="http://schemas.microsoft.com/office/drawing/2014/main" id="{71D8E3F9-2AF7-415E-AFB3-F87FEA10FB5B}"/>
              </a:ext>
            </a:extLst>
          </p:cNvPr>
          <p:cNvCxnSpPr>
            <a:cxnSpLocks/>
            <a:stCxn id="109" idx="1"/>
            <a:endCxn id="83" idx="3"/>
          </p:cNvCxnSpPr>
          <p:nvPr/>
        </p:nvCxnSpPr>
        <p:spPr>
          <a:xfrm rot="10800000">
            <a:off x="7809282" y="4571763"/>
            <a:ext cx="682593" cy="1150364"/>
          </a:xfrm>
          <a:prstGeom prst="bentConnector3">
            <a:avLst>
              <a:gd name="adj1" fmla="val 50000"/>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33" name="Elbow Connector 132">
            <a:extLst>
              <a:ext uri="{FF2B5EF4-FFF2-40B4-BE49-F238E27FC236}">
                <a16:creationId xmlns:a16="http://schemas.microsoft.com/office/drawing/2014/main" id="{A47C893E-8674-4901-AD9F-110ED7DCEB47}"/>
              </a:ext>
            </a:extLst>
          </p:cNvPr>
          <p:cNvCxnSpPr>
            <a:cxnSpLocks/>
            <a:endCxn id="90" idx="0"/>
          </p:cNvCxnSpPr>
          <p:nvPr/>
        </p:nvCxnSpPr>
        <p:spPr>
          <a:xfrm rot="10800000" flipV="1">
            <a:off x="5032968" y="1373430"/>
            <a:ext cx="2842456" cy="640241"/>
          </a:xfrm>
          <a:prstGeom prst="bentConnector2">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37" name="Elbow Connector 136">
            <a:extLst>
              <a:ext uri="{FF2B5EF4-FFF2-40B4-BE49-F238E27FC236}">
                <a16:creationId xmlns:a16="http://schemas.microsoft.com/office/drawing/2014/main" id="{D9AADCC7-FDC2-46C4-B3C6-F1FD5AB354FF}"/>
              </a:ext>
            </a:extLst>
          </p:cNvPr>
          <p:cNvCxnSpPr>
            <a:cxnSpLocks/>
          </p:cNvCxnSpPr>
          <p:nvPr/>
        </p:nvCxnSpPr>
        <p:spPr>
          <a:xfrm rot="10800000" flipV="1">
            <a:off x="7786775" y="2898487"/>
            <a:ext cx="692448" cy="92808"/>
          </a:xfrm>
          <a:prstGeom prst="bentConnector3">
            <a:avLst>
              <a:gd name="adj1" fmla="val 50000"/>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0" name="TextBox 103">
            <a:extLst>
              <a:ext uri="{FF2B5EF4-FFF2-40B4-BE49-F238E27FC236}">
                <a16:creationId xmlns:a16="http://schemas.microsoft.com/office/drawing/2014/main" id="{D50C3D1F-316F-43DF-AB2B-BC05803FA047}"/>
              </a:ext>
            </a:extLst>
          </p:cNvPr>
          <p:cNvSpPr txBox="1"/>
          <p:nvPr/>
        </p:nvSpPr>
        <p:spPr>
          <a:xfrm>
            <a:off x="405599" y="4898355"/>
            <a:ext cx="3382328" cy="1810372"/>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r>
              <a:rPr lang="nl-NL"/>
              <a:t>Directe manager / HR / ...:</a:t>
            </a:r>
          </a:p>
          <a:p>
            <a:pPr lvl="1"/>
            <a:r>
              <a:rPr lang="nl-NL"/>
              <a:t>Terugkoppelen en in gang zetten van afspraken indien andere betrokken partijen hierbij moeten helpen</a:t>
            </a:r>
          </a:p>
          <a:p>
            <a:pPr lvl="1"/>
            <a:r>
              <a:rPr lang="nl-NL"/>
              <a:t>Gespreksverslag maken </a:t>
            </a:r>
          </a:p>
          <a:p>
            <a:pPr lvl="1"/>
            <a:endParaRPr lang="nl-NL"/>
          </a:p>
          <a:p>
            <a:r>
              <a:rPr lang="nl-NL"/>
              <a:t>Medewerkers</a:t>
            </a:r>
          </a:p>
          <a:p>
            <a:pPr lvl="1"/>
            <a:r>
              <a:rPr lang="nl-NL" i="1"/>
              <a:t>Aangeven als voorkeuren veranderd zijn na bezinking van gesprek</a:t>
            </a:r>
          </a:p>
        </p:txBody>
      </p:sp>
      <p:cxnSp>
        <p:nvCxnSpPr>
          <p:cNvPr id="31" name="Straight Arrow Connector 105">
            <a:extLst>
              <a:ext uri="{FF2B5EF4-FFF2-40B4-BE49-F238E27FC236}">
                <a16:creationId xmlns:a16="http://schemas.microsoft.com/office/drawing/2014/main" id="{ACDE2293-6BA7-4140-87B8-47D3FF4052CF}"/>
              </a:ext>
            </a:extLst>
          </p:cNvPr>
          <p:cNvCxnSpPr>
            <a:cxnSpLocks/>
            <a:stCxn id="30" idx="3"/>
          </p:cNvCxnSpPr>
          <p:nvPr/>
        </p:nvCxnSpPr>
        <p:spPr>
          <a:xfrm flipV="1">
            <a:off x="3787927" y="5093939"/>
            <a:ext cx="989260" cy="709602"/>
          </a:xfrm>
          <a:prstGeom prst="bentConnector3">
            <a:avLst>
              <a:gd name="adj1" fmla="val 72849"/>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9" name="TextBox 16">
            <a:extLst>
              <a:ext uri="{FF2B5EF4-FFF2-40B4-BE49-F238E27FC236}">
                <a16:creationId xmlns:a16="http://schemas.microsoft.com/office/drawing/2014/main" id="{C7C5B9C9-96C9-4AC8-9859-9FBFF2A83D40}"/>
              </a:ext>
            </a:extLst>
          </p:cNvPr>
          <p:cNvSpPr txBox="1"/>
          <p:nvPr/>
        </p:nvSpPr>
        <p:spPr>
          <a:xfrm>
            <a:off x="409387" y="2952153"/>
            <a:ext cx="3079139" cy="1810372"/>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r>
              <a:rPr lang="nl-NL" sz="1200" b="1"/>
              <a:t>Bestuurder / directie:</a:t>
            </a:r>
          </a:p>
          <a:p>
            <a:pPr lvl="1"/>
            <a:r>
              <a:rPr lang="nl-NL" sz="1200"/>
              <a:t>Status van de gevoerde gesprekken</a:t>
            </a:r>
          </a:p>
          <a:p>
            <a:pPr lvl="1"/>
            <a:r>
              <a:rPr lang="nl-NL" sz="1200"/>
              <a:t>Sturen op houden van gesprek </a:t>
            </a:r>
          </a:p>
          <a:p>
            <a:endParaRPr lang="nl-NL" sz="1200" b="1"/>
          </a:p>
          <a:p>
            <a:r>
              <a:rPr lang="nl-NL" sz="1200" b="1"/>
              <a:t>Managers / HR / ... : </a:t>
            </a:r>
            <a:endParaRPr lang="nl-NL" sz="1200"/>
          </a:p>
          <a:p>
            <a:pPr lvl="1"/>
            <a:r>
              <a:rPr lang="nl-NL" sz="1200"/>
              <a:t>Terugkoppelen status van goed gesprek</a:t>
            </a:r>
          </a:p>
          <a:p>
            <a:pPr lvl="1"/>
            <a:endParaRPr lang="nl-NL" sz="1200"/>
          </a:p>
          <a:p>
            <a:pPr marL="0" lvl="1" indent="0">
              <a:buNone/>
            </a:pPr>
            <a:r>
              <a:rPr lang="nl-NL" sz="1200" b="1"/>
              <a:t>Medewerkers</a:t>
            </a:r>
          </a:p>
          <a:p>
            <a:pPr lvl="1"/>
            <a:r>
              <a:rPr lang="nl-NL" sz="1200"/>
              <a:t>Feedback geven over gesprek</a:t>
            </a:r>
          </a:p>
        </p:txBody>
      </p:sp>
      <p:cxnSp>
        <p:nvCxnSpPr>
          <p:cNvPr id="40" name="Straight Arrow Connector 102">
            <a:extLst>
              <a:ext uri="{FF2B5EF4-FFF2-40B4-BE49-F238E27FC236}">
                <a16:creationId xmlns:a16="http://schemas.microsoft.com/office/drawing/2014/main" id="{E1C11815-1A77-4BC7-89E2-325830904C72}"/>
              </a:ext>
            </a:extLst>
          </p:cNvPr>
          <p:cNvCxnSpPr>
            <a:cxnSpLocks/>
            <a:stCxn id="39" idx="3"/>
            <a:endCxn id="95" idx="1"/>
          </p:cNvCxnSpPr>
          <p:nvPr/>
        </p:nvCxnSpPr>
        <p:spPr>
          <a:xfrm flipV="1">
            <a:off x="3488526" y="3752706"/>
            <a:ext cx="448621" cy="104633"/>
          </a:xfrm>
          <a:prstGeom prst="straightConnector1">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954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9C351112-D007-4C87-8AA4-0DDABAE2825D}"/>
              </a:ext>
            </a:extLst>
          </p:cNvPr>
          <p:cNvSpPr/>
          <p:nvPr/>
        </p:nvSpPr>
        <p:spPr>
          <a:xfrm>
            <a:off x="253389" y="1112704"/>
            <a:ext cx="11622794" cy="5519450"/>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dirty="0" err="1">
              <a:solidFill>
                <a:schemeClr val="tx1"/>
              </a:solidFill>
            </a:endParaRPr>
          </a:p>
        </p:txBody>
      </p:sp>
      <p:sp>
        <p:nvSpPr>
          <p:cNvPr id="2" name="Titel 1">
            <a:extLst>
              <a:ext uri="{FF2B5EF4-FFF2-40B4-BE49-F238E27FC236}">
                <a16:creationId xmlns:a16="http://schemas.microsoft.com/office/drawing/2014/main" id="{823E0866-AA68-46CF-997F-8715BBDE7BB0}"/>
              </a:ext>
            </a:extLst>
          </p:cNvPr>
          <p:cNvSpPr>
            <a:spLocks noGrp="1"/>
          </p:cNvSpPr>
          <p:nvPr>
            <p:ph type="title"/>
          </p:nvPr>
        </p:nvSpPr>
        <p:spPr/>
        <p:txBody>
          <a:bodyPr/>
          <a:lstStyle/>
          <a:p>
            <a:r>
              <a:rPr lang="nl-NL" dirty="0"/>
              <a:t>Wat zijn de ervaringen vanuit de eerste twee testgesprekken?</a:t>
            </a:r>
          </a:p>
        </p:txBody>
      </p:sp>
      <p:sp>
        <p:nvSpPr>
          <p:cNvPr id="4" name="Tekstvak 3">
            <a:extLst>
              <a:ext uri="{FF2B5EF4-FFF2-40B4-BE49-F238E27FC236}">
                <a16:creationId xmlns:a16="http://schemas.microsoft.com/office/drawing/2014/main" id="{EB84AD39-40B2-49D1-8306-D778C352F7CE}"/>
              </a:ext>
            </a:extLst>
          </p:cNvPr>
          <p:cNvSpPr txBox="1"/>
          <p:nvPr/>
        </p:nvSpPr>
        <p:spPr>
          <a:xfrm>
            <a:off x="554735" y="4932673"/>
            <a:ext cx="4942902" cy="16619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50" b="1" u="sng" dirty="0">
                <a:solidFill>
                  <a:schemeClr val="tx2"/>
                </a:solidFill>
              </a:rPr>
              <a:t>Uitnodiging en leidraad</a:t>
            </a:r>
          </a:p>
          <a:p>
            <a:pPr marL="285750" indent="-285750">
              <a:buFontTx/>
              <a:buChar char="-"/>
            </a:pPr>
            <a:r>
              <a:rPr lang="nl-NL" sz="1350" b="1" dirty="0">
                <a:solidFill>
                  <a:schemeClr val="tx2"/>
                </a:solidFill>
              </a:rPr>
              <a:t>Uitnodiging was duidelijk, </a:t>
            </a:r>
            <a:r>
              <a:rPr lang="nl-NL" sz="1350" dirty="0">
                <a:solidFill>
                  <a:schemeClr val="tx2"/>
                </a:solidFill>
              </a:rPr>
              <a:t>maar veel in combinatie met Value Case en leidraad. Uitnodiging + </a:t>
            </a:r>
            <a:r>
              <a:rPr lang="nl-NL" sz="1350" dirty="0" err="1">
                <a:solidFill>
                  <a:schemeClr val="tx2"/>
                </a:solidFill>
              </a:rPr>
              <a:t>one</a:t>
            </a:r>
            <a:r>
              <a:rPr lang="nl-NL" sz="1350" dirty="0">
                <a:solidFill>
                  <a:schemeClr val="tx2"/>
                </a:solidFill>
              </a:rPr>
              <a:t>-pager is voldoende. Komt</a:t>
            </a:r>
            <a:r>
              <a:rPr lang="nl-NL" sz="1350" b="1" dirty="0">
                <a:solidFill>
                  <a:schemeClr val="tx2"/>
                </a:solidFill>
              </a:rPr>
              <a:t> soms betuttelend </a:t>
            </a:r>
            <a:r>
              <a:rPr lang="nl-NL" sz="1350" dirty="0">
                <a:solidFill>
                  <a:schemeClr val="tx2"/>
                </a:solidFill>
              </a:rPr>
              <a:t>over.</a:t>
            </a:r>
          </a:p>
          <a:p>
            <a:pPr marL="285750" indent="-285750">
              <a:buFontTx/>
              <a:buChar char="-"/>
            </a:pPr>
            <a:r>
              <a:rPr lang="nl-NL" sz="1350" dirty="0">
                <a:solidFill>
                  <a:schemeClr val="tx2"/>
                </a:solidFill>
              </a:rPr>
              <a:t>Leidraad: </a:t>
            </a:r>
            <a:r>
              <a:rPr lang="nl-NL" sz="1350" b="1" dirty="0">
                <a:solidFill>
                  <a:schemeClr val="tx2"/>
                </a:solidFill>
              </a:rPr>
              <a:t>juiste onderwerpen </a:t>
            </a:r>
            <a:r>
              <a:rPr lang="nl-NL" sz="1350" dirty="0">
                <a:solidFill>
                  <a:schemeClr val="tx2"/>
                </a:solidFill>
              </a:rPr>
              <a:t>worden besproken. Goed voor testgesprekken, te uitgebreid voor jaargesprek. Vraag over of contractuitbreiding besproken is met partner voelt betuttelend.</a:t>
            </a:r>
          </a:p>
        </p:txBody>
      </p:sp>
      <p:sp>
        <p:nvSpPr>
          <p:cNvPr id="8" name="Tekstvak 7">
            <a:extLst>
              <a:ext uri="{FF2B5EF4-FFF2-40B4-BE49-F238E27FC236}">
                <a16:creationId xmlns:a16="http://schemas.microsoft.com/office/drawing/2014/main" id="{E2B8C03C-9F16-4BE2-9AC7-A1F7408371EE}"/>
              </a:ext>
            </a:extLst>
          </p:cNvPr>
          <p:cNvSpPr txBox="1"/>
          <p:nvPr/>
        </p:nvSpPr>
        <p:spPr>
          <a:xfrm>
            <a:off x="554736" y="1329474"/>
            <a:ext cx="5099126" cy="10387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50" b="1" u="sng" dirty="0">
                <a:solidFill>
                  <a:schemeClr val="tx2"/>
                </a:solidFill>
              </a:rPr>
              <a:t>Voorwaarden voor groter contract</a:t>
            </a:r>
          </a:p>
          <a:p>
            <a:pPr marL="285750" indent="-285750">
              <a:buFontTx/>
              <a:buChar char="-"/>
            </a:pPr>
            <a:r>
              <a:rPr lang="nl-NL" sz="1350" b="1" dirty="0">
                <a:solidFill>
                  <a:schemeClr val="tx2"/>
                </a:solidFill>
              </a:rPr>
              <a:t>Gezond rooster</a:t>
            </a:r>
            <a:r>
              <a:rPr lang="nl-NL" sz="1350" dirty="0">
                <a:solidFill>
                  <a:schemeClr val="tx2"/>
                </a:solidFill>
              </a:rPr>
              <a:t>: geen gaten kaas of alleen maar korte diensten</a:t>
            </a:r>
          </a:p>
          <a:p>
            <a:pPr marL="285750" indent="-285750">
              <a:buFontTx/>
              <a:buChar char="-"/>
            </a:pPr>
            <a:r>
              <a:rPr lang="nl-NL" sz="1350" b="1" dirty="0">
                <a:solidFill>
                  <a:schemeClr val="tx2"/>
                </a:solidFill>
              </a:rPr>
              <a:t>Ook op andere woningen </a:t>
            </a:r>
            <a:r>
              <a:rPr lang="nl-NL" sz="1350" dirty="0">
                <a:solidFill>
                  <a:schemeClr val="tx2"/>
                </a:solidFill>
              </a:rPr>
              <a:t>of dagbestedingen maar niet op </a:t>
            </a:r>
            <a:r>
              <a:rPr lang="nl-NL" sz="1350" dirty="0" err="1">
                <a:solidFill>
                  <a:schemeClr val="tx2"/>
                </a:solidFill>
              </a:rPr>
              <a:t>flexbasis</a:t>
            </a:r>
            <a:r>
              <a:rPr lang="nl-NL" sz="1350" dirty="0">
                <a:solidFill>
                  <a:schemeClr val="tx2"/>
                </a:solidFill>
              </a:rPr>
              <a:t>, en huidige woning als vaste woning.</a:t>
            </a:r>
          </a:p>
        </p:txBody>
      </p:sp>
      <p:sp>
        <p:nvSpPr>
          <p:cNvPr id="9" name="Tekstvak 8">
            <a:extLst>
              <a:ext uri="{FF2B5EF4-FFF2-40B4-BE49-F238E27FC236}">
                <a16:creationId xmlns:a16="http://schemas.microsoft.com/office/drawing/2014/main" id="{786F02F5-AA34-4594-AA37-1512B493AB58}"/>
              </a:ext>
            </a:extLst>
          </p:cNvPr>
          <p:cNvSpPr txBox="1"/>
          <p:nvPr/>
        </p:nvSpPr>
        <p:spPr>
          <a:xfrm>
            <a:off x="554734" y="2536382"/>
            <a:ext cx="5476195" cy="22852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50" b="1" u="sng" dirty="0">
                <a:solidFill>
                  <a:schemeClr val="tx2"/>
                </a:solidFill>
              </a:rPr>
              <a:t>Overtuigingen/belemmeringen</a:t>
            </a:r>
          </a:p>
          <a:p>
            <a:pPr marL="285750" indent="-285750">
              <a:buFontTx/>
              <a:buChar char="-"/>
            </a:pPr>
            <a:r>
              <a:rPr lang="nl-NL" sz="1350" dirty="0">
                <a:solidFill>
                  <a:schemeClr val="tx2"/>
                </a:solidFill>
              </a:rPr>
              <a:t>Contractuitbreiding is </a:t>
            </a:r>
            <a:r>
              <a:rPr lang="nl-NL" sz="1350" b="1" dirty="0">
                <a:solidFill>
                  <a:schemeClr val="tx2"/>
                </a:solidFill>
              </a:rPr>
              <a:t>niet mogelijk op dezelfde woning</a:t>
            </a:r>
            <a:r>
              <a:rPr lang="nl-NL" sz="1350" dirty="0">
                <a:solidFill>
                  <a:schemeClr val="tx2"/>
                </a:solidFill>
              </a:rPr>
              <a:t> met gezond rooster</a:t>
            </a:r>
          </a:p>
          <a:p>
            <a:pPr marL="285750" indent="-285750">
              <a:buFontTx/>
              <a:buChar char="-"/>
            </a:pPr>
            <a:r>
              <a:rPr lang="nl-NL" sz="1350" dirty="0">
                <a:solidFill>
                  <a:schemeClr val="tx2"/>
                </a:solidFill>
              </a:rPr>
              <a:t>Extra taken/afspraken kunnen niet binnen de contracturen</a:t>
            </a:r>
          </a:p>
          <a:p>
            <a:pPr marL="285750" indent="-285750">
              <a:buFontTx/>
              <a:buChar char="-"/>
            </a:pPr>
            <a:r>
              <a:rPr lang="nl-NL" sz="1350" dirty="0">
                <a:solidFill>
                  <a:schemeClr val="tx2"/>
                </a:solidFill>
              </a:rPr>
              <a:t>Meerdere vragen </a:t>
            </a:r>
            <a:r>
              <a:rPr lang="nl-NL" sz="1350" dirty="0" err="1">
                <a:solidFill>
                  <a:schemeClr val="tx2"/>
                </a:solidFill>
              </a:rPr>
              <a:t>mbt</a:t>
            </a:r>
            <a:r>
              <a:rPr lang="nl-NL" sz="1350" dirty="0">
                <a:solidFill>
                  <a:schemeClr val="tx2"/>
                </a:solidFill>
              </a:rPr>
              <a:t> </a:t>
            </a:r>
            <a:r>
              <a:rPr lang="nl-NL" sz="1350" b="1" dirty="0">
                <a:solidFill>
                  <a:schemeClr val="tx2"/>
                </a:solidFill>
              </a:rPr>
              <a:t>roosteren</a:t>
            </a:r>
            <a:r>
              <a:rPr lang="nl-NL" sz="1350" dirty="0">
                <a:solidFill>
                  <a:schemeClr val="tx2"/>
                </a:solidFill>
              </a:rPr>
              <a:t> en integraal werken: hoe stem je de twee roosters samen af </a:t>
            </a:r>
            <a:r>
              <a:rPr lang="nl-NL" sz="1350" dirty="0" err="1">
                <a:solidFill>
                  <a:schemeClr val="tx2"/>
                </a:solidFill>
              </a:rPr>
              <a:t>bijv</a:t>
            </a:r>
            <a:r>
              <a:rPr lang="nl-NL" sz="1350" dirty="0">
                <a:solidFill>
                  <a:schemeClr val="tx2"/>
                </a:solidFill>
              </a:rPr>
              <a:t> qua weekenddiensten, feestdagen</a:t>
            </a:r>
          </a:p>
          <a:p>
            <a:pPr marL="285750" indent="-285750">
              <a:buFontTx/>
              <a:buChar char="-"/>
            </a:pPr>
            <a:r>
              <a:rPr lang="nl-NL" sz="1350" b="1" dirty="0">
                <a:solidFill>
                  <a:schemeClr val="tx2"/>
                </a:solidFill>
              </a:rPr>
              <a:t>Kwijtraken van vrijheid</a:t>
            </a:r>
            <a:r>
              <a:rPr lang="nl-NL" sz="1350" dirty="0">
                <a:solidFill>
                  <a:schemeClr val="tx2"/>
                </a:solidFill>
              </a:rPr>
              <a:t>, niet meer ja kunnen zeggen op het opvullen van diensten. De overtuiging is dat diensten ruilen niet hetzelfde </a:t>
            </a:r>
            <a:r>
              <a:rPr lang="nl-NL" sz="1350" dirty="0" err="1">
                <a:solidFill>
                  <a:schemeClr val="tx2"/>
                </a:solidFill>
              </a:rPr>
              <a:t>opleverd</a:t>
            </a:r>
            <a:r>
              <a:rPr lang="nl-NL" sz="1350" dirty="0">
                <a:solidFill>
                  <a:schemeClr val="tx2"/>
                </a:solidFill>
              </a:rPr>
              <a:t> dan diensten oppakken</a:t>
            </a:r>
          </a:p>
          <a:p>
            <a:pPr marL="285750" indent="-285750">
              <a:buFontTx/>
              <a:buChar char="-"/>
            </a:pPr>
            <a:r>
              <a:rPr lang="nl-NL" sz="1350" dirty="0">
                <a:solidFill>
                  <a:schemeClr val="tx2"/>
                </a:solidFill>
              </a:rPr>
              <a:t>Roosteren tussen meerdere teams zorgt </a:t>
            </a:r>
            <a:r>
              <a:rPr lang="nl-NL" sz="1350" b="1" dirty="0">
                <a:solidFill>
                  <a:schemeClr val="tx2"/>
                </a:solidFill>
              </a:rPr>
              <a:t>voor p</a:t>
            </a:r>
            <a:r>
              <a:rPr lang="nl-NL" sz="1350" dirty="0">
                <a:solidFill>
                  <a:schemeClr val="tx2"/>
                </a:solidFill>
              </a:rPr>
              <a:t>roblemen met weekenddiensten en feestdagen</a:t>
            </a:r>
          </a:p>
        </p:txBody>
      </p:sp>
      <p:sp>
        <p:nvSpPr>
          <p:cNvPr id="10" name="Tekstvak 9">
            <a:extLst>
              <a:ext uri="{FF2B5EF4-FFF2-40B4-BE49-F238E27FC236}">
                <a16:creationId xmlns:a16="http://schemas.microsoft.com/office/drawing/2014/main" id="{89BA31B8-2E21-4D44-83EE-E0810E4392F8}"/>
              </a:ext>
            </a:extLst>
          </p:cNvPr>
          <p:cNvSpPr txBox="1"/>
          <p:nvPr/>
        </p:nvSpPr>
        <p:spPr>
          <a:xfrm>
            <a:off x="6538138" y="3195650"/>
            <a:ext cx="5099126" cy="20774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50" b="1" u="sng" dirty="0">
                <a:solidFill>
                  <a:schemeClr val="tx2"/>
                </a:solidFill>
              </a:rPr>
              <a:t>Overige inzichten</a:t>
            </a:r>
          </a:p>
          <a:p>
            <a:pPr marL="285750" indent="-285750">
              <a:buFontTx/>
              <a:buChar char="-"/>
            </a:pPr>
            <a:r>
              <a:rPr lang="nl-NL" sz="1350" b="1" dirty="0">
                <a:solidFill>
                  <a:schemeClr val="tx2"/>
                </a:solidFill>
              </a:rPr>
              <a:t>Jaargesprek is geschikt voor het kort bespreken </a:t>
            </a:r>
            <a:r>
              <a:rPr lang="nl-NL" sz="1350" dirty="0">
                <a:solidFill>
                  <a:schemeClr val="tx2"/>
                </a:solidFill>
              </a:rPr>
              <a:t>van contractuitbreiding. Een uitvoerig gesprek over wensen en overtuigingen kost meer tijd en voer je liever apart.</a:t>
            </a:r>
          </a:p>
          <a:p>
            <a:pPr marL="285750" indent="-285750">
              <a:buFontTx/>
              <a:buChar char="-"/>
            </a:pPr>
            <a:r>
              <a:rPr lang="nl-NL" sz="1350" b="1" dirty="0">
                <a:solidFill>
                  <a:schemeClr val="tx2"/>
                </a:solidFill>
              </a:rPr>
              <a:t>Dialoogsessie voor </a:t>
            </a:r>
            <a:r>
              <a:rPr lang="nl-NL" sz="1350" b="1" dirty="0" err="1">
                <a:solidFill>
                  <a:schemeClr val="tx2"/>
                </a:solidFill>
              </a:rPr>
              <a:t>mdw</a:t>
            </a:r>
            <a:r>
              <a:rPr lang="nl-NL" sz="1350" b="1" dirty="0">
                <a:solidFill>
                  <a:schemeClr val="tx2"/>
                </a:solidFill>
              </a:rPr>
              <a:t> voorafgaand aan GG kan heel waardevol zijn</a:t>
            </a:r>
            <a:r>
              <a:rPr lang="nl-NL" sz="1350" dirty="0">
                <a:solidFill>
                  <a:schemeClr val="tx2"/>
                </a:solidFill>
              </a:rPr>
              <a:t>, en </a:t>
            </a:r>
            <a:r>
              <a:rPr lang="nl-NL" sz="1350" dirty="0" err="1">
                <a:solidFill>
                  <a:schemeClr val="tx2"/>
                </a:solidFill>
              </a:rPr>
              <a:t>mdw</a:t>
            </a:r>
            <a:r>
              <a:rPr lang="nl-NL" sz="1350" dirty="0">
                <a:solidFill>
                  <a:schemeClr val="tx2"/>
                </a:solidFill>
              </a:rPr>
              <a:t> al aan het denken zetten</a:t>
            </a:r>
          </a:p>
          <a:p>
            <a:pPr marL="285750" indent="-285750">
              <a:buFontTx/>
              <a:buChar char="-"/>
            </a:pPr>
            <a:r>
              <a:rPr lang="nl-NL" sz="1350" dirty="0">
                <a:solidFill>
                  <a:schemeClr val="tx2"/>
                </a:solidFill>
              </a:rPr>
              <a:t>Het GG is er om de </a:t>
            </a:r>
            <a:r>
              <a:rPr lang="nl-NL" sz="1350" b="1" dirty="0">
                <a:solidFill>
                  <a:schemeClr val="tx2"/>
                </a:solidFill>
              </a:rPr>
              <a:t>wensen en overtuigingen bij </a:t>
            </a:r>
            <a:r>
              <a:rPr lang="nl-NL" sz="1350" b="1" dirty="0" err="1">
                <a:solidFill>
                  <a:schemeClr val="tx2"/>
                </a:solidFill>
              </a:rPr>
              <a:t>mdw</a:t>
            </a:r>
            <a:r>
              <a:rPr lang="nl-NL" sz="1350" b="1" dirty="0">
                <a:solidFill>
                  <a:schemeClr val="tx2"/>
                </a:solidFill>
              </a:rPr>
              <a:t> te bespreken</a:t>
            </a:r>
            <a:r>
              <a:rPr lang="nl-NL" sz="1350" dirty="0">
                <a:solidFill>
                  <a:schemeClr val="tx2"/>
                </a:solidFill>
              </a:rPr>
              <a:t>, maar hoe gaan we om met overtuigingen van managers? Zijn de overtuigingen fabels of feiten? Wat is er nodig voor het wegnemen van </a:t>
            </a:r>
            <a:r>
              <a:rPr lang="nl-NL" sz="1350" b="1" dirty="0">
                <a:solidFill>
                  <a:schemeClr val="tx2"/>
                </a:solidFill>
              </a:rPr>
              <a:t>overtuigingen bij managers</a:t>
            </a:r>
            <a:r>
              <a:rPr lang="nl-NL" sz="1350" dirty="0">
                <a:solidFill>
                  <a:schemeClr val="tx2"/>
                </a:solidFill>
              </a:rPr>
              <a:t>?</a:t>
            </a:r>
          </a:p>
        </p:txBody>
      </p:sp>
      <p:sp>
        <p:nvSpPr>
          <p:cNvPr id="11" name="Tekstvak 10">
            <a:extLst>
              <a:ext uri="{FF2B5EF4-FFF2-40B4-BE49-F238E27FC236}">
                <a16:creationId xmlns:a16="http://schemas.microsoft.com/office/drawing/2014/main" id="{D164EE6F-A4F1-4CCF-A166-29691B643CCA}"/>
              </a:ext>
            </a:extLst>
          </p:cNvPr>
          <p:cNvSpPr txBox="1"/>
          <p:nvPr/>
        </p:nvSpPr>
        <p:spPr>
          <a:xfrm>
            <a:off x="6538138" y="1325907"/>
            <a:ext cx="4942902" cy="1869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50" b="1" u="sng" dirty="0">
                <a:solidFill>
                  <a:schemeClr val="tx2"/>
                </a:solidFill>
              </a:rPr>
              <a:t>Opbrengst eerste twee testgespreken</a:t>
            </a:r>
          </a:p>
          <a:p>
            <a:pPr marL="285750" indent="-285750">
              <a:buFontTx/>
              <a:buChar char="-"/>
            </a:pPr>
            <a:r>
              <a:rPr lang="nl-NL" sz="1350" dirty="0" err="1">
                <a:solidFill>
                  <a:schemeClr val="tx2"/>
                </a:solidFill>
              </a:rPr>
              <a:t>Één</a:t>
            </a:r>
            <a:r>
              <a:rPr lang="nl-NL" sz="1350" dirty="0">
                <a:solidFill>
                  <a:schemeClr val="tx2"/>
                </a:solidFill>
              </a:rPr>
              <a:t> medewerker gaat per oktober 6 uur meer werken en zou onder bepaalde voorwaarden ook wel 8-10uur meer willen werken</a:t>
            </a:r>
          </a:p>
          <a:p>
            <a:pPr marL="285750" indent="-285750">
              <a:buFontTx/>
              <a:buChar char="-"/>
            </a:pPr>
            <a:r>
              <a:rPr lang="nl-NL" sz="1350" dirty="0">
                <a:solidFill>
                  <a:schemeClr val="tx2"/>
                </a:solidFill>
              </a:rPr>
              <a:t>Andere medewerker stond niet open voor contractuitbreiding, maar is door het goede gesprek wel aan het denken gezet. Onder bepaalde voorwaarden zou </a:t>
            </a:r>
            <a:r>
              <a:rPr lang="nl-NL" sz="1350" dirty="0" err="1">
                <a:solidFill>
                  <a:schemeClr val="tx2"/>
                </a:solidFill>
              </a:rPr>
              <a:t>mw</a:t>
            </a:r>
            <a:r>
              <a:rPr lang="nl-NL" sz="1350" dirty="0">
                <a:solidFill>
                  <a:schemeClr val="tx2"/>
                </a:solidFill>
              </a:rPr>
              <a:t> wel meer willen werken</a:t>
            </a:r>
          </a:p>
          <a:p>
            <a:endParaRPr lang="nl-NL" sz="1350" dirty="0">
              <a:solidFill>
                <a:schemeClr val="tx2"/>
              </a:solidFill>
            </a:endParaRPr>
          </a:p>
        </p:txBody>
      </p:sp>
    </p:spTree>
    <p:extLst>
      <p:ext uri="{BB962C8B-B14F-4D97-AF65-F5344CB8AC3E}">
        <p14:creationId xmlns:p14="http://schemas.microsoft.com/office/powerpoint/2010/main" val="1296997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DFB48969-F6E9-48AB-B865-73D631630220}"/>
              </a:ext>
            </a:extLst>
          </p:cNvPr>
          <p:cNvSpPr/>
          <p:nvPr/>
        </p:nvSpPr>
        <p:spPr>
          <a:xfrm>
            <a:off x="3734036" y="1121192"/>
            <a:ext cx="7903228" cy="5376231"/>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err="1">
              <a:solidFill>
                <a:schemeClr val="tx1"/>
              </a:solidFill>
            </a:endParaRPr>
          </a:p>
        </p:txBody>
      </p:sp>
      <p:sp>
        <p:nvSpPr>
          <p:cNvPr id="3" name="Tekstvak 2">
            <a:extLst>
              <a:ext uri="{FF2B5EF4-FFF2-40B4-BE49-F238E27FC236}">
                <a16:creationId xmlns:a16="http://schemas.microsoft.com/office/drawing/2014/main" id="{D5DC107F-CD54-417B-950F-42EF4BEB9297}"/>
              </a:ext>
            </a:extLst>
          </p:cNvPr>
          <p:cNvSpPr txBox="1"/>
          <p:nvPr/>
        </p:nvSpPr>
        <p:spPr>
          <a:xfrm>
            <a:off x="3825475" y="3377239"/>
            <a:ext cx="7687151" cy="899170"/>
          </a:xfrm>
          <a:prstGeom prst="rect">
            <a:avLst/>
          </a:prstGeom>
          <a:noFill/>
          <a:ln w="19050">
            <a:noFill/>
            <a:miter lim="800000"/>
            <a:headEnd/>
            <a:tailEnd/>
          </a:ln>
          <a:effectLst/>
        </p:spPr>
        <p:txBody>
          <a:bodyPr vert="horz" wrap="square" lIns="143998" tIns="72007" rIns="72007" bIns="72007" numCol="1" rtlCol="0" anchor="ctr" anchorCtr="0" compatLnSpc="1">
            <a:prstTxWarp prst="textNoShape">
              <a:avLst/>
            </a:prstTxWarp>
            <a:noAutofit/>
          </a:bodyPr>
          <a:lstStyle/>
          <a:p>
            <a:pPr marL="291465" indent="-291465">
              <a:spcBef>
                <a:spcPts val="300"/>
              </a:spcBef>
              <a:buFont typeface="Wingdings" panose="05000000000000000000" pitchFamily="2" charset="2"/>
              <a:buChar char="Ø"/>
            </a:pPr>
            <a:r>
              <a:rPr lang="nl-NL" sz="1800">
                <a:solidFill>
                  <a:schemeClr val="accent4"/>
                </a:solidFill>
                <a:cs typeface="Arial"/>
              </a:rPr>
              <a:t>Er liggen </a:t>
            </a:r>
            <a:r>
              <a:rPr lang="nl-NL" sz="1800" b="1">
                <a:solidFill>
                  <a:schemeClr val="accent4"/>
                </a:solidFill>
                <a:cs typeface="Arial"/>
              </a:rPr>
              <a:t>overtuigingen bij de managers </a:t>
            </a:r>
            <a:r>
              <a:rPr lang="nl-NL" sz="1800">
                <a:solidFill>
                  <a:schemeClr val="accent4"/>
                </a:solidFill>
                <a:cs typeface="Arial"/>
              </a:rPr>
              <a:t>over grotere contracten, </a:t>
            </a:r>
            <a:r>
              <a:rPr lang="nl-NL" sz="1800" err="1">
                <a:solidFill>
                  <a:schemeClr val="accent4"/>
                </a:solidFill>
                <a:cs typeface="Arial"/>
              </a:rPr>
              <a:t>bijv</a:t>
            </a:r>
            <a:r>
              <a:rPr lang="nl-NL" sz="1800">
                <a:solidFill>
                  <a:schemeClr val="accent4"/>
                </a:solidFill>
                <a:cs typeface="Arial"/>
              </a:rPr>
              <a:t> over flexibiliteit van roosteren</a:t>
            </a:r>
          </a:p>
          <a:p>
            <a:pPr>
              <a:spcBef>
                <a:spcPts val="300"/>
              </a:spcBef>
            </a:pPr>
            <a:endParaRPr lang="nl-NL" sz="1800">
              <a:solidFill>
                <a:schemeClr val="accent4"/>
              </a:solidFill>
              <a:cs typeface="Arial"/>
            </a:endParaRPr>
          </a:p>
          <a:p>
            <a:pPr marL="291465" indent="-291465">
              <a:spcBef>
                <a:spcPts val="300"/>
              </a:spcBef>
              <a:buFont typeface="Wingdings" panose="05000000000000000000" pitchFamily="2" charset="2"/>
              <a:buChar char="Ø"/>
            </a:pPr>
            <a:r>
              <a:rPr lang="nl-NL" sz="1800">
                <a:solidFill>
                  <a:schemeClr val="accent4"/>
                </a:solidFill>
                <a:cs typeface="Arial"/>
              </a:rPr>
              <a:t>40% van de medewerkers wil meer uren werken, maar </a:t>
            </a:r>
            <a:r>
              <a:rPr lang="nl-NL" sz="1800" b="1">
                <a:solidFill>
                  <a:schemeClr val="accent4"/>
                </a:solidFill>
                <a:cs typeface="Arial"/>
              </a:rPr>
              <a:t>zijn niet zelf het gesprek aangegaan</a:t>
            </a:r>
            <a:r>
              <a:rPr lang="nl-NL" sz="1800">
                <a:solidFill>
                  <a:schemeClr val="accent4"/>
                </a:solidFill>
                <a:cs typeface="Arial"/>
              </a:rPr>
              <a:t> met managers</a:t>
            </a:r>
          </a:p>
          <a:p>
            <a:pPr>
              <a:spcBef>
                <a:spcPts val="300"/>
              </a:spcBef>
            </a:pPr>
            <a:endParaRPr lang="nl-NL" sz="1800">
              <a:solidFill>
                <a:schemeClr val="accent4"/>
              </a:solidFill>
              <a:cs typeface="Arial"/>
            </a:endParaRPr>
          </a:p>
          <a:p>
            <a:pPr marL="291465" indent="-291465">
              <a:spcBef>
                <a:spcPts val="300"/>
              </a:spcBef>
              <a:buFont typeface="Wingdings" panose="05000000000000000000" pitchFamily="2" charset="2"/>
              <a:buChar char="Ø"/>
            </a:pPr>
            <a:r>
              <a:rPr lang="nl-NL" sz="1800">
                <a:solidFill>
                  <a:schemeClr val="accent4"/>
                </a:solidFill>
                <a:cs typeface="Arial"/>
              </a:rPr>
              <a:t>De aanname is dat het gesprek wel plaats vindt, maar helft van de medewerkers geeft aan dat ze </a:t>
            </a:r>
            <a:r>
              <a:rPr lang="nl-NL" sz="1800" b="1">
                <a:solidFill>
                  <a:schemeClr val="accent4"/>
                </a:solidFill>
                <a:cs typeface="Arial"/>
              </a:rPr>
              <a:t>geen gesprek over contractuitbreiding </a:t>
            </a:r>
            <a:r>
              <a:rPr lang="nl-NL" sz="1800">
                <a:solidFill>
                  <a:schemeClr val="accent4"/>
                </a:solidFill>
                <a:cs typeface="Arial"/>
              </a:rPr>
              <a:t>hebben</a:t>
            </a:r>
          </a:p>
          <a:p>
            <a:pPr>
              <a:spcBef>
                <a:spcPts val="300"/>
              </a:spcBef>
            </a:pPr>
            <a:endParaRPr lang="nl-NL" sz="1800">
              <a:solidFill>
                <a:schemeClr val="accent4"/>
              </a:solidFill>
              <a:cs typeface="Arial"/>
            </a:endParaRPr>
          </a:p>
          <a:p>
            <a:pPr marL="291465" indent="-291465">
              <a:spcBef>
                <a:spcPts val="300"/>
              </a:spcBef>
              <a:buFont typeface="Wingdings" panose="05000000000000000000" pitchFamily="2" charset="2"/>
              <a:buChar char="Ø"/>
            </a:pPr>
            <a:r>
              <a:rPr lang="nl-NL" sz="1800" b="1">
                <a:solidFill>
                  <a:schemeClr val="accent4"/>
                </a:solidFill>
                <a:cs typeface="Arial"/>
              </a:rPr>
              <a:t>HR is de stabiele factor voor de jaarlijkse gesprekken </a:t>
            </a:r>
            <a:r>
              <a:rPr lang="nl-NL" sz="1800">
                <a:solidFill>
                  <a:schemeClr val="accent4"/>
                </a:solidFill>
                <a:cs typeface="Arial"/>
              </a:rPr>
              <a:t>en wat daar besproken wordt</a:t>
            </a:r>
          </a:p>
          <a:p>
            <a:pPr>
              <a:spcBef>
                <a:spcPts val="300"/>
              </a:spcBef>
            </a:pPr>
            <a:endParaRPr lang="nl-NL" sz="1800">
              <a:solidFill>
                <a:schemeClr val="accent4"/>
              </a:solidFill>
              <a:cs typeface="Arial"/>
            </a:endParaRPr>
          </a:p>
          <a:p>
            <a:pPr marL="291465" indent="-291465">
              <a:spcBef>
                <a:spcPts val="300"/>
              </a:spcBef>
              <a:buFont typeface="Wingdings" panose="05000000000000000000" pitchFamily="2" charset="2"/>
              <a:buChar char="Ø"/>
            </a:pPr>
            <a:r>
              <a:rPr lang="nl-NL" sz="1800" b="1">
                <a:solidFill>
                  <a:schemeClr val="accent4"/>
                </a:solidFill>
                <a:cs typeface="Arial"/>
              </a:rPr>
              <a:t>De manier waarop </a:t>
            </a:r>
            <a:r>
              <a:rPr lang="nl-NL" sz="1800">
                <a:solidFill>
                  <a:schemeClr val="accent4"/>
                </a:solidFill>
                <a:cs typeface="Arial"/>
              </a:rPr>
              <a:t>je dit gesprek voert is van groot belang</a:t>
            </a:r>
          </a:p>
          <a:p>
            <a:pPr>
              <a:spcBef>
                <a:spcPts val="300"/>
              </a:spcBef>
            </a:pPr>
            <a:endParaRPr lang="nl-NL" sz="1800">
              <a:solidFill>
                <a:schemeClr val="accent4"/>
              </a:solidFill>
              <a:cs typeface="Arial"/>
            </a:endParaRPr>
          </a:p>
          <a:p>
            <a:pPr marL="291465" indent="-291465">
              <a:spcBef>
                <a:spcPts val="300"/>
              </a:spcBef>
              <a:buFont typeface="Wingdings" panose="05000000000000000000" pitchFamily="2" charset="2"/>
              <a:buChar char="Ø"/>
            </a:pPr>
            <a:r>
              <a:rPr lang="nl-NL" sz="1800">
                <a:solidFill>
                  <a:schemeClr val="accent4"/>
                </a:solidFill>
                <a:cs typeface="Arial"/>
              </a:rPr>
              <a:t>Het goede gesprek staat in </a:t>
            </a:r>
            <a:r>
              <a:rPr lang="nl-NL" sz="1800" b="1">
                <a:solidFill>
                  <a:schemeClr val="accent4"/>
                </a:solidFill>
                <a:cs typeface="Arial"/>
              </a:rPr>
              <a:t>verbinding met Wijkgericht en Integraal werken</a:t>
            </a:r>
          </a:p>
        </p:txBody>
      </p:sp>
      <p:pic>
        <p:nvPicPr>
          <p:cNvPr id="6" name="CustomIcon">
            <a:extLst>
              <a:ext uri="{FF2B5EF4-FFF2-40B4-BE49-F238E27FC236}">
                <a16:creationId xmlns:a16="http://schemas.microsoft.com/office/drawing/2014/main" id="{C4565F97-B941-4C12-8FB1-5195ECBB2D61}"/>
              </a:ext>
            </a:extLst>
          </p:cNvPr>
          <p:cNvPicPr>
            <a:picLocks noChangeAspect="1"/>
          </p:cNvPicPr>
          <p:nvPr>
            <p:custDataLst>
              <p:tags r:id="rId1"/>
            </p:custDataLst>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6203" y="2891937"/>
            <a:ext cx="1834742" cy="1834742"/>
          </a:xfrm>
          <a:prstGeom prst="rect">
            <a:avLst/>
          </a:prstGeom>
        </p:spPr>
      </p:pic>
      <p:sp>
        <p:nvSpPr>
          <p:cNvPr id="7" name="Titel 6">
            <a:extLst>
              <a:ext uri="{FF2B5EF4-FFF2-40B4-BE49-F238E27FC236}">
                <a16:creationId xmlns:a16="http://schemas.microsoft.com/office/drawing/2014/main" id="{A71F2CF4-8BD0-44FB-A8D6-91C8C70BF87D}"/>
              </a:ext>
            </a:extLst>
          </p:cNvPr>
          <p:cNvSpPr>
            <a:spLocks noGrp="1"/>
          </p:cNvSpPr>
          <p:nvPr>
            <p:ph type="title"/>
          </p:nvPr>
        </p:nvSpPr>
        <p:spPr/>
        <p:txBody>
          <a:bodyPr/>
          <a:lstStyle/>
          <a:p>
            <a:r>
              <a:rPr lang="nl-NL" dirty="0"/>
              <a:t>Wat zijn onze inzichten tot nu toe? – Vanuit deze werkgroep</a:t>
            </a:r>
          </a:p>
        </p:txBody>
      </p:sp>
    </p:spTree>
    <p:extLst>
      <p:ext uri="{BB962C8B-B14F-4D97-AF65-F5344CB8AC3E}">
        <p14:creationId xmlns:p14="http://schemas.microsoft.com/office/powerpoint/2010/main" val="2724574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DFB48969-F6E9-48AB-B865-73D631630220}"/>
              </a:ext>
            </a:extLst>
          </p:cNvPr>
          <p:cNvSpPr/>
          <p:nvPr/>
        </p:nvSpPr>
        <p:spPr>
          <a:xfrm>
            <a:off x="3825476" y="1983036"/>
            <a:ext cx="7811788" cy="341522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err="1">
              <a:solidFill>
                <a:schemeClr val="tx1"/>
              </a:solidFill>
            </a:endParaRPr>
          </a:p>
        </p:txBody>
      </p:sp>
      <p:sp>
        <p:nvSpPr>
          <p:cNvPr id="3" name="Tekstvak 2">
            <a:extLst>
              <a:ext uri="{FF2B5EF4-FFF2-40B4-BE49-F238E27FC236}">
                <a16:creationId xmlns:a16="http://schemas.microsoft.com/office/drawing/2014/main" id="{D5DC107F-CD54-417B-950F-42EF4BEB9297}"/>
              </a:ext>
            </a:extLst>
          </p:cNvPr>
          <p:cNvSpPr txBox="1"/>
          <p:nvPr/>
        </p:nvSpPr>
        <p:spPr>
          <a:xfrm>
            <a:off x="3825476" y="3335890"/>
            <a:ext cx="7621716" cy="899170"/>
          </a:xfrm>
          <a:prstGeom prst="rect">
            <a:avLst/>
          </a:prstGeom>
          <a:noFill/>
          <a:ln w="19050">
            <a:noFill/>
            <a:miter lim="800000"/>
            <a:headEnd/>
            <a:tailEnd/>
          </a:ln>
          <a:effectLst/>
        </p:spPr>
        <p:txBody>
          <a:bodyPr vert="horz" wrap="square" lIns="143998" tIns="72007" rIns="72007" bIns="72007" numCol="1" rtlCol="0" anchor="ctr" anchorCtr="0" compatLnSpc="1">
            <a:prstTxWarp prst="textNoShape">
              <a:avLst/>
            </a:prstTxWarp>
            <a:noAutofit/>
          </a:bodyPr>
          <a:lstStyle/>
          <a:p>
            <a:pPr marL="342900" indent="-342900">
              <a:spcBef>
                <a:spcPts val="300"/>
              </a:spcBef>
              <a:buFont typeface="Wingdings" panose="05000000000000000000" pitchFamily="2" charset="2"/>
              <a:buChar char="Ø"/>
            </a:pPr>
            <a:r>
              <a:rPr lang="nl-NL" sz="1800">
                <a:solidFill>
                  <a:schemeClr val="accent4"/>
                </a:solidFill>
                <a:cs typeface="Arial"/>
              </a:rPr>
              <a:t>Je moet medewerkers de vraag voorleggen en inventariseren waar de </a:t>
            </a:r>
            <a:r>
              <a:rPr lang="nl-NL" sz="1800" b="1">
                <a:solidFill>
                  <a:schemeClr val="accent4"/>
                </a:solidFill>
                <a:cs typeface="Arial"/>
              </a:rPr>
              <a:t>wensen en behoeften </a:t>
            </a:r>
            <a:r>
              <a:rPr lang="nl-NL" sz="1800">
                <a:solidFill>
                  <a:schemeClr val="accent4"/>
                </a:solidFill>
                <a:cs typeface="Arial"/>
              </a:rPr>
              <a:t>liggen</a:t>
            </a:r>
          </a:p>
          <a:p>
            <a:pPr>
              <a:spcBef>
                <a:spcPts val="300"/>
              </a:spcBef>
            </a:pPr>
            <a:endParaRPr lang="nl-NL" sz="1800">
              <a:solidFill>
                <a:schemeClr val="accent4"/>
              </a:solidFill>
              <a:cs typeface="Arial"/>
            </a:endParaRPr>
          </a:p>
          <a:p>
            <a:pPr marL="342900" indent="-342900">
              <a:spcBef>
                <a:spcPts val="300"/>
              </a:spcBef>
              <a:buFont typeface="Wingdings" panose="05000000000000000000" pitchFamily="2" charset="2"/>
              <a:buChar char="Ø"/>
            </a:pPr>
            <a:r>
              <a:rPr lang="nl-NL" sz="1800">
                <a:solidFill>
                  <a:schemeClr val="accent4"/>
                </a:solidFill>
                <a:cs typeface="Arial"/>
              </a:rPr>
              <a:t>De </a:t>
            </a:r>
            <a:r>
              <a:rPr lang="nl-NL" sz="1800" b="1">
                <a:solidFill>
                  <a:schemeClr val="accent4"/>
                </a:solidFill>
                <a:cs typeface="Arial"/>
              </a:rPr>
              <a:t>verantwoordelijkheid</a:t>
            </a:r>
            <a:r>
              <a:rPr lang="nl-NL" sz="1800">
                <a:solidFill>
                  <a:schemeClr val="accent4"/>
                </a:solidFill>
                <a:cs typeface="Arial"/>
              </a:rPr>
              <a:t> ligt niet alleen bij de managers maar ook bij de medewerkers</a:t>
            </a:r>
          </a:p>
          <a:p>
            <a:pPr>
              <a:spcBef>
                <a:spcPts val="300"/>
              </a:spcBef>
            </a:pPr>
            <a:endParaRPr lang="nl-NL" sz="1800">
              <a:solidFill>
                <a:schemeClr val="accent4"/>
              </a:solidFill>
              <a:cs typeface="Arial"/>
            </a:endParaRPr>
          </a:p>
          <a:p>
            <a:pPr marL="342900" indent="-342900">
              <a:spcBef>
                <a:spcPts val="300"/>
              </a:spcBef>
              <a:buFont typeface="Wingdings" panose="05000000000000000000" pitchFamily="2" charset="2"/>
              <a:buChar char="Ø"/>
            </a:pPr>
            <a:r>
              <a:rPr lang="nl-NL" sz="1800">
                <a:solidFill>
                  <a:schemeClr val="accent4"/>
                </a:solidFill>
                <a:cs typeface="Arial"/>
              </a:rPr>
              <a:t>Het is wel belangrijk dat de medewerkers </a:t>
            </a:r>
            <a:r>
              <a:rPr lang="nl-NL" sz="1800" b="1">
                <a:solidFill>
                  <a:schemeClr val="accent4"/>
                </a:solidFill>
                <a:cs typeface="Arial"/>
              </a:rPr>
              <a:t>de ruimte voelen</a:t>
            </a:r>
            <a:r>
              <a:rPr lang="nl-NL" sz="1800">
                <a:solidFill>
                  <a:schemeClr val="accent4"/>
                </a:solidFill>
                <a:cs typeface="Arial"/>
              </a:rPr>
              <a:t> om dit gesprek aan te gaan</a:t>
            </a:r>
          </a:p>
          <a:p>
            <a:pPr>
              <a:spcBef>
                <a:spcPts val="300"/>
              </a:spcBef>
            </a:pPr>
            <a:endParaRPr lang="nl-NL" sz="1800">
              <a:solidFill>
                <a:schemeClr val="accent4"/>
              </a:solidFill>
              <a:cs typeface="Arial"/>
            </a:endParaRPr>
          </a:p>
          <a:p>
            <a:pPr marL="342900" indent="-342900">
              <a:spcBef>
                <a:spcPts val="300"/>
              </a:spcBef>
              <a:buFont typeface="Wingdings" panose="05000000000000000000" pitchFamily="2" charset="2"/>
              <a:buChar char="Ø"/>
            </a:pPr>
            <a:r>
              <a:rPr lang="nl-NL" sz="1800">
                <a:solidFill>
                  <a:schemeClr val="accent4"/>
                </a:solidFill>
                <a:cs typeface="Arial"/>
              </a:rPr>
              <a:t>Het </a:t>
            </a:r>
            <a:r>
              <a:rPr lang="nl-NL" sz="1800" b="1">
                <a:solidFill>
                  <a:schemeClr val="accent4"/>
                </a:solidFill>
                <a:cs typeface="Arial"/>
              </a:rPr>
              <a:t>jaargesprek</a:t>
            </a:r>
            <a:r>
              <a:rPr lang="nl-NL" sz="1800">
                <a:solidFill>
                  <a:schemeClr val="accent4"/>
                </a:solidFill>
                <a:cs typeface="Arial"/>
              </a:rPr>
              <a:t> zou hier een goed moment voor zijn</a:t>
            </a:r>
          </a:p>
          <a:p>
            <a:pPr>
              <a:spcBef>
                <a:spcPts val="300"/>
              </a:spcBef>
            </a:pPr>
            <a:endParaRPr lang="nl-NL" sz="1800">
              <a:solidFill>
                <a:schemeClr val="accent4"/>
              </a:solidFill>
              <a:cs typeface="Arial"/>
            </a:endParaRPr>
          </a:p>
        </p:txBody>
      </p:sp>
      <p:sp>
        <p:nvSpPr>
          <p:cNvPr id="7" name="Titel 6">
            <a:extLst>
              <a:ext uri="{FF2B5EF4-FFF2-40B4-BE49-F238E27FC236}">
                <a16:creationId xmlns:a16="http://schemas.microsoft.com/office/drawing/2014/main" id="{A71F2CF4-8BD0-44FB-A8D6-91C8C70BF87D}"/>
              </a:ext>
            </a:extLst>
          </p:cNvPr>
          <p:cNvSpPr>
            <a:spLocks noGrp="1"/>
          </p:cNvSpPr>
          <p:nvPr>
            <p:ph type="title"/>
          </p:nvPr>
        </p:nvSpPr>
        <p:spPr/>
        <p:txBody>
          <a:bodyPr/>
          <a:lstStyle/>
          <a:p>
            <a:r>
              <a:rPr lang="nl-NL" dirty="0"/>
              <a:t>Wat zijn onze inzichten tot nu toe? – Vanuit het Medewerkerspanel</a:t>
            </a:r>
          </a:p>
        </p:txBody>
      </p:sp>
      <p:pic>
        <p:nvPicPr>
          <p:cNvPr id="8" name="Graphic 7" descr="Gebruikers">
            <a:extLst>
              <a:ext uri="{FF2B5EF4-FFF2-40B4-BE49-F238E27FC236}">
                <a16:creationId xmlns:a16="http://schemas.microsoft.com/office/drawing/2014/main" id="{82AE6A67-4EC2-4BC0-BD32-154DF7A2EB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4808" y="2627561"/>
            <a:ext cx="2094675" cy="2094675"/>
          </a:xfrm>
          <a:prstGeom prst="rect">
            <a:avLst/>
          </a:prstGeom>
        </p:spPr>
      </p:pic>
    </p:spTree>
    <p:extLst>
      <p:ext uri="{BB962C8B-B14F-4D97-AF65-F5344CB8AC3E}">
        <p14:creationId xmlns:p14="http://schemas.microsoft.com/office/powerpoint/2010/main" val="2653076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120835" name="think-cell Slide" r:id="rId11" imgW="346" imgH="346" progId="TCLayout.ActiveDocument.1">
                  <p:embed/>
                </p:oleObj>
              </mc:Choice>
              <mc:Fallback>
                <p:oleObj name="think-cell Slide" r:id="rId11"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2"/>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lang="nl-NL" sz="2857" kern="0" dirty="0">
                <a:solidFill>
                  <a:srgbClr val="003C54"/>
                </a:solidFill>
                <a:latin typeface="Andada"/>
                <a:ea typeface="ＭＳ Ｐゴシック"/>
              </a:rPr>
              <a:t>Agenda voor vandaag</a:t>
            </a:r>
            <a:endParaRPr kumimoji="0" lang="nl-NL" sz="2857" b="0" i="0" u="none" strike="noStrike" kern="0" cap="none" spc="0" normalizeH="0" baseline="0" noProof="0" dirty="0">
              <a:ln>
                <a:noFill/>
              </a:ln>
              <a:solidFill>
                <a:srgbClr val="003C54"/>
              </a:solidFill>
              <a:effectLst/>
              <a:uLnTx/>
              <a:uFillTx/>
              <a:latin typeface="Andada"/>
              <a:ea typeface="ＭＳ Ｐゴシック"/>
              <a:cs typeface="+mj-cs"/>
              <a:sym typeface="+mj-lt"/>
            </a:endParaRP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Korte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introductie</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en</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eventueel</a:t>
            </a:r>
            <a:r>
              <a:rPr kumimoji="0" lang="en-US" sz="1837" b="0" i="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chemeClr val="tx1"/>
                </a:solidFill>
                <a:effectLst/>
                <a:uLnTx/>
                <a:uFillTx/>
                <a:latin typeface="Arial"/>
                <a:ea typeface="ＭＳ Ｐゴシック"/>
                <a:cs typeface="+mn-cs"/>
              </a:rPr>
              <a:t>voorstelronde</a:t>
            </a:r>
            <a:endParaRPr kumimoji="0" lang="en-US" sz="1837" b="0" i="0" u="none" strike="noStrike" kern="1200" cap="none" spc="0" normalizeH="0" baseline="0" noProof="0" dirty="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001373"/>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Terugblik</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Hoe past het Goede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Gesprek</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in het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totale</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HPP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traject</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en</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wat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zijn</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de </a:t>
            </a:r>
            <a:r>
              <a:rPr kumimoji="0" lang="en-US" sz="1837" b="0" u="none" strike="noStrike" kern="1200" cap="none" spc="0" normalizeH="0" baseline="0" noProof="0" dirty="0" err="1">
                <a:ln>
                  <a:noFill/>
                </a:ln>
                <a:solidFill>
                  <a:schemeClr val="tx1"/>
                </a:solidFill>
                <a:effectLst/>
                <a:uLnTx/>
                <a:uFillTx/>
                <a:latin typeface="Arial"/>
                <a:ea typeface="ＭＳ Ｐゴシック"/>
                <a:cs typeface="+mn-cs"/>
              </a:rPr>
              <a:t>ervaringen</a:t>
            </a:r>
            <a:r>
              <a:rPr kumimoji="0" lang="en-US" sz="1837" b="0" u="none" strike="noStrike" kern="1200" cap="none" spc="0" normalizeH="0" baseline="0" noProof="0" dirty="0">
                <a:ln>
                  <a:noFill/>
                </a:ln>
                <a:solidFill>
                  <a:schemeClr val="tx1"/>
                </a:solidFill>
                <a:effectLst/>
                <a:uLnTx/>
                <a:uFillTx/>
                <a:latin typeface="Arial"/>
                <a:ea typeface="ＭＳ Ｐゴシック"/>
                <a:cs typeface="+mn-cs"/>
              </a:rPr>
              <a:t> tot nu toe?</a:t>
            </a: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6" y="2783530"/>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lvl="0">
              <a:buClr>
                <a:srgbClr val="FFFFFF"/>
              </a:buClr>
              <a:defRPr/>
            </a:pP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Uitgangspunten</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a:t>
            </a: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bepalen</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voor de </a:t>
            </a: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verdere</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a:t>
            </a: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uitrol</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van het Goede </a:t>
            </a: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Gesprek</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a:t>
            </a:r>
            <a:r>
              <a:rPr kumimoji="0" lang="en-US" sz="1837" i="0" u="none" strike="noStrike" kern="1200" cap="none" spc="0" normalizeH="0" baseline="0" noProof="0" dirty="0" err="1">
                <a:ln>
                  <a:noFill/>
                </a:ln>
                <a:solidFill>
                  <a:schemeClr val="bg1"/>
                </a:solidFill>
                <a:effectLst/>
                <a:uLnTx/>
                <a:uFillTx/>
                <a:latin typeface="Arial"/>
                <a:ea typeface="ＭＳ Ｐゴシック"/>
                <a:cs typeface="+mn-cs"/>
              </a:rPr>
              <a:t>bij</a:t>
            </a:r>
            <a:r>
              <a:rPr kumimoji="0" lang="en-US" sz="1837" i="0" u="none" strike="noStrike" kern="1200" cap="none" spc="0" normalizeH="0" baseline="0" noProof="0" dirty="0">
                <a:ln>
                  <a:noFill/>
                </a:ln>
                <a:solidFill>
                  <a:schemeClr val="bg1"/>
                </a:solidFill>
                <a:effectLst/>
                <a:uLnTx/>
                <a:uFillTx/>
                <a:latin typeface="Arial"/>
                <a:ea typeface="ＭＳ Ｐゴシック"/>
                <a:cs typeface="+mn-cs"/>
              </a:rPr>
              <a:t> </a:t>
            </a:r>
            <a:r>
              <a:rPr lang="nl-NL" sz="2000" dirty="0"/>
              <a:t>[instelling]</a:t>
            </a:r>
            <a:endParaRPr kumimoji="0" lang="en-US" sz="1837" i="0" u="none" strike="noStrike" kern="1200" cap="none" spc="0" normalizeH="0" baseline="0" noProof="0" dirty="0">
              <a:ln>
                <a:noFill/>
              </a:ln>
              <a:solidFill>
                <a:schemeClr val="bg1"/>
              </a:solidFill>
              <a:effectLst/>
              <a:uLnTx/>
              <a:uFillTx/>
              <a:latin typeface="Arial"/>
              <a:ea typeface="ＭＳ Ｐゴシック"/>
              <a:cs typeface="+mn-cs"/>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6" y="3565687"/>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Vervolgstapp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r>
              <a:rPr kumimoji="0" lang="en-US" sz="1837" b="0" i="0" u="none" strike="noStrike" kern="1200" cap="none" spc="0" normalizeH="0" baseline="0" noProof="0" dirty="0" err="1">
                <a:ln>
                  <a:noFill/>
                </a:ln>
                <a:solidFill>
                  <a:srgbClr val="000000"/>
                </a:solidFill>
                <a:effectLst/>
                <a:uLnTx/>
                <a:uFillTx/>
                <a:latin typeface="Arial"/>
                <a:ea typeface="ＭＳ Ｐゴシック"/>
                <a:cs typeface="+mn-cs"/>
              </a:rPr>
              <a:t>bepalen</a:t>
            </a:r>
            <a:r>
              <a:rPr kumimoji="0" lang="en-US" sz="1837" b="0" i="0" u="none" strike="noStrike" kern="1200" cap="none" spc="0" normalizeH="0" baseline="0" noProof="0" dirty="0">
                <a:ln>
                  <a:noFill/>
                </a:ln>
                <a:solidFill>
                  <a:srgbClr val="000000"/>
                </a:solidFill>
                <a:effectLst/>
                <a:uLnTx/>
                <a:uFillTx/>
                <a:latin typeface="Arial"/>
                <a:ea typeface="ＭＳ Ｐゴシック"/>
                <a:cs typeface="+mn-cs"/>
              </a:rPr>
              <a:t> </a:t>
            </a:r>
          </a:p>
        </p:txBody>
      </p:sp>
    </p:spTree>
    <p:custDataLst>
      <p:tags r:id="rId2"/>
    </p:custDataLst>
    <p:extLst>
      <p:ext uri="{BB962C8B-B14F-4D97-AF65-F5344CB8AC3E}">
        <p14:creationId xmlns:p14="http://schemas.microsoft.com/office/powerpoint/2010/main" val="439037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hdUL6ZcpvcGWcRIweEj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xtKkHTMxIszNox0HgO6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107.xml><?xml version="1.0" encoding="utf-8"?>
<p:tagLst xmlns:a="http://schemas.openxmlformats.org/drawingml/2006/main" xmlns:r="http://schemas.openxmlformats.org/officeDocument/2006/relationships" xmlns:p="http://schemas.openxmlformats.org/presentationml/2006/main">
  <p:tag name="NAME" val="FlowLine"/>
</p:tagLst>
</file>

<file path=ppt/tags/tag108.xml><?xml version="1.0" encoding="utf-8"?>
<p:tagLst xmlns:a="http://schemas.openxmlformats.org/drawingml/2006/main" xmlns:r="http://schemas.openxmlformats.org/officeDocument/2006/relationships" xmlns:p="http://schemas.openxmlformats.org/presentationml/2006/main">
  <p:tag name="NAME" val="FlowLine2"/>
</p:tagLst>
</file>

<file path=ppt/tags/tag109.xml><?xml version="1.0" encoding="utf-8"?>
<p:tagLst xmlns:a="http://schemas.openxmlformats.org/drawingml/2006/main" xmlns:r="http://schemas.openxmlformats.org/officeDocument/2006/relationships" xmlns:p="http://schemas.openxmlformats.org/presentationml/2006/main">
  <p:tag name="NAME" val="Oval"/>
</p:tagLst>
</file>

<file path=ppt/tags/tag11.xml><?xml version="1.0" encoding="utf-8"?>
<p:tagLst xmlns:a="http://schemas.openxmlformats.org/drawingml/2006/main" xmlns:r="http://schemas.openxmlformats.org/officeDocument/2006/relationships" xmlns:p="http://schemas.openxmlformats.org/presentationml/2006/main">
  <p:tag name="NAME" val="Bracket"/>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Lst>
</file>

<file path=ppt/tags/tag111.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12.xml><?xml version="1.0" encoding="utf-8"?>
<p:tagLst xmlns:a="http://schemas.openxmlformats.org/drawingml/2006/main" xmlns:r="http://schemas.openxmlformats.org/officeDocument/2006/relationships" xmlns:p="http://schemas.openxmlformats.org/presentationml/2006/main">
  <p:tag name="NAME" val="Arrow"/>
</p:tagLst>
</file>

<file path=ppt/tags/tag11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14.xml><?xml version="1.0" encoding="utf-8"?>
<p:tagLst xmlns:a="http://schemas.openxmlformats.org/drawingml/2006/main" xmlns:r="http://schemas.openxmlformats.org/officeDocument/2006/relationships" xmlns:p="http://schemas.openxmlformats.org/presentationml/2006/main">
  <p:tag name="NAME" val="Bracket"/>
</p:tagLst>
</file>

<file path=ppt/tags/tag115.xml><?xml version="1.0" encoding="utf-8"?>
<p:tagLst xmlns:a="http://schemas.openxmlformats.org/drawingml/2006/main" xmlns:r="http://schemas.openxmlformats.org/officeDocument/2006/relationships" xmlns:p="http://schemas.openxmlformats.org/presentationml/2006/main">
  <p:tag name="NAME" val="SingleBoat"/>
</p:tagLst>
</file>

<file path=ppt/tags/tag116.xml><?xml version="1.0" encoding="utf-8"?>
<p:tagLst xmlns:a="http://schemas.openxmlformats.org/drawingml/2006/main" xmlns:r="http://schemas.openxmlformats.org/officeDocument/2006/relationships" xmlns:p="http://schemas.openxmlformats.org/presentationml/2006/main">
  <p:tag name="NAME" val="1DoubleBoat"/>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SingleChevron"/>
</p:tagLst>
</file>

<file path=ppt/tags/tag119.xml><?xml version="1.0" encoding="utf-8"?>
<p:tagLst xmlns:a="http://schemas.openxmlformats.org/drawingml/2006/main" xmlns:r="http://schemas.openxmlformats.org/officeDocument/2006/relationships" xmlns:p="http://schemas.openxmlformats.org/presentationml/2006/main">
  <p:tag name="NAME" val="DoubleChevron"/>
</p:tagLst>
</file>

<file path=ppt/tags/tag12.xml><?xml version="1.0" encoding="utf-8"?>
<p:tagLst xmlns:a="http://schemas.openxmlformats.org/drawingml/2006/main" xmlns:r="http://schemas.openxmlformats.org/officeDocument/2006/relationships" xmlns:p="http://schemas.openxmlformats.org/presentationml/2006/main">
  <p:tag name="NAME" val="SingleBoat"/>
</p:tagLst>
</file>

<file path=ppt/tags/tag120.xml><?xml version="1.0" encoding="utf-8"?>
<p:tagLst xmlns:a="http://schemas.openxmlformats.org/drawingml/2006/main" xmlns:r="http://schemas.openxmlformats.org/officeDocument/2006/relationships" xmlns:p="http://schemas.openxmlformats.org/presentationml/2006/main">
  <p:tag name="NAME" val="DoubleChevron2"/>
</p:tagLst>
</file>

<file path=ppt/tags/tag121.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122.xml><?xml version="1.0" encoding="utf-8"?>
<p:tagLst xmlns:a="http://schemas.openxmlformats.org/drawingml/2006/main" xmlns:r="http://schemas.openxmlformats.org/officeDocument/2006/relationships" xmlns:p="http://schemas.openxmlformats.org/presentationml/2006/main">
  <p:tag name="NAME" val="Flow2"/>
</p:tagLst>
</file>

<file path=ppt/tags/tag123.xml><?xml version="1.0" encoding="utf-8"?>
<p:tagLst xmlns:a="http://schemas.openxmlformats.org/drawingml/2006/main" xmlns:r="http://schemas.openxmlformats.org/officeDocument/2006/relationships" xmlns:p="http://schemas.openxmlformats.org/presentationml/2006/main">
  <p:tag name="NAME" val="DoubleChevron3"/>
</p:tagLst>
</file>

<file path=ppt/tags/tag1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1DoubleBoat"/>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1.xml><?xml version="1.0" encoding="utf-8"?>
<p:tagLst xmlns:a="http://schemas.openxmlformats.org/drawingml/2006/main" xmlns:r="http://schemas.openxmlformats.org/officeDocument/2006/relationships" xmlns:p="http://schemas.openxmlformats.org/presentationml/2006/main">
  <p:tag name="NAME" val="SingleBoatText"/>
</p:tagLst>
</file>

<file path=ppt/tags/tag142.xml><?xml version="1.0" encoding="utf-8"?>
<p:tagLst xmlns:a="http://schemas.openxmlformats.org/drawingml/2006/main" xmlns:r="http://schemas.openxmlformats.org/officeDocument/2006/relationships" xmlns:p="http://schemas.openxmlformats.org/presentationml/2006/main">
  <p:tag name="NAME" val="1BoatTopShape"/>
</p:tagLst>
</file>

<file path=ppt/tags/tag143.xml><?xml version="1.0" encoding="utf-8"?>
<p:tagLst xmlns:a="http://schemas.openxmlformats.org/drawingml/2006/main" xmlns:r="http://schemas.openxmlformats.org/officeDocument/2006/relationships" xmlns:p="http://schemas.openxmlformats.org/presentationml/2006/main">
  <p:tag name="NAME" val="1BoatTopText"/>
</p:tagLst>
</file>

<file path=ppt/tags/tag144.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45.xml><?xml version="1.0" encoding="utf-8"?>
<p:tagLst xmlns:a="http://schemas.openxmlformats.org/drawingml/2006/main" xmlns:r="http://schemas.openxmlformats.org/officeDocument/2006/relationships" xmlns:p="http://schemas.openxmlformats.org/presentationml/2006/main">
  <p:tag name="NAME" val="1BoatBottomText"/>
</p:tagLst>
</file>

<file path=ppt/tags/tag146.xml><?xml version="1.0" encoding="utf-8"?>
<p:tagLst xmlns:a="http://schemas.openxmlformats.org/drawingml/2006/main" xmlns:r="http://schemas.openxmlformats.org/officeDocument/2006/relationships" xmlns:p="http://schemas.openxmlformats.org/presentationml/2006/main">
  <p:tag name="NAME" val="2BoatBottomShape"/>
</p:tagLst>
</file>

<file path=ppt/tags/tag147.xml><?xml version="1.0" encoding="utf-8"?>
<p:tagLst xmlns:a="http://schemas.openxmlformats.org/drawingml/2006/main" xmlns:r="http://schemas.openxmlformats.org/officeDocument/2006/relationships" xmlns:p="http://schemas.openxmlformats.org/presentationml/2006/main">
  <p:tag name="NAME" val="2BoatBottomText"/>
</p:tagLst>
</file>

<file path=ppt/tags/tag148.xml><?xml version="1.0" encoding="utf-8"?>
<p:tagLst xmlns:a="http://schemas.openxmlformats.org/drawingml/2006/main" xmlns:r="http://schemas.openxmlformats.org/officeDocument/2006/relationships" xmlns:p="http://schemas.openxmlformats.org/presentationml/2006/main">
  <p:tag name="NAME" val="1BoatTopShape"/>
</p:tagLst>
</file>

<file path=ppt/tags/tag149.xml><?xml version="1.0" encoding="utf-8"?>
<p:tagLst xmlns:a="http://schemas.openxmlformats.org/drawingml/2006/main" xmlns:r="http://schemas.openxmlformats.org/officeDocument/2006/relationships" xmlns:p="http://schemas.openxmlformats.org/presentationml/2006/main">
  <p:tag name="NAME" val="1BoatTopText"/>
</p:tagLst>
</file>

<file path=ppt/tags/tag15.xml><?xml version="1.0" encoding="utf-8"?>
<p:tagLst xmlns:a="http://schemas.openxmlformats.org/drawingml/2006/main" xmlns:r="http://schemas.openxmlformats.org/officeDocument/2006/relationships" xmlns:p="http://schemas.openxmlformats.org/presentationml/2006/main">
  <p:tag name="NAME" val="SingleChevron"/>
</p:tagLst>
</file>

<file path=ppt/tags/tag150.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51.xml><?xml version="1.0" encoding="utf-8"?>
<p:tagLst xmlns:a="http://schemas.openxmlformats.org/drawingml/2006/main" xmlns:r="http://schemas.openxmlformats.org/officeDocument/2006/relationships" xmlns:p="http://schemas.openxmlformats.org/presentationml/2006/main">
  <p:tag name="NAME" val="1BoatBottomText"/>
</p:tagLst>
</file>

<file path=ppt/tags/tag1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xml><?xml version="1.0" encoding="utf-8"?>
<p:tagLst xmlns:a="http://schemas.openxmlformats.org/drawingml/2006/main" xmlns:r="http://schemas.openxmlformats.org/officeDocument/2006/relationships" xmlns:p="http://schemas.openxmlformats.org/presentationml/2006/main">
  <p:tag name="NAME" val="SingleBoatText"/>
</p:tagLst>
</file>

<file path=ppt/tags/tag154.xml><?xml version="1.0" encoding="utf-8"?>
<p:tagLst xmlns:a="http://schemas.openxmlformats.org/drawingml/2006/main" xmlns:r="http://schemas.openxmlformats.org/officeDocument/2006/relationships" xmlns:p="http://schemas.openxmlformats.org/presentationml/2006/main">
  <p:tag name="NAME" val="Flow"/>
</p:tagLst>
</file>

<file path=ppt/tags/tag155.xml><?xml version="1.0" encoding="utf-8"?>
<p:tagLst xmlns:a="http://schemas.openxmlformats.org/drawingml/2006/main" xmlns:r="http://schemas.openxmlformats.org/officeDocument/2006/relationships" xmlns:p="http://schemas.openxmlformats.org/presentationml/2006/main">
  <p:tag name="NAME" val="Flow"/>
</p:tagLst>
</file>

<file path=ppt/tags/tag156.xml><?xml version="1.0" encoding="utf-8"?>
<p:tagLst xmlns:a="http://schemas.openxmlformats.org/drawingml/2006/main" xmlns:r="http://schemas.openxmlformats.org/officeDocument/2006/relationships" xmlns:p="http://schemas.openxmlformats.org/presentationml/2006/main">
  <p:tag name="NAME" val="Flow"/>
</p:tagLst>
</file>

<file path=ppt/tags/tag1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8.xml><?xml version="1.0" encoding="utf-8"?>
<p:tagLst xmlns:a="http://schemas.openxmlformats.org/drawingml/2006/main" xmlns:r="http://schemas.openxmlformats.org/officeDocument/2006/relationships" xmlns:p="http://schemas.openxmlformats.org/presentationml/2006/main">
  <p:tag name="NAME" val="SingleBoatText"/>
</p:tagLst>
</file>

<file path=ppt/tags/tag1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xml><?xml version="1.0" encoding="utf-8"?>
<p:tagLst xmlns:a="http://schemas.openxmlformats.org/drawingml/2006/main" xmlns:r="http://schemas.openxmlformats.org/officeDocument/2006/relationships" xmlns:p="http://schemas.openxmlformats.org/presentationml/2006/main">
  <p:tag name="NAME" val="DoubleChevron"/>
</p:tagLst>
</file>

<file path=ppt/tags/tag160.xml><?xml version="1.0" encoding="utf-8"?>
<p:tagLst xmlns:a="http://schemas.openxmlformats.org/drawingml/2006/main" xmlns:r="http://schemas.openxmlformats.org/officeDocument/2006/relationships" xmlns:p="http://schemas.openxmlformats.org/presentationml/2006/main">
  <p:tag name="NAME" val="SingleBoatText"/>
</p:tagLst>
</file>

<file path=ppt/tags/tag1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2.xml><?xml version="1.0" encoding="utf-8"?>
<p:tagLst xmlns:a="http://schemas.openxmlformats.org/drawingml/2006/main" xmlns:r="http://schemas.openxmlformats.org/officeDocument/2006/relationships" xmlns:p="http://schemas.openxmlformats.org/presentationml/2006/main">
  <p:tag name="NAME" val="SingleBoatText"/>
</p:tagLst>
</file>

<file path=ppt/tags/tag163.xml><?xml version="1.0" encoding="utf-8"?>
<p:tagLst xmlns:a="http://schemas.openxmlformats.org/drawingml/2006/main" xmlns:r="http://schemas.openxmlformats.org/officeDocument/2006/relationships" xmlns:p="http://schemas.openxmlformats.org/presentationml/2006/main">
  <p:tag name="NAME" val="Flow"/>
</p:tagLst>
</file>

<file path=ppt/tags/tag164.xml><?xml version="1.0" encoding="utf-8"?>
<p:tagLst xmlns:a="http://schemas.openxmlformats.org/drawingml/2006/main" xmlns:r="http://schemas.openxmlformats.org/officeDocument/2006/relationships" xmlns:p="http://schemas.openxmlformats.org/presentationml/2006/main">
  <p:tag name="NAME" val="Flow"/>
</p:tagLst>
</file>

<file path=ppt/tags/tag165.xml><?xml version="1.0" encoding="utf-8"?>
<p:tagLst xmlns:a="http://schemas.openxmlformats.org/drawingml/2006/main" xmlns:r="http://schemas.openxmlformats.org/officeDocument/2006/relationships" xmlns:p="http://schemas.openxmlformats.org/presentationml/2006/main">
  <p:tag name="NAME" val="Flow"/>
</p:tagLst>
</file>

<file path=ppt/tags/tag16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7.xml><?xml version="1.0" encoding="utf-8"?>
<p:tagLst xmlns:a="http://schemas.openxmlformats.org/drawingml/2006/main" xmlns:r="http://schemas.openxmlformats.org/officeDocument/2006/relationships" xmlns:p="http://schemas.openxmlformats.org/presentationml/2006/main">
  <p:tag name="NAME" val="SingleBoatText"/>
</p:tagLst>
</file>

<file path=ppt/tags/tag1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9.xml><?xml version="1.0" encoding="utf-8"?>
<p:tagLst xmlns:a="http://schemas.openxmlformats.org/drawingml/2006/main" xmlns:r="http://schemas.openxmlformats.org/officeDocument/2006/relationships" xmlns:p="http://schemas.openxmlformats.org/presentationml/2006/main">
  <p:tag name="NAME" val="SingleBoatText"/>
</p:tagLst>
</file>

<file path=ppt/tags/tag17.xml><?xml version="1.0" encoding="utf-8"?>
<p:tagLst xmlns:a="http://schemas.openxmlformats.org/drawingml/2006/main" xmlns:r="http://schemas.openxmlformats.org/officeDocument/2006/relationships" xmlns:p="http://schemas.openxmlformats.org/presentationml/2006/main">
  <p:tag name="NAME" val="DoubleChevron2"/>
</p:tagLst>
</file>

<file path=ppt/tags/tag1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1.xml><?xml version="1.0" encoding="utf-8"?>
<p:tagLst xmlns:a="http://schemas.openxmlformats.org/drawingml/2006/main" xmlns:r="http://schemas.openxmlformats.org/officeDocument/2006/relationships" xmlns:p="http://schemas.openxmlformats.org/presentationml/2006/main">
  <p:tag name="NAME" val="SingleBoatText"/>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18.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Flow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hdUL6ZcpvcGWcRIweEj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xtKkHTMxIszNox0HgO6h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DoubleChevron3"/>
</p:tagLst>
</file>

<file path=ppt/tags/tag200.xml><?xml version="1.0" encoding="utf-8"?>
<p:tagLst xmlns:a="http://schemas.openxmlformats.org/drawingml/2006/main" xmlns:r="http://schemas.openxmlformats.org/officeDocument/2006/relationships" xmlns:p="http://schemas.openxmlformats.org/presentationml/2006/main">
  <p:tag name="NAME" val="FlowLine"/>
</p:tagLst>
</file>

<file path=ppt/tags/tag201.xml><?xml version="1.0" encoding="utf-8"?>
<p:tagLst xmlns:a="http://schemas.openxmlformats.org/drawingml/2006/main" xmlns:r="http://schemas.openxmlformats.org/officeDocument/2006/relationships" xmlns:p="http://schemas.openxmlformats.org/presentationml/2006/main">
  <p:tag name="NAME" val="FlowLine2"/>
</p:tagLst>
</file>

<file path=ppt/tags/tag202.xml><?xml version="1.0" encoding="utf-8"?>
<p:tagLst xmlns:a="http://schemas.openxmlformats.org/drawingml/2006/main" xmlns:r="http://schemas.openxmlformats.org/officeDocument/2006/relationships" xmlns:p="http://schemas.openxmlformats.org/presentationml/2006/main">
  <p:tag name="NAME" val="Oval"/>
</p:tagLst>
</file>

<file path=ppt/tags/tag203.xml><?xml version="1.0" encoding="utf-8"?>
<p:tagLst xmlns:a="http://schemas.openxmlformats.org/drawingml/2006/main" xmlns:r="http://schemas.openxmlformats.org/officeDocument/2006/relationships" xmlns:p="http://schemas.openxmlformats.org/presentationml/2006/main">
  <p:tag name="NAME" val="Rectangle"/>
</p:tagLst>
</file>

<file path=ppt/tags/tag20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05.xml><?xml version="1.0" encoding="utf-8"?>
<p:tagLst xmlns:a="http://schemas.openxmlformats.org/drawingml/2006/main" xmlns:r="http://schemas.openxmlformats.org/officeDocument/2006/relationships" xmlns:p="http://schemas.openxmlformats.org/presentationml/2006/main">
  <p:tag name="NAME" val="Arrow"/>
</p:tagLst>
</file>

<file path=ppt/tags/tag206.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207.xml><?xml version="1.0" encoding="utf-8"?>
<p:tagLst xmlns:a="http://schemas.openxmlformats.org/drawingml/2006/main" xmlns:r="http://schemas.openxmlformats.org/officeDocument/2006/relationships" xmlns:p="http://schemas.openxmlformats.org/presentationml/2006/main">
  <p:tag name="NAME" val="Bracket"/>
</p:tagLst>
</file>

<file path=ppt/tags/tag208.xml><?xml version="1.0" encoding="utf-8"?>
<p:tagLst xmlns:a="http://schemas.openxmlformats.org/drawingml/2006/main" xmlns:r="http://schemas.openxmlformats.org/officeDocument/2006/relationships" xmlns:p="http://schemas.openxmlformats.org/presentationml/2006/main">
  <p:tag name="NAME" val="SingleBoat"/>
</p:tagLst>
</file>

<file path=ppt/tags/tag209.xml><?xml version="1.0" encoding="utf-8"?>
<p:tagLst xmlns:a="http://schemas.openxmlformats.org/drawingml/2006/main" xmlns:r="http://schemas.openxmlformats.org/officeDocument/2006/relationships" xmlns:p="http://schemas.openxmlformats.org/presentationml/2006/main">
  <p:tag name="NAME" val="1DoubleBoat"/>
</p:tagLst>
</file>

<file path=ppt/tags/tag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SingleChevron"/>
</p:tagLst>
</file>

<file path=ppt/tags/tag212.xml><?xml version="1.0" encoding="utf-8"?>
<p:tagLst xmlns:a="http://schemas.openxmlformats.org/drawingml/2006/main" xmlns:r="http://schemas.openxmlformats.org/officeDocument/2006/relationships" xmlns:p="http://schemas.openxmlformats.org/presentationml/2006/main">
  <p:tag name="NAME" val="DoubleChevron"/>
</p:tagLst>
</file>

<file path=ppt/tags/tag213.xml><?xml version="1.0" encoding="utf-8"?>
<p:tagLst xmlns:a="http://schemas.openxmlformats.org/drawingml/2006/main" xmlns:r="http://schemas.openxmlformats.org/officeDocument/2006/relationships" xmlns:p="http://schemas.openxmlformats.org/presentationml/2006/main">
  <p:tag name="NAME" val="DoubleChevron2"/>
</p:tagLst>
</file>

<file path=ppt/tags/tag214.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215.xml><?xml version="1.0" encoding="utf-8"?>
<p:tagLst xmlns:a="http://schemas.openxmlformats.org/drawingml/2006/main" xmlns:r="http://schemas.openxmlformats.org/officeDocument/2006/relationships" xmlns:p="http://schemas.openxmlformats.org/presentationml/2006/main">
  <p:tag name="NAME" val="Flow2"/>
</p:tagLst>
</file>

<file path=ppt/tags/tag216.xml><?xml version="1.0" encoding="utf-8"?>
<p:tagLst xmlns:a="http://schemas.openxmlformats.org/drawingml/2006/main" xmlns:r="http://schemas.openxmlformats.org/officeDocument/2006/relationships" xmlns:p="http://schemas.openxmlformats.org/presentationml/2006/main">
  <p:tag name="NAME" val="DoubleChevron3"/>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3.xml><?xml version="1.0" encoding="utf-8"?>
<p:tagLst xmlns:a="http://schemas.openxmlformats.org/drawingml/2006/main" xmlns:r="http://schemas.openxmlformats.org/officeDocument/2006/relationships" xmlns:p="http://schemas.openxmlformats.org/presentationml/2006/main">
  <p:tag name="NAME" val="SingleBoatText"/>
</p:tagLst>
</file>

<file path=ppt/tags/tag234.xml><?xml version="1.0" encoding="utf-8"?>
<p:tagLst xmlns:a="http://schemas.openxmlformats.org/drawingml/2006/main" xmlns:r="http://schemas.openxmlformats.org/officeDocument/2006/relationships" xmlns:p="http://schemas.openxmlformats.org/presentationml/2006/main">
  <p:tag name="NAME" val="1BoatTopShape"/>
</p:tagLst>
</file>

<file path=ppt/tags/tag235.xml><?xml version="1.0" encoding="utf-8"?>
<p:tagLst xmlns:a="http://schemas.openxmlformats.org/drawingml/2006/main" xmlns:r="http://schemas.openxmlformats.org/officeDocument/2006/relationships" xmlns:p="http://schemas.openxmlformats.org/presentationml/2006/main">
  <p:tag name="NAME" val="1BoatTopText"/>
</p:tagLst>
</file>

<file path=ppt/tags/tag23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37.xml><?xml version="1.0" encoding="utf-8"?>
<p:tagLst xmlns:a="http://schemas.openxmlformats.org/drawingml/2006/main" xmlns:r="http://schemas.openxmlformats.org/officeDocument/2006/relationships" xmlns:p="http://schemas.openxmlformats.org/presentationml/2006/main">
  <p:tag name="NAME" val="1BoatBottomText"/>
</p:tagLst>
</file>

<file path=ppt/tags/tag238.xml><?xml version="1.0" encoding="utf-8"?>
<p:tagLst xmlns:a="http://schemas.openxmlformats.org/drawingml/2006/main" xmlns:r="http://schemas.openxmlformats.org/officeDocument/2006/relationships" xmlns:p="http://schemas.openxmlformats.org/presentationml/2006/main">
  <p:tag name="NAME" val="2BoatBottomShape"/>
</p:tagLst>
</file>

<file path=ppt/tags/tag239.xml><?xml version="1.0" encoding="utf-8"?>
<p:tagLst xmlns:a="http://schemas.openxmlformats.org/drawingml/2006/main" xmlns:r="http://schemas.openxmlformats.org/officeDocument/2006/relationships" xmlns:p="http://schemas.openxmlformats.org/presentationml/2006/main">
  <p:tag name="NAME" val="2BoatBottomText"/>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NAME" val="1BoatTopShape"/>
</p:tagLst>
</file>

<file path=ppt/tags/tag241.xml><?xml version="1.0" encoding="utf-8"?>
<p:tagLst xmlns:a="http://schemas.openxmlformats.org/drawingml/2006/main" xmlns:r="http://schemas.openxmlformats.org/officeDocument/2006/relationships" xmlns:p="http://schemas.openxmlformats.org/presentationml/2006/main">
  <p:tag name="NAME" val="1BoatTopText"/>
</p:tagLst>
</file>

<file path=ppt/tags/tag242.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43.xml><?xml version="1.0" encoding="utf-8"?>
<p:tagLst xmlns:a="http://schemas.openxmlformats.org/drawingml/2006/main" xmlns:r="http://schemas.openxmlformats.org/officeDocument/2006/relationships" xmlns:p="http://schemas.openxmlformats.org/presentationml/2006/main">
  <p:tag name="NAME" val="1BoatBottomText"/>
</p:tagLst>
</file>

<file path=ppt/tags/tag2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45.xml><?xml version="1.0" encoding="utf-8"?>
<p:tagLst xmlns:a="http://schemas.openxmlformats.org/drawingml/2006/main" xmlns:r="http://schemas.openxmlformats.org/officeDocument/2006/relationships" xmlns:p="http://schemas.openxmlformats.org/presentationml/2006/main">
  <p:tag name="NAME" val="SingleBoatText"/>
</p:tagLst>
</file>

<file path=ppt/tags/tag246.xml><?xml version="1.0" encoding="utf-8"?>
<p:tagLst xmlns:a="http://schemas.openxmlformats.org/drawingml/2006/main" xmlns:r="http://schemas.openxmlformats.org/officeDocument/2006/relationships" xmlns:p="http://schemas.openxmlformats.org/presentationml/2006/main">
  <p:tag name="NAME" val="Flow"/>
</p:tagLst>
</file>

<file path=ppt/tags/tag247.xml><?xml version="1.0" encoding="utf-8"?>
<p:tagLst xmlns:a="http://schemas.openxmlformats.org/drawingml/2006/main" xmlns:r="http://schemas.openxmlformats.org/officeDocument/2006/relationships" xmlns:p="http://schemas.openxmlformats.org/presentationml/2006/main">
  <p:tag name="NAME" val="Flow"/>
</p:tagLst>
</file>

<file path=ppt/tags/tag248.xml><?xml version="1.0" encoding="utf-8"?>
<p:tagLst xmlns:a="http://schemas.openxmlformats.org/drawingml/2006/main" xmlns:r="http://schemas.openxmlformats.org/officeDocument/2006/relationships" xmlns:p="http://schemas.openxmlformats.org/presentationml/2006/main">
  <p:tag name="NAME" val="Flow"/>
</p:tagLst>
</file>

<file path=ppt/tags/tag2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SingleBoatText"/>
</p:tagLst>
</file>

<file path=ppt/tags/tag2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2.xml><?xml version="1.0" encoding="utf-8"?>
<p:tagLst xmlns:a="http://schemas.openxmlformats.org/drawingml/2006/main" xmlns:r="http://schemas.openxmlformats.org/officeDocument/2006/relationships" xmlns:p="http://schemas.openxmlformats.org/presentationml/2006/main">
  <p:tag name="NAME" val="SingleBoatText"/>
</p:tagLst>
</file>

<file path=ppt/tags/tag2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4.xml><?xml version="1.0" encoding="utf-8"?>
<p:tagLst xmlns:a="http://schemas.openxmlformats.org/drawingml/2006/main" xmlns:r="http://schemas.openxmlformats.org/officeDocument/2006/relationships" xmlns:p="http://schemas.openxmlformats.org/presentationml/2006/main">
  <p:tag name="NAME" val="SingleBoatText"/>
</p:tagLst>
</file>

<file path=ppt/tags/tag255.xml><?xml version="1.0" encoding="utf-8"?>
<p:tagLst xmlns:a="http://schemas.openxmlformats.org/drawingml/2006/main" xmlns:r="http://schemas.openxmlformats.org/officeDocument/2006/relationships" xmlns:p="http://schemas.openxmlformats.org/presentationml/2006/main">
  <p:tag name="NAME" val="Flow"/>
</p:tagLst>
</file>

<file path=ppt/tags/tag256.xml><?xml version="1.0" encoding="utf-8"?>
<p:tagLst xmlns:a="http://schemas.openxmlformats.org/drawingml/2006/main" xmlns:r="http://schemas.openxmlformats.org/officeDocument/2006/relationships" xmlns:p="http://schemas.openxmlformats.org/presentationml/2006/main">
  <p:tag name="NAME" val="Flow"/>
</p:tagLst>
</file>

<file path=ppt/tags/tag257.xml><?xml version="1.0" encoding="utf-8"?>
<p:tagLst xmlns:a="http://schemas.openxmlformats.org/drawingml/2006/main" xmlns:r="http://schemas.openxmlformats.org/officeDocument/2006/relationships" xmlns:p="http://schemas.openxmlformats.org/presentationml/2006/main">
  <p:tag name="NAME" val="Flow"/>
</p:tagLst>
</file>

<file path=ppt/tags/tag25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9.xml><?xml version="1.0" encoding="utf-8"?>
<p:tagLst xmlns:a="http://schemas.openxmlformats.org/drawingml/2006/main" xmlns:r="http://schemas.openxmlformats.org/officeDocument/2006/relationships" xmlns:p="http://schemas.openxmlformats.org/presentationml/2006/main">
  <p:tag name="NAME" val="SingleBoatText"/>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1.xml><?xml version="1.0" encoding="utf-8"?>
<p:tagLst xmlns:a="http://schemas.openxmlformats.org/drawingml/2006/main" xmlns:r="http://schemas.openxmlformats.org/officeDocument/2006/relationships" xmlns:p="http://schemas.openxmlformats.org/presentationml/2006/main">
  <p:tag name="NAME" val="SingleBoatText"/>
</p:tagLst>
</file>

<file path=ppt/tags/tag26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3.xml><?xml version="1.0" encoding="utf-8"?>
<p:tagLst xmlns:a="http://schemas.openxmlformats.org/drawingml/2006/main" xmlns:r="http://schemas.openxmlformats.org/officeDocument/2006/relationships" xmlns:p="http://schemas.openxmlformats.org/presentationml/2006/main">
  <p:tag name="NAME" val="SingleBoatText"/>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5lbzXN8TgqjQFGth.MvnA"/>
</p:tagLst>
</file>

<file path=ppt/tags/tag283.xml><?xml version="1.0" encoding="utf-8"?>
<p:tagLst xmlns:a="http://schemas.openxmlformats.org/drawingml/2006/main" xmlns:r="http://schemas.openxmlformats.org/officeDocument/2006/relationships" xmlns:p="http://schemas.openxmlformats.org/presentationml/2006/main">
  <p:tag name="NAME" val="Logo"/>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292.xml><?xml version="1.0" encoding="utf-8"?>
<p:tagLst xmlns:a="http://schemas.openxmlformats.org/drawingml/2006/main" xmlns:r="http://schemas.openxmlformats.org/officeDocument/2006/relationships" xmlns:p="http://schemas.openxmlformats.org/presentationml/2006/main">
  <p:tag name="NAME" val="FlowLine"/>
</p:tagLst>
</file>

<file path=ppt/tags/tag293.xml><?xml version="1.0" encoding="utf-8"?>
<p:tagLst xmlns:a="http://schemas.openxmlformats.org/drawingml/2006/main" xmlns:r="http://schemas.openxmlformats.org/officeDocument/2006/relationships" xmlns:p="http://schemas.openxmlformats.org/presentationml/2006/main">
  <p:tag name="NAME" val="FlowLine2"/>
</p:tagLst>
</file>

<file path=ppt/tags/tag294.xml><?xml version="1.0" encoding="utf-8"?>
<p:tagLst xmlns:a="http://schemas.openxmlformats.org/drawingml/2006/main" xmlns:r="http://schemas.openxmlformats.org/officeDocument/2006/relationships" xmlns:p="http://schemas.openxmlformats.org/presentationml/2006/main">
  <p:tag name="NAME" val="Oval"/>
</p:tagLst>
</file>

<file path=ppt/tags/tag295.xml><?xml version="1.0" encoding="utf-8"?>
<p:tagLst xmlns:a="http://schemas.openxmlformats.org/drawingml/2006/main" xmlns:r="http://schemas.openxmlformats.org/officeDocument/2006/relationships" xmlns:p="http://schemas.openxmlformats.org/presentationml/2006/main">
  <p:tag name="NAME" val="Rectangle"/>
</p:tagLst>
</file>

<file path=ppt/tags/tag29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97.xml><?xml version="1.0" encoding="utf-8"?>
<p:tagLst xmlns:a="http://schemas.openxmlformats.org/drawingml/2006/main" xmlns:r="http://schemas.openxmlformats.org/officeDocument/2006/relationships" xmlns:p="http://schemas.openxmlformats.org/presentationml/2006/main">
  <p:tag name="NAME" val="Arrow"/>
</p:tagLst>
</file>

<file path=ppt/tags/tag29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299.xml><?xml version="1.0" encoding="utf-8"?>
<p:tagLst xmlns:a="http://schemas.openxmlformats.org/drawingml/2006/main" xmlns:r="http://schemas.openxmlformats.org/officeDocument/2006/relationships" xmlns:p="http://schemas.openxmlformats.org/presentationml/2006/main">
  <p:tag name="NAME" val="Bracke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0.xml><?xml version="1.0" encoding="utf-8"?>
<p:tagLst xmlns:a="http://schemas.openxmlformats.org/drawingml/2006/main" xmlns:r="http://schemas.openxmlformats.org/officeDocument/2006/relationships" xmlns:p="http://schemas.openxmlformats.org/presentationml/2006/main">
  <p:tag name="NAME" val="SingleBoat"/>
</p:tagLst>
</file>

<file path=ppt/tags/tag301.xml><?xml version="1.0" encoding="utf-8"?>
<p:tagLst xmlns:a="http://schemas.openxmlformats.org/drawingml/2006/main" xmlns:r="http://schemas.openxmlformats.org/officeDocument/2006/relationships" xmlns:p="http://schemas.openxmlformats.org/presentationml/2006/main">
  <p:tag name="NAME" val="1DoubleBoat"/>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SingleChevron"/>
</p:tagLst>
</file>

<file path=ppt/tags/tag304.xml><?xml version="1.0" encoding="utf-8"?>
<p:tagLst xmlns:a="http://schemas.openxmlformats.org/drawingml/2006/main" xmlns:r="http://schemas.openxmlformats.org/officeDocument/2006/relationships" xmlns:p="http://schemas.openxmlformats.org/presentationml/2006/main">
  <p:tag name="NAME" val="DoubleChevron"/>
</p:tagLst>
</file>

<file path=ppt/tags/tag305.xml><?xml version="1.0" encoding="utf-8"?>
<p:tagLst xmlns:a="http://schemas.openxmlformats.org/drawingml/2006/main" xmlns:r="http://schemas.openxmlformats.org/officeDocument/2006/relationships" xmlns:p="http://schemas.openxmlformats.org/presentationml/2006/main">
  <p:tag name="NAME" val="DoubleChevron2"/>
</p:tagLst>
</file>

<file path=ppt/tags/tag306.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307.xml><?xml version="1.0" encoding="utf-8"?>
<p:tagLst xmlns:a="http://schemas.openxmlformats.org/drawingml/2006/main" xmlns:r="http://schemas.openxmlformats.org/officeDocument/2006/relationships" xmlns:p="http://schemas.openxmlformats.org/presentationml/2006/main">
  <p:tag name="NAME" val="Flow2"/>
</p:tagLst>
</file>

<file path=ppt/tags/tag308.xml><?xml version="1.0" encoding="utf-8"?>
<p:tagLst xmlns:a="http://schemas.openxmlformats.org/drawingml/2006/main" xmlns:r="http://schemas.openxmlformats.org/officeDocument/2006/relationships" xmlns:p="http://schemas.openxmlformats.org/presentationml/2006/main">
  <p:tag name="NAME" val="DoubleChevron3"/>
</p:tagLst>
</file>

<file path=ppt/tags/tag3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6.xml><?xml version="1.0" encoding="utf-8"?>
<p:tagLst xmlns:a="http://schemas.openxmlformats.org/drawingml/2006/main" xmlns:r="http://schemas.openxmlformats.org/officeDocument/2006/relationships" xmlns:p="http://schemas.openxmlformats.org/presentationml/2006/main">
  <p:tag name="NAME" val="SingleBoatText"/>
</p:tagLst>
</file>

<file path=ppt/tags/tag327.xml><?xml version="1.0" encoding="utf-8"?>
<p:tagLst xmlns:a="http://schemas.openxmlformats.org/drawingml/2006/main" xmlns:r="http://schemas.openxmlformats.org/officeDocument/2006/relationships" xmlns:p="http://schemas.openxmlformats.org/presentationml/2006/main">
  <p:tag name="NAME" val="1BoatTopShape"/>
</p:tagLst>
</file>

<file path=ppt/tags/tag328.xml><?xml version="1.0" encoding="utf-8"?>
<p:tagLst xmlns:a="http://schemas.openxmlformats.org/drawingml/2006/main" xmlns:r="http://schemas.openxmlformats.org/officeDocument/2006/relationships" xmlns:p="http://schemas.openxmlformats.org/presentationml/2006/main">
  <p:tag name="NAME" val="1BoatTopText"/>
</p:tagLst>
</file>

<file path=ppt/tags/tag32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0.xml><?xml version="1.0" encoding="utf-8"?>
<p:tagLst xmlns:a="http://schemas.openxmlformats.org/drawingml/2006/main" xmlns:r="http://schemas.openxmlformats.org/officeDocument/2006/relationships" xmlns:p="http://schemas.openxmlformats.org/presentationml/2006/main">
  <p:tag name="NAME" val="1BoatBottomText"/>
</p:tagLst>
</file>

<file path=ppt/tags/tag331.xml><?xml version="1.0" encoding="utf-8"?>
<p:tagLst xmlns:a="http://schemas.openxmlformats.org/drawingml/2006/main" xmlns:r="http://schemas.openxmlformats.org/officeDocument/2006/relationships" xmlns:p="http://schemas.openxmlformats.org/presentationml/2006/main">
  <p:tag name="NAME" val="2BoatBottomShape"/>
</p:tagLst>
</file>

<file path=ppt/tags/tag332.xml><?xml version="1.0" encoding="utf-8"?>
<p:tagLst xmlns:a="http://schemas.openxmlformats.org/drawingml/2006/main" xmlns:r="http://schemas.openxmlformats.org/officeDocument/2006/relationships" xmlns:p="http://schemas.openxmlformats.org/presentationml/2006/main">
  <p:tag name="NAME" val="2BoatBottomText"/>
</p:tagLst>
</file>

<file path=ppt/tags/tag333.xml><?xml version="1.0" encoding="utf-8"?>
<p:tagLst xmlns:a="http://schemas.openxmlformats.org/drawingml/2006/main" xmlns:r="http://schemas.openxmlformats.org/officeDocument/2006/relationships" xmlns:p="http://schemas.openxmlformats.org/presentationml/2006/main">
  <p:tag name="NAME" val="1BoatTopShape"/>
</p:tagLst>
</file>

<file path=ppt/tags/tag334.xml><?xml version="1.0" encoding="utf-8"?>
<p:tagLst xmlns:a="http://schemas.openxmlformats.org/drawingml/2006/main" xmlns:r="http://schemas.openxmlformats.org/officeDocument/2006/relationships" xmlns:p="http://schemas.openxmlformats.org/presentationml/2006/main">
  <p:tag name="NAME" val="1BoatTopText"/>
</p:tagLst>
</file>

<file path=ppt/tags/tag335.xml><?xml version="1.0" encoding="utf-8"?>
<p:tagLst xmlns:a="http://schemas.openxmlformats.org/drawingml/2006/main" xmlns:r="http://schemas.openxmlformats.org/officeDocument/2006/relationships" xmlns:p="http://schemas.openxmlformats.org/presentationml/2006/main">
  <p:tag name="NAME" val="1BoatBottomShape"/>
</p:tagLst>
</file>

<file path=ppt/tags/tag336.xml><?xml version="1.0" encoding="utf-8"?>
<p:tagLst xmlns:a="http://schemas.openxmlformats.org/drawingml/2006/main" xmlns:r="http://schemas.openxmlformats.org/officeDocument/2006/relationships" xmlns:p="http://schemas.openxmlformats.org/presentationml/2006/main">
  <p:tag name="NAME" val="1BoatBottomText"/>
</p:tagLst>
</file>

<file path=ppt/tags/tag3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8.xml><?xml version="1.0" encoding="utf-8"?>
<p:tagLst xmlns:a="http://schemas.openxmlformats.org/drawingml/2006/main" xmlns:r="http://schemas.openxmlformats.org/officeDocument/2006/relationships" xmlns:p="http://schemas.openxmlformats.org/presentationml/2006/main">
  <p:tag name="NAME" val="SingleBoatText"/>
</p:tagLst>
</file>

<file path=ppt/tags/tag339.xml><?xml version="1.0" encoding="utf-8"?>
<p:tagLst xmlns:a="http://schemas.openxmlformats.org/drawingml/2006/main" xmlns:r="http://schemas.openxmlformats.org/officeDocument/2006/relationships" xmlns:p="http://schemas.openxmlformats.org/presentationml/2006/main">
  <p:tag name="NAME" val="Flow"/>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0.xml><?xml version="1.0" encoding="utf-8"?>
<p:tagLst xmlns:a="http://schemas.openxmlformats.org/drawingml/2006/main" xmlns:r="http://schemas.openxmlformats.org/officeDocument/2006/relationships" xmlns:p="http://schemas.openxmlformats.org/presentationml/2006/main">
  <p:tag name="NAME" val="Flow"/>
</p:tagLst>
</file>

<file path=ppt/tags/tag341.xml><?xml version="1.0" encoding="utf-8"?>
<p:tagLst xmlns:a="http://schemas.openxmlformats.org/drawingml/2006/main" xmlns:r="http://schemas.openxmlformats.org/officeDocument/2006/relationships" xmlns:p="http://schemas.openxmlformats.org/presentationml/2006/main">
  <p:tag name="NAME" val="Flow"/>
</p:tagLst>
</file>

<file path=ppt/tags/tag3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5.xml><?xml version="1.0" encoding="utf-8"?>
<p:tagLst xmlns:a="http://schemas.openxmlformats.org/drawingml/2006/main" xmlns:r="http://schemas.openxmlformats.org/officeDocument/2006/relationships" xmlns:p="http://schemas.openxmlformats.org/presentationml/2006/main">
  <p:tag name="NAME" val="SingleBoatText"/>
</p:tagLst>
</file>

<file path=ppt/tags/tag3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47.xml><?xml version="1.0" encoding="utf-8"?>
<p:tagLst xmlns:a="http://schemas.openxmlformats.org/drawingml/2006/main" xmlns:r="http://schemas.openxmlformats.org/officeDocument/2006/relationships" xmlns:p="http://schemas.openxmlformats.org/presentationml/2006/main">
  <p:tag name="NAME" val="SingleBoatText"/>
</p:tagLst>
</file>

<file path=ppt/tags/tag348.xml><?xml version="1.0" encoding="utf-8"?>
<p:tagLst xmlns:a="http://schemas.openxmlformats.org/drawingml/2006/main" xmlns:r="http://schemas.openxmlformats.org/officeDocument/2006/relationships" xmlns:p="http://schemas.openxmlformats.org/presentationml/2006/main">
  <p:tag name="NAME" val="Flow"/>
</p:tagLst>
</file>

<file path=ppt/tags/tag349.xml><?xml version="1.0" encoding="utf-8"?>
<p:tagLst xmlns:a="http://schemas.openxmlformats.org/drawingml/2006/main" xmlns:r="http://schemas.openxmlformats.org/officeDocument/2006/relationships" xmlns:p="http://schemas.openxmlformats.org/presentationml/2006/main">
  <p:tag name="NAME" val="Flow"/>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0.xml><?xml version="1.0" encoding="utf-8"?>
<p:tagLst xmlns:a="http://schemas.openxmlformats.org/drawingml/2006/main" xmlns:r="http://schemas.openxmlformats.org/officeDocument/2006/relationships" xmlns:p="http://schemas.openxmlformats.org/presentationml/2006/main">
  <p:tag name="NAME" val="Flow"/>
</p:tagLst>
</file>

<file path=ppt/tags/tag3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2.xml><?xml version="1.0" encoding="utf-8"?>
<p:tagLst xmlns:a="http://schemas.openxmlformats.org/drawingml/2006/main" xmlns:r="http://schemas.openxmlformats.org/officeDocument/2006/relationships" xmlns:p="http://schemas.openxmlformats.org/presentationml/2006/main">
  <p:tag name="NAME" val="SingleBoatText"/>
</p:tagLst>
</file>

<file path=ppt/tags/tag3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371.xml><?xml version="1.0" encoding="utf-8"?>
<p:tagLst xmlns:a="http://schemas.openxmlformats.org/drawingml/2006/main" xmlns:r="http://schemas.openxmlformats.org/officeDocument/2006/relationships" xmlns:p="http://schemas.openxmlformats.org/presentationml/2006/main">
  <p:tag name="SHAPENAME" val="5. Source"/>
</p:tagLst>
</file>

<file path=ppt/tags/tag3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hdUL6ZcpvcGWcRIweEjK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TxtKkHTMxIszNox0HgO6h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38.xml><?xml version="1.0" encoding="utf-8"?>
<p:tagLst xmlns:a="http://schemas.openxmlformats.org/drawingml/2006/main" xmlns:r="http://schemas.openxmlformats.org/officeDocument/2006/relationships" xmlns:p="http://schemas.openxmlformats.org/presentationml/2006/main">
  <p:tag name="NAME" val="SingleBoatText"/>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386.xml><?xml version="1.0" encoding="utf-8"?>
<p:tagLst xmlns:a="http://schemas.openxmlformats.org/drawingml/2006/main" xmlns:r="http://schemas.openxmlformats.org/officeDocument/2006/relationships" xmlns:p="http://schemas.openxmlformats.org/presentationml/2006/main">
  <p:tag name="NAME" val="FlowLine"/>
</p:tagLst>
</file>

<file path=ppt/tags/tag387.xml><?xml version="1.0" encoding="utf-8"?>
<p:tagLst xmlns:a="http://schemas.openxmlformats.org/drawingml/2006/main" xmlns:r="http://schemas.openxmlformats.org/officeDocument/2006/relationships" xmlns:p="http://schemas.openxmlformats.org/presentationml/2006/main">
  <p:tag name="NAME" val="FlowLine2"/>
</p:tagLst>
</file>

<file path=ppt/tags/tag388.xml><?xml version="1.0" encoding="utf-8"?>
<p:tagLst xmlns:a="http://schemas.openxmlformats.org/drawingml/2006/main" xmlns:r="http://schemas.openxmlformats.org/officeDocument/2006/relationships" xmlns:p="http://schemas.openxmlformats.org/presentationml/2006/main">
  <p:tag name="NAME" val="Oval"/>
</p:tagLst>
</file>

<file path=ppt/tags/tag389.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1BoatTopShape"/>
</p:tagLst>
</file>

<file path=ppt/tags/tag39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391.xml><?xml version="1.0" encoding="utf-8"?>
<p:tagLst xmlns:a="http://schemas.openxmlformats.org/drawingml/2006/main" xmlns:r="http://schemas.openxmlformats.org/officeDocument/2006/relationships" xmlns:p="http://schemas.openxmlformats.org/presentationml/2006/main">
  <p:tag name="NAME" val="Arrow"/>
</p:tagLst>
</file>

<file path=ppt/tags/tag39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393.xml><?xml version="1.0" encoding="utf-8"?>
<p:tagLst xmlns:a="http://schemas.openxmlformats.org/drawingml/2006/main" xmlns:r="http://schemas.openxmlformats.org/officeDocument/2006/relationships" xmlns:p="http://schemas.openxmlformats.org/presentationml/2006/main">
  <p:tag name="NAME" val="Bracket"/>
</p:tagLst>
</file>

<file path=ppt/tags/tag394.xml><?xml version="1.0" encoding="utf-8"?>
<p:tagLst xmlns:a="http://schemas.openxmlformats.org/drawingml/2006/main" xmlns:r="http://schemas.openxmlformats.org/officeDocument/2006/relationships" xmlns:p="http://schemas.openxmlformats.org/presentationml/2006/main">
  <p:tag name="NAME" val="SingleBoat"/>
</p:tagLst>
</file>

<file path=ppt/tags/tag395.xml><?xml version="1.0" encoding="utf-8"?>
<p:tagLst xmlns:a="http://schemas.openxmlformats.org/drawingml/2006/main" xmlns:r="http://schemas.openxmlformats.org/officeDocument/2006/relationships" xmlns:p="http://schemas.openxmlformats.org/presentationml/2006/main">
  <p:tag name="NAME" val="1DoubleBoat"/>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SingleChevron"/>
</p:tagLst>
</file>

<file path=ppt/tags/tag398.xml><?xml version="1.0" encoding="utf-8"?>
<p:tagLst xmlns:a="http://schemas.openxmlformats.org/drawingml/2006/main" xmlns:r="http://schemas.openxmlformats.org/officeDocument/2006/relationships" xmlns:p="http://schemas.openxmlformats.org/presentationml/2006/main">
  <p:tag name="NAME" val="DoubleChevron"/>
</p:tagLst>
</file>

<file path=ppt/tags/tag399.xml><?xml version="1.0" encoding="utf-8"?>
<p:tagLst xmlns:a="http://schemas.openxmlformats.org/drawingml/2006/main" xmlns:r="http://schemas.openxmlformats.org/officeDocument/2006/relationships" xmlns:p="http://schemas.openxmlformats.org/presentationml/2006/main">
  <p:tag name="NAME" val="DoubleChevron2"/>
</p:tagLst>
</file>

<file path=ppt/tags/tag4.xml><?xml version="1.0" encoding="utf-8"?>
<p:tagLst xmlns:a="http://schemas.openxmlformats.org/drawingml/2006/main" xmlns:r="http://schemas.openxmlformats.org/officeDocument/2006/relationships" xmlns:p="http://schemas.openxmlformats.org/presentationml/2006/main">
  <p:tag name="NAME" val="FlowLine"/>
</p:tagLst>
</file>

<file path=ppt/tags/tag40.xml><?xml version="1.0" encoding="utf-8"?>
<p:tagLst xmlns:a="http://schemas.openxmlformats.org/drawingml/2006/main" xmlns:r="http://schemas.openxmlformats.org/officeDocument/2006/relationships" xmlns:p="http://schemas.openxmlformats.org/presentationml/2006/main">
  <p:tag name="NAME" val="1BoatTopText"/>
</p:tagLst>
</file>

<file path=ppt/tags/tag400.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401.xml><?xml version="1.0" encoding="utf-8"?>
<p:tagLst xmlns:a="http://schemas.openxmlformats.org/drawingml/2006/main" xmlns:r="http://schemas.openxmlformats.org/officeDocument/2006/relationships" xmlns:p="http://schemas.openxmlformats.org/presentationml/2006/main">
  <p:tag name="NAME" val="Flow2"/>
</p:tagLst>
</file>

<file path=ppt/tags/tag402.xml><?xml version="1.0" encoding="utf-8"?>
<p:tagLst xmlns:a="http://schemas.openxmlformats.org/drawingml/2006/main" xmlns:r="http://schemas.openxmlformats.org/officeDocument/2006/relationships" xmlns:p="http://schemas.openxmlformats.org/presentationml/2006/main">
  <p:tag name="NAME" val="DoubleChevron3"/>
</p:tagLst>
</file>

<file path=ppt/tags/tag403.xml><?xml version="1.0" encoding="utf-8"?>
<p:tagLst xmlns:a="http://schemas.openxmlformats.org/drawingml/2006/main" xmlns:r="http://schemas.openxmlformats.org/officeDocument/2006/relationships" xmlns:p="http://schemas.openxmlformats.org/presentationml/2006/main">
  <p:tag name="NAME" val="Moon"/>
</p:tagLst>
</file>

<file path=ppt/tags/tag404.xml><?xml version="1.0" encoding="utf-8"?>
<p:tagLst xmlns:a="http://schemas.openxmlformats.org/drawingml/2006/main" xmlns:r="http://schemas.openxmlformats.org/officeDocument/2006/relationships" xmlns:p="http://schemas.openxmlformats.org/presentationml/2006/main">
  <p:tag name="NAME" val="Moon"/>
</p:tagLst>
</file>

<file path=ppt/tags/tag405.xml><?xml version="1.0" encoding="utf-8"?>
<p:tagLst xmlns:a="http://schemas.openxmlformats.org/drawingml/2006/main" xmlns:r="http://schemas.openxmlformats.org/officeDocument/2006/relationships" xmlns:p="http://schemas.openxmlformats.org/presentationml/2006/main">
  <p:tag name="NAME" val="Moon"/>
</p:tagLst>
</file>

<file path=ppt/tags/tag406.xml><?xml version="1.0" encoding="utf-8"?>
<p:tagLst xmlns:a="http://schemas.openxmlformats.org/drawingml/2006/main" xmlns:r="http://schemas.openxmlformats.org/officeDocument/2006/relationships" xmlns:p="http://schemas.openxmlformats.org/presentationml/2006/main">
  <p:tag name="NAME" val="Moon"/>
</p:tagLst>
</file>

<file path=ppt/tags/tag407.xml><?xml version="1.0" encoding="utf-8"?>
<p:tagLst xmlns:a="http://schemas.openxmlformats.org/drawingml/2006/main" xmlns:r="http://schemas.openxmlformats.org/officeDocument/2006/relationships" xmlns:p="http://schemas.openxmlformats.org/presentationml/2006/main">
  <p:tag name="NAME" val="Moon"/>
</p:tagLst>
</file>

<file path=ppt/tags/tag40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4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9.xml><?xml version="1.0" encoding="utf-8"?>
<p:tagLst xmlns:a="http://schemas.openxmlformats.org/drawingml/2006/main" xmlns:r="http://schemas.openxmlformats.org/officeDocument/2006/relationships" xmlns:p="http://schemas.openxmlformats.org/presentationml/2006/main">
  <p:tag name="NAME" val="SingleBoatText"/>
</p:tagLst>
</file>

<file path=ppt/tags/tag42.xml><?xml version="1.0" encoding="utf-8"?>
<p:tagLst xmlns:a="http://schemas.openxmlformats.org/drawingml/2006/main" xmlns:r="http://schemas.openxmlformats.org/officeDocument/2006/relationships" xmlns:p="http://schemas.openxmlformats.org/presentationml/2006/main">
  <p:tag name="NAME" val="1BoatBottomText"/>
</p:tagLst>
</file>

<file path=ppt/tags/tag420.xml><?xml version="1.0" encoding="utf-8"?>
<p:tagLst xmlns:a="http://schemas.openxmlformats.org/drawingml/2006/main" xmlns:r="http://schemas.openxmlformats.org/officeDocument/2006/relationships" xmlns:p="http://schemas.openxmlformats.org/presentationml/2006/main">
  <p:tag name="NAME" val="1BoatTopShape"/>
</p:tagLst>
</file>

<file path=ppt/tags/tag421.xml><?xml version="1.0" encoding="utf-8"?>
<p:tagLst xmlns:a="http://schemas.openxmlformats.org/drawingml/2006/main" xmlns:r="http://schemas.openxmlformats.org/officeDocument/2006/relationships" xmlns:p="http://schemas.openxmlformats.org/presentationml/2006/main">
  <p:tag name="NAME" val="1BoatTopText"/>
</p:tagLst>
</file>

<file path=ppt/tags/tag422.xml><?xml version="1.0" encoding="utf-8"?>
<p:tagLst xmlns:a="http://schemas.openxmlformats.org/drawingml/2006/main" xmlns:r="http://schemas.openxmlformats.org/officeDocument/2006/relationships" xmlns:p="http://schemas.openxmlformats.org/presentationml/2006/main">
  <p:tag name="NAME" val="1BoatBottomShape"/>
</p:tagLst>
</file>

<file path=ppt/tags/tag423.xml><?xml version="1.0" encoding="utf-8"?>
<p:tagLst xmlns:a="http://schemas.openxmlformats.org/drawingml/2006/main" xmlns:r="http://schemas.openxmlformats.org/officeDocument/2006/relationships" xmlns:p="http://schemas.openxmlformats.org/presentationml/2006/main">
  <p:tag name="NAME" val="1BoatBottomText"/>
</p:tagLst>
</file>

<file path=ppt/tags/tag424.xml><?xml version="1.0" encoding="utf-8"?>
<p:tagLst xmlns:a="http://schemas.openxmlformats.org/drawingml/2006/main" xmlns:r="http://schemas.openxmlformats.org/officeDocument/2006/relationships" xmlns:p="http://schemas.openxmlformats.org/presentationml/2006/main">
  <p:tag name="NAME" val="2BoatBottomShape"/>
</p:tagLst>
</file>

<file path=ppt/tags/tag425.xml><?xml version="1.0" encoding="utf-8"?>
<p:tagLst xmlns:a="http://schemas.openxmlformats.org/drawingml/2006/main" xmlns:r="http://schemas.openxmlformats.org/officeDocument/2006/relationships" xmlns:p="http://schemas.openxmlformats.org/presentationml/2006/main">
  <p:tag name="NAME" val="2BoatBottomText"/>
</p:tagLst>
</file>

<file path=ppt/tags/tag426.xml><?xml version="1.0" encoding="utf-8"?>
<p:tagLst xmlns:a="http://schemas.openxmlformats.org/drawingml/2006/main" xmlns:r="http://schemas.openxmlformats.org/officeDocument/2006/relationships" xmlns:p="http://schemas.openxmlformats.org/presentationml/2006/main">
  <p:tag name="NAME" val="1BoatTopShape"/>
</p:tagLst>
</file>

<file path=ppt/tags/tag427.xml><?xml version="1.0" encoding="utf-8"?>
<p:tagLst xmlns:a="http://schemas.openxmlformats.org/drawingml/2006/main" xmlns:r="http://schemas.openxmlformats.org/officeDocument/2006/relationships" xmlns:p="http://schemas.openxmlformats.org/presentationml/2006/main">
  <p:tag name="NAME" val="1BoatTopText"/>
</p:tagLst>
</file>

<file path=ppt/tags/tag42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429.xml><?xml version="1.0" encoding="utf-8"?>
<p:tagLst xmlns:a="http://schemas.openxmlformats.org/drawingml/2006/main" xmlns:r="http://schemas.openxmlformats.org/officeDocument/2006/relationships" xmlns:p="http://schemas.openxmlformats.org/presentationml/2006/main">
  <p:tag name="NAME" val="1BoatBottomText"/>
</p:tagLst>
</file>

<file path=ppt/tags/tag43.xml><?xml version="1.0" encoding="utf-8"?>
<p:tagLst xmlns:a="http://schemas.openxmlformats.org/drawingml/2006/main" xmlns:r="http://schemas.openxmlformats.org/officeDocument/2006/relationships" xmlns:p="http://schemas.openxmlformats.org/presentationml/2006/main">
  <p:tag name="NAME" val="2BoatBottomShape"/>
</p:tagLst>
</file>

<file path=ppt/tags/tag4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1.xml><?xml version="1.0" encoding="utf-8"?>
<p:tagLst xmlns:a="http://schemas.openxmlformats.org/drawingml/2006/main" xmlns:r="http://schemas.openxmlformats.org/officeDocument/2006/relationships" xmlns:p="http://schemas.openxmlformats.org/presentationml/2006/main">
  <p:tag name="NAME" val="SingleBoatText"/>
</p:tagLst>
</file>

<file path=ppt/tags/tag432.xml><?xml version="1.0" encoding="utf-8"?>
<p:tagLst xmlns:a="http://schemas.openxmlformats.org/drawingml/2006/main" xmlns:r="http://schemas.openxmlformats.org/officeDocument/2006/relationships" xmlns:p="http://schemas.openxmlformats.org/presentationml/2006/main">
  <p:tag name="NAME" val="Flow"/>
</p:tagLst>
</file>

<file path=ppt/tags/tag433.xml><?xml version="1.0" encoding="utf-8"?>
<p:tagLst xmlns:a="http://schemas.openxmlformats.org/drawingml/2006/main" xmlns:r="http://schemas.openxmlformats.org/officeDocument/2006/relationships" xmlns:p="http://schemas.openxmlformats.org/presentationml/2006/main">
  <p:tag name="NAME" val="Flow"/>
</p:tagLst>
</file>

<file path=ppt/tags/tag434.xml><?xml version="1.0" encoding="utf-8"?>
<p:tagLst xmlns:a="http://schemas.openxmlformats.org/drawingml/2006/main" xmlns:r="http://schemas.openxmlformats.org/officeDocument/2006/relationships" xmlns:p="http://schemas.openxmlformats.org/presentationml/2006/main">
  <p:tag name="NAME" val="Flow"/>
</p:tagLst>
</file>

<file path=ppt/tags/tag4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6.xml><?xml version="1.0" encoding="utf-8"?>
<p:tagLst xmlns:a="http://schemas.openxmlformats.org/drawingml/2006/main" xmlns:r="http://schemas.openxmlformats.org/officeDocument/2006/relationships" xmlns:p="http://schemas.openxmlformats.org/presentationml/2006/main">
  <p:tag name="NAME" val="SingleBoatText"/>
</p:tagLst>
</file>

<file path=ppt/tags/tag4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8.xml><?xml version="1.0" encoding="utf-8"?>
<p:tagLst xmlns:a="http://schemas.openxmlformats.org/drawingml/2006/main" xmlns:r="http://schemas.openxmlformats.org/officeDocument/2006/relationships" xmlns:p="http://schemas.openxmlformats.org/presentationml/2006/main">
  <p:tag name="NAME" val="SingleBoatText"/>
</p:tagLst>
</file>

<file path=ppt/tags/tag4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xml><?xml version="1.0" encoding="utf-8"?>
<p:tagLst xmlns:a="http://schemas.openxmlformats.org/drawingml/2006/main" xmlns:r="http://schemas.openxmlformats.org/officeDocument/2006/relationships" xmlns:p="http://schemas.openxmlformats.org/presentationml/2006/main">
  <p:tag name="NAME" val="2BoatBottomText"/>
</p:tagLst>
</file>

<file path=ppt/tags/tag440.xml><?xml version="1.0" encoding="utf-8"?>
<p:tagLst xmlns:a="http://schemas.openxmlformats.org/drawingml/2006/main" xmlns:r="http://schemas.openxmlformats.org/officeDocument/2006/relationships" xmlns:p="http://schemas.openxmlformats.org/presentationml/2006/main">
  <p:tag name="NAME" val="SingleBoatText"/>
</p:tagLst>
</file>

<file path=ppt/tags/tag441.xml><?xml version="1.0" encoding="utf-8"?>
<p:tagLst xmlns:a="http://schemas.openxmlformats.org/drawingml/2006/main" xmlns:r="http://schemas.openxmlformats.org/officeDocument/2006/relationships" xmlns:p="http://schemas.openxmlformats.org/presentationml/2006/main">
  <p:tag name="NAME" val="Flow"/>
</p:tagLst>
</file>

<file path=ppt/tags/tag442.xml><?xml version="1.0" encoding="utf-8"?>
<p:tagLst xmlns:a="http://schemas.openxmlformats.org/drawingml/2006/main" xmlns:r="http://schemas.openxmlformats.org/officeDocument/2006/relationships" xmlns:p="http://schemas.openxmlformats.org/presentationml/2006/main">
  <p:tag name="NAME" val="Flow"/>
</p:tagLst>
</file>

<file path=ppt/tags/tag443.xml><?xml version="1.0" encoding="utf-8"?>
<p:tagLst xmlns:a="http://schemas.openxmlformats.org/drawingml/2006/main" xmlns:r="http://schemas.openxmlformats.org/officeDocument/2006/relationships" xmlns:p="http://schemas.openxmlformats.org/presentationml/2006/main">
  <p:tag name="NAME" val="Flow"/>
</p:tagLst>
</file>

<file path=ppt/tags/tag4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5.xml><?xml version="1.0" encoding="utf-8"?>
<p:tagLst xmlns:a="http://schemas.openxmlformats.org/drawingml/2006/main" xmlns:r="http://schemas.openxmlformats.org/officeDocument/2006/relationships" xmlns:p="http://schemas.openxmlformats.org/presentationml/2006/main">
  <p:tag name="NAME" val="SingleBoatText"/>
</p:tagLst>
</file>

<file path=ppt/tags/tag4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7.xml><?xml version="1.0" encoding="utf-8"?>
<p:tagLst xmlns:a="http://schemas.openxmlformats.org/drawingml/2006/main" xmlns:r="http://schemas.openxmlformats.org/officeDocument/2006/relationships" xmlns:p="http://schemas.openxmlformats.org/presentationml/2006/main">
  <p:tag name="NAME" val="SingleBoatText"/>
</p:tagLst>
</file>

<file path=ppt/tags/tag4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9.xml><?xml version="1.0" encoding="utf-8"?>
<p:tagLst xmlns:a="http://schemas.openxmlformats.org/drawingml/2006/main" xmlns:r="http://schemas.openxmlformats.org/officeDocument/2006/relationships" xmlns:p="http://schemas.openxmlformats.org/presentationml/2006/main">
  <p:tag name="NAME" val="SingleBoatText"/>
</p:tagLst>
</file>

<file path=ppt/tags/tag45.xml><?xml version="1.0" encoding="utf-8"?>
<p:tagLst xmlns:a="http://schemas.openxmlformats.org/drawingml/2006/main" xmlns:r="http://schemas.openxmlformats.org/officeDocument/2006/relationships" xmlns:p="http://schemas.openxmlformats.org/presentationml/2006/main">
  <p:tag name="NAME" val="1BoatTopShap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46.xml><?xml version="1.0" encoding="utf-8"?>
<p:tagLst xmlns:a="http://schemas.openxmlformats.org/drawingml/2006/main" xmlns:r="http://schemas.openxmlformats.org/officeDocument/2006/relationships" xmlns:p="http://schemas.openxmlformats.org/presentationml/2006/main">
  <p:tag name="NAME" val="1BoatTopText"/>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469.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NAME" val="1BoatBottomShape"/>
</p:tagLst>
</file>

<file path=ppt/tags/tag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_5lbzXN8TgqjQFGth.MvnA"/>
</p:tagLst>
</file>

<file path=ppt/tags/tag474.xml><?xml version="1.0" encoding="utf-8"?>
<p:tagLst xmlns:a="http://schemas.openxmlformats.org/drawingml/2006/main" xmlns:r="http://schemas.openxmlformats.org/officeDocument/2006/relationships" xmlns:p="http://schemas.openxmlformats.org/presentationml/2006/main">
  <p:tag name="NAME" val="Logo"/>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477.xml><?xml version="1.0" encoding="utf-8"?>
<p:tagLst xmlns:a="http://schemas.openxmlformats.org/drawingml/2006/main" xmlns:r="http://schemas.openxmlformats.org/officeDocument/2006/relationships" xmlns:p="http://schemas.openxmlformats.org/presentationml/2006/main">
  <p:tag name="NAME" val="FlowLine"/>
</p:tagLst>
</file>

<file path=ppt/tags/tag478.xml><?xml version="1.0" encoding="utf-8"?>
<p:tagLst xmlns:a="http://schemas.openxmlformats.org/drawingml/2006/main" xmlns:r="http://schemas.openxmlformats.org/officeDocument/2006/relationships" xmlns:p="http://schemas.openxmlformats.org/presentationml/2006/main">
  <p:tag name="NAME" val="FlowLine2"/>
</p:tagLst>
</file>

<file path=ppt/tags/tag479.xml><?xml version="1.0" encoding="utf-8"?>
<p:tagLst xmlns:a="http://schemas.openxmlformats.org/drawingml/2006/main" xmlns:r="http://schemas.openxmlformats.org/officeDocument/2006/relationships" xmlns:p="http://schemas.openxmlformats.org/presentationml/2006/main">
  <p:tag name="NAME" val="Oval"/>
</p:tagLst>
</file>

<file path=ppt/tags/tag48.xml><?xml version="1.0" encoding="utf-8"?>
<p:tagLst xmlns:a="http://schemas.openxmlformats.org/drawingml/2006/main" xmlns:r="http://schemas.openxmlformats.org/officeDocument/2006/relationships" xmlns:p="http://schemas.openxmlformats.org/presentationml/2006/main">
  <p:tag name="NAME" val="1BoatBottomText"/>
</p:tagLst>
</file>

<file path=ppt/tags/tag480.xml><?xml version="1.0" encoding="utf-8"?>
<p:tagLst xmlns:a="http://schemas.openxmlformats.org/drawingml/2006/main" xmlns:r="http://schemas.openxmlformats.org/officeDocument/2006/relationships" xmlns:p="http://schemas.openxmlformats.org/presentationml/2006/main">
  <p:tag name="NAME" val="Rectangle"/>
</p:tagLst>
</file>

<file path=ppt/tags/tag481.xml><?xml version="1.0" encoding="utf-8"?>
<p:tagLst xmlns:a="http://schemas.openxmlformats.org/drawingml/2006/main" xmlns:r="http://schemas.openxmlformats.org/officeDocument/2006/relationships" xmlns:p="http://schemas.openxmlformats.org/presentationml/2006/main">
  <p:tag name="NAME" val="RoundedRectangle"/>
</p:tagLst>
</file>

<file path=ppt/tags/tag482.xml><?xml version="1.0" encoding="utf-8"?>
<p:tagLst xmlns:a="http://schemas.openxmlformats.org/drawingml/2006/main" xmlns:r="http://schemas.openxmlformats.org/officeDocument/2006/relationships" xmlns:p="http://schemas.openxmlformats.org/presentationml/2006/main">
  <p:tag name="NAME" val="Arrow"/>
</p:tagLst>
</file>

<file path=ppt/tags/tag48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84.xml><?xml version="1.0" encoding="utf-8"?>
<p:tagLst xmlns:a="http://schemas.openxmlformats.org/drawingml/2006/main" xmlns:r="http://schemas.openxmlformats.org/officeDocument/2006/relationships" xmlns:p="http://schemas.openxmlformats.org/presentationml/2006/main">
  <p:tag name="NAME" val="Bracket"/>
</p:tagLst>
</file>

<file path=ppt/tags/tag485.xml><?xml version="1.0" encoding="utf-8"?>
<p:tagLst xmlns:a="http://schemas.openxmlformats.org/drawingml/2006/main" xmlns:r="http://schemas.openxmlformats.org/officeDocument/2006/relationships" xmlns:p="http://schemas.openxmlformats.org/presentationml/2006/main">
  <p:tag name="NAME" val="SingleBoat"/>
</p:tagLst>
</file>

<file path=ppt/tags/tag486.xml><?xml version="1.0" encoding="utf-8"?>
<p:tagLst xmlns:a="http://schemas.openxmlformats.org/drawingml/2006/main" xmlns:r="http://schemas.openxmlformats.org/officeDocument/2006/relationships" xmlns:p="http://schemas.openxmlformats.org/presentationml/2006/main">
  <p:tag name="NAME" val="1DoubleBoat"/>
</p:tagLst>
</file>

<file path=ppt/tags/tag487.xml><?xml version="1.0" encoding="utf-8"?>
<p:tagLst xmlns:a="http://schemas.openxmlformats.org/drawingml/2006/main" xmlns:r="http://schemas.openxmlformats.org/officeDocument/2006/relationships" xmlns:p="http://schemas.openxmlformats.org/presentationml/2006/main">
  <p:tag name="NAME" val="Moon"/>
</p:tagLst>
</file>

<file path=ppt/tags/tag488.xml><?xml version="1.0" encoding="utf-8"?>
<p:tagLst xmlns:a="http://schemas.openxmlformats.org/drawingml/2006/main" xmlns:r="http://schemas.openxmlformats.org/officeDocument/2006/relationships" xmlns:p="http://schemas.openxmlformats.org/presentationml/2006/main">
  <p:tag name="NAME" val="SingleChevron"/>
</p:tagLst>
</file>

<file path=ppt/tags/tag489.xml><?xml version="1.0" encoding="utf-8"?>
<p:tagLst xmlns:a="http://schemas.openxmlformats.org/drawingml/2006/main" xmlns:r="http://schemas.openxmlformats.org/officeDocument/2006/relationships" xmlns:p="http://schemas.openxmlformats.org/presentationml/2006/main">
  <p:tag name="NAME" val="DoubleChevron"/>
</p:tagLst>
</file>

<file path=ppt/tags/tag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0.xml><?xml version="1.0" encoding="utf-8"?>
<p:tagLst xmlns:a="http://schemas.openxmlformats.org/drawingml/2006/main" xmlns:r="http://schemas.openxmlformats.org/officeDocument/2006/relationships" xmlns:p="http://schemas.openxmlformats.org/presentationml/2006/main">
  <p:tag name="NAME" val="DoubleChevron2"/>
</p:tagLst>
</file>

<file path=ppt/tags/tag491.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492.xml><?xml version="1.0" encoding="utf-8"?>
<p:tagLst xmlns:a="http://schemas.openxmlformats.org/drawingml/2006/main" xmlns:r="http://schemas.openxmlformats.org/officeDocument/2006/relationships" xmlns:p="http://schemas.openxmlformats.org/presentationml/2006/main">
  <p:tag name="NAME" val="Flow2"/>
</p:tagLst>
</file>

<file path=ppt/tags/tag493.xml><?xml version="1.0" encoding="utf-8"?>
<p:tagLst xmlns:a="http://schemas.openxmlformats.org/drawingml/2006/main" xmlns:r="http://schemas.openxmlformats.org/officeDocument/2006/relationships" xmlns:p="http://schemas.openxmlformats.org/presentationml/2006/main">
  <p:tag name="NAME" val="DoubleChevron3"/>
</p:tagLst>
</file>

<file path=ppt/tags/tag494.xml><?xml version="1.0" encoding="utf-8"?>
<p:tagLst xmlns:a="http://schemas.openxmlformats.org/drawingml/2006/main" xmlns:r="http://schemas.openxmlformats.org/officeDocument/2006/relationships" xmlns:p="http://schemas.openxmlformats.org/presentationml/2006/main">
  <p:tag name="NAME" val="Moon"/>
</p:tagLst>
</file>

<file path=ppt/tags/tag495.xml><?xml version="1.0" encoding="utf-8"?>
<p:tagLst xmlns:a="http://schemas.openxmlformats.org/drawingml/2006/main" xmlns:r="http://schemas.openxmlformats.org/officeDocument/2006/relationships" xmlns:p="http://schemas.openxmlformats.org/presentationml/2006/main">
  <p:tag name="NAME" val="Moon"/>
</p:tagLst>
</file>

<file path=ppt/tags/tag496.xml><?xml version="1.0" encoding="utf-8"?>
<p:tagLst xmlns:a="http://schemas.openxmlformats.org/drawingml/2006/main" xmlns:r="http://schemas.openxmlformats.org/officeDocument/2006/relationships" xmlns:p="http://schemas.openxmlformats.org/presentationml/2006/main">
  <p:tag name="NAME" val="Moon"/>
</p:tagLst>
</file>

<file path=ppt/tags/tag497.xml><?xml version="1.0" encoding="utf-8"?>
<p:tagLst xmlns:a="http://schemas.openxmlformats.org/drawingml/2006/main" xmlns:r="http://schemas.openxmlformats.org/officeDocument/2006/relationships" xmlns:p="http://schemas.openxmlformats.org/presentationml/2006/main">
  <p:tag name="NAME" val="Moon"/>
</p:tagLst>
</file>

<file path=ppt/tags/tag498.xml><?xml version="1.0" encoding="utf-8"?>
<p:tagLst xmlns:a="http://schemas.openxmlformats.org/drawingml/2006/main" xmlns:r="http://schemas.openxmlformats.org/officeDocument/2006/relationships" xmlns:p="http://schemas.openxmlformats.org/presentationml/2006/main">
  <p:tag name="NAME" val="Moon"/>
</p:tagLst>
</file>

<file path=ppt/tags/tag4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xml><?xml version="1.0" encoding="utf-8"?>
<p:tagLst xmlns:a="http://schemas.openxmlformats.org/drawingml/2006/main" xmlns:r="http://schemas.openxmlformats.org/officeDocument/2006/relationships" xmlns:p="http://schemas.openxmlformats.org/presentationml/2006/main">
  <p:tag name="NAME" val="FlowLine2"/>
</p:tagLst>
</file>

<file path=ppt/tags/tag50.xml><?xml version="1.0" encoding="utf-8"?>
<p:tagLst xmlns:a="http://schemas.openxmlformats.org/drawingml/2006/main" xmlns:r="http://schemas.openxmlformats.org/officeDocument/2006/relationships" xmlns:p="http://schemas.openxmlformats.org/presentationml/2006/main">
  <p:tag name="NAME" val="SingleBoatText"/>
</p:tagLst>
</file>

<file path=ppt/tags/tag5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1.xml><?xml version="1.0" encoding="utf-8"?>
<p:tagLst xmlns:a="http://schemas.openxmlformats.org/drawingml/2006/main" xmlns:r="http://schemas.openxmlformats.org/officeDocument/2006/relationships" xmlns:p="http://schemas.openxmlformats.org/presentationml/2006/main">
  <p:tag name="NAME" val="Flow"/>
</p:tagLst>
</file>

<file path=ppt/tags/tag510.xml><?xml version="1.0" encoding="utf-8"?>
<p:tagLst xmlns:a="http://schemas.openxmlformats.org/drawingml/2006/main" xmlns:r="http://schemas.openxmlformats.org/officeDocument/2006/relationships" xmlns:p="http://schemas.openxmlformats.org/presentationml/2006/main">
  <p:tag name="NAME" val="SingleBoatText"/>
</p:tagLst>
</file>

<file path=ppt/tags/tag511.xml><?xml version="1.0" encoding="utf-8"?>
<p:tagLst xmlns:a="http://schemas.openxmlformats.org/drawingml/2006/main" xmlns:r="http://schemas.openxmlformats.org/officeDocument/2006/relationships" xmlns:p="http://schemas.openxmlformats.org/presentationml/2006/main">
  <p:tag name="NAME" val="1BoatTopShape"/>
</p:tagLst>
</file>

<file path=ppt/tags/tag512.xml><?xml version="1.0" encoding="utf-8"?>
<p:tagLst xmlns:a="http://schemas.openxmlformats.org/drawingml/2006/main" xmlns:r="http://schemas.openxmlformats.org/officeDocument/2006/relationships" xmlns:p="http://schemas.openxmlformats.org/presentationml/2006/main">
  <p:tag name="NAME" val="1BoatTopText"/>
</p:tagLst>
</file>

<file path=ppt/tags/tag513.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14.xml><?xml version="1.0" encoding="utf-8"?>
<p:tagLst xmlns:a="http://schemas.openxmlformats.org/drawingml/2006/main" xmlns:r="http://schemas.openxmlformats.org/officeDocument/2006/relationships" xmlns:p="http://schemas.openxmlformats.org/presentationml/2006/main">
  <p:tag name="NAME" val="1BoatBottomText"/>
</p:tagLst>
</file>

<file path=ppt/tags/tag515.xml><?xml version="1.0" encoding="utf-8"?>
<p:tagLst xmlns:a="http://schemas.openxmlformats.org/drawingml/2006/main" xmlns:r="http://schemas.openxmlformats.org/officeDocument/2006/relationships" xmlns:p="http://schemas.openxmlformats.org/presentationml/2006/main">
  <p:tag name="NAME" val="2BoatBottomShape"/>
</p:tagLst>
</file>

<file path=ppt/tags/tag516.xml><?xml version="1.0" encoding="utf-8"?>
<p:tagLst xmlns:a="http://schemas.openxmlformats.org/drawingml/2006/main" xmlns:r="http://schemas.openxmlformats.org/officeDocument/2006/relationships" xmlns:p="http://schemas.openxmlformats.org/presentationml/2006/main">
  <p:tag name="NAME" val="2BoatBottomText"/>
</p:tagLst>
</file>

<file path=ppt/tags/tag517.xml><?xml version="1.0" encoding="utf-8"?>
<p:tagLst xmlns:a="http://schemas.openxmlformats.org/drawingml/2006/main" xmlns:r="http://schemas.openxmlformats.org/officeDocument/2006/relationships" xmlns:p="http://schemas.openxmlformats.org/presentationml/2006/main">
  <p:tag name="NAME" val="1BoatTopShape"/>
</p:tagLst>
</file>

<file path=ppt/tags/tag518.xml><?xml version="1.0" encoding="utf-8"?>
<p:tagLst xmlns:a="http://schemas.openxmlformats.org/drawingml/2006/main" xmlns:r="http://schemas.openxmlformats.org/officeDocument/2006/relationships" xmlns:p="http://schemas.openxmlformats.org/presentationml/2006/main">
  <p:tag name="NAME" val="1BoatTopText"/>
</p:tagLst>
</file>

<file path=ppt/tags/tag51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2.xml><?xml version="1.0" encoding="utf-8"?>
<p:tagLst xmlns:a="http://schemas.openxmlformats.org/drawingml/2006/main" xmlns:r="http://schemas.openxmlformats.org/officeDocument/2006/relationships" xmlns:p="http://schemas.openxmlformats.org/presentationml/2006/main">
  <p:tag name="NAME" val="Flow"/>
</p:tagLst>
</file>

<file path=ppt/tags/tag520.xml><?xml version="1.0" encoding="utf-8"?>
<p:tagLst xmlns:a="http://schemas.openxmlformats.org/drawingml/2006/main" xmlns:r="http://schemas.openxmlformats.org/officeDocument/2006/relationships" xmlns:p="http://schemas.openxmlformats.org/presentationml/2006/main">
  <p:tag name="NAME" val="1BoatBottomText"/>
</p:tagLst>
</file>

<file path=ppt/tags/tag5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2.xml><?xml version="1.0" encoding="utf-8"?>
<p:tagLst xmlns:a="http://schemas.openxmlformats.org/drawingml/2006/main" xmlns:r="http://schemas.openxmlformats.org/officeDocument/2006/relationships" xmlns:p="http://schemas.openxmlformats.org/presentationml/2006/main">
  <p:tag name="NAME" val="SingleBoatText"/>
</p:tagLst>
</file>

<file path=ppt/tags/tag523.xml><?xml version="1.0" encoding="utf-8"?>
<p:tagLst xmlns:a="http://schemas.openxmlformats.org/drawingml/2006/main" xmlns:r="http://schemas.openxmlformats.org/officeDocument/2006/relationships" xmlns:p="http://schemas.openxmlformats.org/presentationml/2006/main">
  <p:tag name="NAME" val="Flow"/>
</p:tagLst>
</file>

<file path=ppt/tags/tag524.xml><?xml version="1.0" encoding="utf-8"?>
<p:tagLst xmlns:a="http://schemas.openxmlformats.org/drawingml/2006/main" xmlns:r="http://schemas.openxmlformats.org/officeDocument/2006/relationships" xmlns:p="http://schemas.openxmlformats.org/presentationml/2006/main">
  <p:tag name="NAME" val="Flow"/>
</p:tagLst>
</file>

<file path=ppt/tags/tag525.xml><?xml version="1.0" encoding="utf-8"?>
<p:tagLst xmlns:a="http://schemas.openxmlformats.org/drawingml/2006/main" xmlns:r="http://schemas.openxmlformats.org/officeDocument/2006/relationships" xmlns:p="http://schemas.openxmlformats.org/presentationml/2006/main">
  <p:tag name="NAME" val="Flow"/>
</p:tagLst>
</file>

<file path=ppt/tags/tag5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7.xml><?xml version="1.0" encoding="utf-8"?>
<p:tagLst xmlns:a="http://schemas.openxmlformats.org/drawingml/2006/main" xmlns:r="http://schemas.openxmlformats.org/officeDocument/2006/relationships" xmlns:p="http://schemas.openxmlformats.org/presentationml/2006/main">
  <p:tag name="NAME" val="SingleBoatText"/>
</p:tagLst>
</file>

<file path=ppt/tags/tag5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9.xml><?xml version="1.0" encoding="utf-8"?>
<p:tagLst xmlns:a="http://schemas.openxmlformats.org/drawingml/2006/main" xmlns:r="http://schemas.openxmlformats.org/officeDocument/2006/relationships" xmlns:p="http://schemas.openxmlformats.org/presentationml/2006/main">
  <p:tag name="NAME" val="SingleBoatText"/>
</p:tagLst>
</file>

<file path=ppt/tags/tag53.xml><?xml version="1.0" encoding="utf-8"?>
<p:tagLst xmlns:a="http://schemas.openxmlformats.org/drawingml/2006/main" xmlns:r="http://schemas.openxmlformats.org/officeDocument/2006/relationships" xmlns:p="http://schemas.openxmlformats.org/presentationml/2006/main">
  <p:tag name="NAME" val="Flow"/>
</p:tagLst>
</file>

<file path=ppt/tags/tag5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1.xml><?xml version="1.0" encoding="utf-8"?>
<p:tagLst xmlns:a="http://schemas.openxmlformats.org/drawingml/2006/main" xmlns:r="http://schemas.openxmlformats.org/officeDocument/2006/relationships" xmlns:p="http://schemas.openxmlformats.org/presentationml/2006/main">
  <p:tag name="NAME" val="SingleBoatText"/>
</p:tagLst>
</file>

<file path=ppt/tags/tag532.xml><?xml version="1.0" encoding="utf-8"?>
<p:tagLst xmlns:a="http://schemas.openxmlformats.org/drawingml/2006/main" xmlns:r="http://schemas.openxmlformats.org/officeDocument/2006/relationships" xmlns:p="http://schemas.openxmlformats.org/presentationml/2006/main">
  <p:tag name="NAME" val="Flow"/>
</p:tagLst>
</file>

<file path=ppt/tags/tag533.xml><?xml version="1.0" encoding="utf-8"?>
<p:tagLst xmlns:a="http://schemas.openxmlformats.org/drawingml/2006/main" xmlns:r="http://schemas.openxmlformats.org/officeDocument/2006/relationships" xmlns:p="http://schemas.openxmlformats.org/presentationml/2006/main">
  <p:tag name="NAME" val="Flow"/>
</p:tagLst>
</file>

<file path=ppt/tags/tag534.xml><?xml version="1.0" encoding="utf-8"?>
<p:tagLst xmlns:a="http://schemas.openxmlformats.org/drawingml/2006/main" xmlns:r="http://schemas.openxmlformats.org/officeDocument/2006/relationships" xmlns:p="http://schemas.openxmlformats.org/presentationml/2006/main">
  <p:tag name="NAME" val="Flow"/>
</p:tagLst>
</file>

<file path=ppt/tags/tag5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6.xml><?xml version="1.0" encoding="utf-8"?>
<p:tagLst xmlns:a="http://schemas.openxmlformats.org/drawingml/2006/main" xmlns:r="http://schemas.openxmlformats.org/officeDocument/2006/relationships" xmlns:p="http://schemas.openxmlformats.org/presentationml/2006/main">
  <p:tag name="NAME" val="SingleBoatText"/>
</p:tagLst>
</file>

<file path=ppt/tags/tag5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8.xml><?xml version="1.0" encoding="utf-8"?>
<p:tagLst xmlns:a="http://schemas.openxmlformats.org/drawingml/2006/main" xmlns:r="http://schemas.openxmlformats.org/officeDocument/2006/relationships" xmlns:p="http://schemas.openxmlformats.org/presentationml/2006/main">
  <p:tag name="NAME" val="SingleBoatText"/>
</p:tagLst>
</file>

<file path=ppt/tags/tag5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0.xml><?xml version="1.0" encoding="utf-8"?>
<p:tagLst xmlns:a="http://schemas.openxmlformats.org/drawingml/2006/main" xmlns:r="http://schemas.openxmlformats.org/officeDocument/2006/relationships" xmlns:p="http://schemas.openxmlformats.org/presentationml/2006/main">
  <p:tag name="NAME" val="SingleBoatText"/>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SingleBoatText"/>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0.xml><?xml version="1.0" encoding="utf-8"?>
<p:tagLst xmlns:a="http://schemas.openxmlformats.org/drawingml/2006/main" xmlns:r="http://schemas.openxmlformats.org/officeDocument/2006/relationships" xmlns:p="http://schemas.openxmlformats.org/presentationml/2006/main">
  <p:tag name="SHAPENAME" val="5. Source"/>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_5lbzXN8TgqjQFGth.MvnA"/>
</p:tagLst>
</file>

<file path=ppt/tags/tag565.xml><?xml version="1.0" encoding="utf-8"?>
<p:tagLst xmlns:a="http://schemas.openxmlformats.org/drawingml/2006/main" xmlns:r="http://schemas.openxmlformats.org/officeDocument/2006/relationships" xmlns:p="http://schemas.openxmlformats.org/presentationml/2006/main">
  <p:tag name="NAME" val="Logo"/>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57.xml><?xml version="1.0" encoding="utf-8"?>
<p:tagLst xmlns:a="http://schemas.openxmlformats.org/drawingml/2006/main" xmlns:r="http://schemas.openxmlformats.org/officeDocument/2006/relationships" xmlns:p="http://schemas.openxmlformats.org/presentationml/2006/main">
  <p:tag name="NAME" val="SingleBoatText"/>
</p:tagLst>
</file>

<file path=ppt/tags/tag570.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573.xml><?xml version="1.0" encoding="utf-8"?>
<p:tagLst xmlns:a="http://schemas.openxmlformats.org/drawingml/2006/main" xmlns:r="http://schemas.openxmlformats.org/officeDocument/2006/relationships" xmlns:p="http://schemas.openxmlformats.org/presentationml/2006/main">
  <p:tag name="NAME" val="TrackerNum"/>
</p:tagLst>
</file>

<file path=ppt/tags/tag574.xml><?xml version="1.0" encoding="utf-8"?>
<p:tagLst xmlns:a="http://schemas.openxmlformats.org/drawingml/2006/main" xmlns:r="http://schemas.openxmlformats.org/officeDocument/2006/relationships" xmlns:p="http://schemas.openxmlformats.org/presentationml/2006/main">
  <p:tag name="NAME" val="TrackerNum"/>
</p:tagLst>
</file>

<file path=ppt/tags/tag575.xml><?xml version="1.0" encoding="utf-8"?>
<p:tagLst xmlns:a="http://schemas.openxmlformats.org/drawingml/2006/main" xmlns:r="http://schemas.openxmlformats.org/officeDocument/2006/relationships" xmlns:p="http://schemas.openxmlformats.org/presentationml/2006/main">
  <p:tag name="NAME" val="TrackerNum"/>
</p:tagLst>
</file>

<file path=ppt/tags/tag576.xml><?xml version="1.0" encoding="utf-8"?>
<p:tagLst xmlns:a="http://schemas.openxmlformats.org/drawingml/2006/main" xmlns:r="http://schemas.openxmlformats.org/officeDocument/2006/relationships" xmlns:p="http://schemas.openxmlformats.org/presentationml/2006/main">
  <p:tag name="NAME" val="TrackerNum"/>
</p:tagLst>
</file>

<file path=ppt/tags/tag577.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58.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0.xml><?xml version="1.0" encoding="utf-8"?>
<p:tagLst xmlns:a="http://schemas.openxmlformats.org/drawingml/2006/main" xmlns:r="http://schemas.openxmlformats.org/officeDocument/2006/relationships" xmlns:p="http://schemas.openxmlformats.org/presentationml/2006/main">
  <p:tag name="NAME" val="TrackerNum"/>
</p:tagLst>
</file>

<file path=ppt/tags/tag581.xml><?xml version="1.0" encoding="utf-8"?>
<p:tagLst xmlns:a="http://schemas.openxmlformats.org/drawingml/2006/main" xmlns:r="http://schemas.openxmlformats.org/officeDocument/2006/relationships" xmlns:p="http://schemas.openxmlformats.org/presentationml/2006/main">
  <p:tag name="NAME" val="TrackerNum"/>
</p:tagLst>
</file>

<file path=ppt/tags/tag582.xml><?xml version="1.0" encoding="utf-8"?>
<p:tagLst xmlns:a="http://schemas.openxmlformats.org/drawingml/2006/main" xmlns:r="http://schemas.openxmlformats.org/officeDocument/2006/relationships" xmlns:p="http://schemas.openxmlformats.org/presentationml/2006/main">
  <p:tag name="NAME" val="TrackerNum"/>
</p:tagLst>
</file>

<file path=ppt/tags/tag583.xml><?xml version="1.0" encoding="utf-8"?>
<p:tagLst xmlns:a="http://schemas.openxmlformats.org/drawingml/2006/main" xmlns:r="http://schemas.openxmlformats.org/officeDocument/2006/relationships" xmlns:p="http://schemas.openxmlformats.org/presentationml/2006/main">
  <p:tag name="NAME" val="TrackerNum"/>
</p:tagLst>
</file>

<file path=ppt/tags/tag584.xml><?xml version="1.0" encoding="utf-8"?>
<p:tagLst xmlns:a="http://schemas.openxmlformats.org/drawingml/2006/main" xmlns:r="http://schemas.openxmlformats.org/officeDocument/2006/relationships" xmlns:p="http://schemas.openxmlformats.org/presentationml/2006/main">
  <p:tag name="SHP_MARVIN_VG_TB_SLIDE_IDENTIFIER" val="d356b438a7f07916bb8d417595bf3579"/>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0xoNLY0yrg0xHFnZAHzh0w"/>
</p:tagLst>
</file>

<file path=ppt/tags/tag587.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588.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589.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59.xml><?xml version="1.0" encoding="utf-8"?>
<p:tagLst xmlns:a="http://schemas.openxmlformats.org/drawingml/2006/main" xmlns:r="http://schemas.openxmlformats.org/officeDocument/2006/relationships" xmlns:p="http://schemas.openxmlformats.org/presentationml/2006/main">
  <p:tag name="NAME" val="SingleBoatText"/>
</p:tagLst>
</file>

<file path=ppt/tags/tag590.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AGA0QazmVije_4vAE6ZkpA"/>
</p:tagLst>
</file>

<file path=ppt/tags/tag593.xml><?xml version="1.0" encoding="utf-8"?>
<p:tagLst xmlns:a="http://schemas.openxmlformats.org/drawingml/2006/main" xmlns:r="http://schemas.openxmlformats.org/officeDocument/2006/relationships" xmlns:p="http://schemas.openxmlformats.org/presentationml/2006/main">
  <p:tag name="NAME" val="Flo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X8WENUnwwEuok52pItVvg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_LiPX9N3j0ejORR0xVPPm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fA2doOpq3Eu5RgwdIfZc6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NBQvXu5lUGSXBpmApTUZ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dNBQvXu5lUGSXBpmApTUZA"/>
</p:tagLst>
</file>

<file path=ppt/tags/tag599.xml><?xml version="1.0" encoding="utf-8"?>
<p:tagLst xmlns:a="http://schemas.openxmlformats.org/drawingml/2006/main" xmlns:r="http://schemas.openxmlformats.org/officeDocument/2006/relationships" xmlns:p="http://schemas.openxmlformats.org/presentationml/2006/main">
  <p:tag name="NAME" val="Flow"/>
</p:tagLst>
</file>

<file path=ppt/tags/tag6.xml><?xml version="1.0" encoding="utf-8"?>
<p:tagLst xmlns:a="http://schemas.openxmlformats.org/drawingml/2006/main" xmlns:r="http://schemas.openxmlformats.org/officeDocument/2006/relationships" xmlns:p="http://schemas.openxmlformats.org/presentationml/2006/main">
  <p:tag name="NAME" val="Oval"/>
</p:tagLst>
</file>

<file path=ppt/tags/tag60.xml><?xml version="1.0" encoding="utf-8"?>
<p:tagLst xmlns:a="http://schemas.openxmlformats.org/drawingml/2006/main" xmlns:r="http://schemas.openxmlformats.org/officeDocument/2006/relationships" xmlns:p="http://schemas.openxmlformats.org/presentationml/2006/main">
  <p:tag name="NAME" val="Flow"/>
</p:tagLst>
</file>

<file path=ppt/tags/tag600.xml><?xml version="1.0" encoding="utf-8"?>
<p:tagLst xmlns:a="http://schemas.openxmlformats.org/drawingml/2006/main" xmlns:r="http://schemas.openxmlformats.org/officeDocument/2006/relationships" xmlns:p="http://schemas.openxmlformats.org/presentationml/2006/main">
  <p:tag name="NAME" val="Flo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v02yB1Ml702dolLEjKqu2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mEIcMsXEt0GXVDw6K8Y54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WhHAqkGiDUyYZIDWGHV7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2L4EzjvJU6Cb74iWhZY4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KqAHo_6fRkOQZ.0MlNnxyg"/>
</p:tagLst>
</file>

<file path=ppt/tags/tag606.xml><?xml version="1.0" encoding="utf-8"?>
<p:tagLst xmlns:a="http://schemas.openxmlformats.org/drawingml/2006/main" xmlns:r="http://schemas.openxmlformats.org/officeDocument/2006/relationships" xmlns:p="http://schemas.openxmlformats.org/presentationml/2006/main">
  <p:tag name="NAME" val="SingleBoatShape"/>
</p:tagLst>
</file>

<file path=ppt/tags/tag607.xml><?xml version="1.0" encoding="utf-8"?>
<p:tagLst xmlns:a="http://schemas.openxmlformats.org/drawingml/2006/main" xmlns:r="http://schemas.openxmlformats.org/officeDocument/2006/relationships" xmlns:p="http://schemas.openxmlformats.org/presentationml/2006/main">
  <p:tag name="NAME" val="SingleBoatText"/>
</p:tagLst>
</file>

<file path=ppt/tags/tag608.xml><?xml version="1.0" encoding="utf-8"?>
<p:tagLst xmlns:a="http://schemas.openxmlformats.org/drawingml/2006/main" xmlns:r="http://schemas.openxmlformats.org/officeDocument/2006/relationships" xmlns:p="http://schemas.openxmlformats.org/presentationml/2006/main">
  <p:tag name="NAME" val="SingleBoatShape"/>
</p:tagLst>
</file>

<file path=ppt/tags/tag609.xml><?xml version="1.0" encoding="utf-8"?>
<p:tagLst xmlns:a="http://schemas.openxmlformats.org/drawingml/2006/main" xmlns:r="http://schemas.openxmlformats.org/officeDocument/2006/relationships" xmlns:p="http://schemas.openxmlformats.org/presentationml/2006/main">
  <p:tag name="NAME" val="SingleBoatText"/>
</p:tagLst>
</file>

<file path=ppt/tags/tag61.xml><?xml version="1.0" encoding="utf-8"?>
<p:tagLst xmlns:a="http://schemas.openxmlformats.org/drawingml/2006/main" xmlns:r="http://schemas.openxmlformats.org/officeDocument/2006/relationships" xmlns:p="http://schemas.openxmlformats.org/presentationml/2006/main">
  <p:tag name="NAME" val="Flow"/>
</p:tagLst>
</file>

<file path=ppt/tags/tag6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611.xml><?xml version="1.0" encoding="utf-8"?>
<p:tagLst xmlns:a="http://schemas.openxmlformats.org/drawingml/2006/main" xmlns:r="http://schemas.openxmlformats.org/officeDocument/2006/relationships" xmlns:p="http://schemas.openxmlformats.org/presentationml/2006/main">
  <p:tag name="NAME" val="SingleBoatText"/>
</p:tagLst>
</file>

<file path=ppt/tags/tag612.xml><?xml version="1.0" encoding="utf-8"?>
<p:tagLst xmlns:a="http://schemas.openxmlformats.org/drawingml/2006/main" xmlns:r="http://schemas.openxmlformats.org/officeDocument/2006/relationships" xmlns:p="http://schemas.openxmlformats.org/presentationml/2006/main">
  <p:tag name="NAME" val="CustomIcon"/>
</p:tagLst>
</file>

<file path=ppt/tags/tag613.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616.xml><?xml version="1.0" encoding="utf-8"?>
<p:tagLst xmlns:a="http://schemas.openxmlformats.org/drawingml/2006/main" xmlns:r="http://schemas.openxmlformats.org/officeDocument/2006/relationships" xmlns:p="http://schemas.openxmlformats.org/presentationml/2006/main">
  <p:tag name="NAME" val="TrackerNum"/>
</p:tagLst>
</file>

<file path=ppt/tags/tag617.xml><?xml version="1.0" encoding="utf-8"?>
<p:tagLst xmlns:a="http://schemas.openxmlformats.org/drawingml/2006/main" xmlns:r="http://schemas.openxmlformats.org/officeDocument/2006/relationships" xmlns:p="http://schemas.openxmlformats.org/presentationml/2006/main">
  <p:tag name="NAME" val="TrackerNum"/>
</p:tagLst>
</file>

<file path=ppt/tags/tag618.xml><?xml version="1.0" encoding="utf-8"?>
<p:tagLst xmlns:a="http://schemas.openxmlformats.org/drawingml/2006/main" xmlns:r="http://schemas.openxmlformats.org/officeDocument/2006/relationships" xmlns:p="http://schemas.openxmlformats.org/presentationml/2006/main">
  <p:tag name="NAME" val="TrackerNum"/>
</p:tagLst>
</file>

<file path=ppt/tags/tag619.xml><?xml version="1.0" encoding="utf-8"?>
<p:tagLst xmlns:a="http://schemas.openxmlformats.org/drawingml/2006/main" xmlns:r="http://schemas.openxmlformats.org/officeDocument/2006/relationships" xmlns:p="http://schemas.openxmlformats.org/presentationml/2006/main">
  <p:tag name="NAME" val="TrackerNum"/>
</p:tagLst>
</file>

<file path=ppt/tags/tag62.xml><?xml version="1.0" encoding="utf-8"?>
<p:tagLst xmlns:a="http://schemas.openxmlformats.org/drawingml/2006/main" xmlns:r="http://schemas.openxmlformats.org/officeDocument/2006/relationships" xmlns:p="http://schemas.openxmlformats.org/presentationml/2006/main">
  <p:tag name="NAME" val="Flow"/>
</p:tagLst>
</file>

<file path=ppt/tags/tag620.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623.xml><?xml version="1.0" encoding="utf-8"?>
<p:tagLst xmlns:a="http://schemas.openxmlformats.org/drawingml/2006/main" xmlns:r="http://schemas.openxmlformats.org/officeDocument/2006/relationships" xmlns:p="http://schemas.openxmlformats.org/presentationml/2006/main">
  <p:tag name="NAME" val="TrackerNum"/>
</p:tagLst>
</file>

<file path=ppt/tags/tag624.xml><?xml version="1.0" encoding="utf-8"?>
<p:tagLst xmlns:a="http://schemas.openxmlformats.org/drawingml/2006/main" xmlns:r="http://schemas.openxmlformats.org/officeDocument/2006/relationships" xmlns:p="http://schemas.openxmlformats.org/presentationml/2006/main">
  <p:tag name="NAME" val="TrackerNum"/>
</p:tagLst>
</file>

<file path=ppt/tags/tag625.xml><?xml version="1.0" encoding="utf-8"?>
<p:tagLst xmlns:a="http://schemas.openxmlformats.org/drawingml/2006/main" xmlns:r="http://schemas.openxmlformats.org/officeDocument/2006/relationships" xmlns:p="http://schemas.openxmlformats.org/presentationml/2006/main">
  <p:tag name="NAME" val="TrackerNum"/>
</p:tagLst>
</file>

<file path=ppt/tags/tag626.xml><?xml version="1.0" encoding="utf-8"?>
<p:tagLst xmlns:a="http://schemas.openxmlformats.org/drawingml/2006/main" xmlns:r="http://schemas.openxmlformats.org/officeDocument/2006/relationships" xmlns:p="http://schemas.openxmlformats.org/presentationml/2006/main">
  <p:tag name="NAME" val="TrackerNum"/>
</p:tagLst>
</file>

<file path=ppt/tags/tag627.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28.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Lst>
</file>

<file path=ppt/tags/tag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71.xml><?xml version="1.0" encoding="utf-8"?>
<p:tagLst xmlns:a="http://schemas.openxmlformats.org/drawingml/2006/main" xmlns:r="http://schemas.openxmlformats.org/officeDocument/2006/relationships" xmlns:p="http://schemas.openxmlformats.org/presentationml/2006/main">
  <p:tag name="SHAPENAME" val="Title"/>
</p:tagLst>
</file>

<file path=ppt/tags/tag72.xml><?xml version="1.0" encoding="utf-8"?>
<p:tagLst xmlns:a="http://schemas.openxmlformats.org/drawingml/2006/main" xmlns:r="http://schemas.openxmlformats.org/officeDocument/2006/relationships" xmlns:p="http://schemas.openxmlformats.org/presentationml/2006/main">
  <p:tag name="SHAPENAME" val="Sub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75.xml><?xml version="1.0" encoding="utf-8"?>
<p:tagLst xmlns:a="http://schemas.openxmlformats.org/drawingml/2006/main" xmlns:r="http://schemas.openxmlformats.org/officeDocument/2006/relationships" xmlns:p="http://schemas.openxmlformats.org/presentationml/2006/main">
  <p:tag name="SHAPENAME" val="Title"/>
</p:tagLst>
</file>

<file path=ppt/tags/tag76.xml><?xml version="1.0" encoding="utf-8"?>
<p:tagLst xmlns:a="http://schemas.openxmlformats.org/drawingml/2006/main" xmlns:r="http://schemas.openxmlformats.org/officeDocument/2006/relationships" xmlns:p="http://schemas.openxmlformats.org/presentationml/2006/main">
  <p:tag name="SHAPENAME" val="Subtitl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79.xml><?xml version="1.0" encoding="utf-8"?>
<p:tagLst xmlns:a="http://schemas.openxmlformats.org/drawingml/2006/main" xmlns:r="http://schemas.openxmlformats.org/officeDocument/2006/relationships" xmlns:p="http://schemas.openxmlformats.org/presentationml/2006/main">
  <p:tag name="SHAPENAME" val="Title"/>
</p:tagLst>
</file>

<file path=ppt/tags/tag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80.xml><?xml version="1.0" encoding="utf-8"?>
<p:tagLst xmlns:a="http://schemas.openxmlformats.org/drawingml/2006/main" xmlns:r="http://schemas.openxmlformats.org/officeDocument/2006/relationships" xmlns:p="http://schemas.openxmlformats.org/presentationml/2006/main">
  <p:tag name="SHAPENAME" val="Subtitl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Arro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2.xml><?xml version="1.0" encoding="utf-8"?>
<a:theme xmlns:a="http://schemas.openxmlformats.org/drawingml/2006/main" name="4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3.xml><?xml version="1.0" encoding="utf-8"?>
<a:theme xmlns:a="http://schemas.openxmlformats.org/drawingml/2006/main" name="5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4.xml><?xml version="1.0" encoding="utf-8"?>
<a:theme xmlns:a="http://schemas.openxmlformats.org/drawingml/2006/main" name="6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5.xml><?xml version="1.0" encoding="utf-8"?>
<a:theme xmlns:a="http://schemas.openxmlformats.org/drawingml/2006/main" name="7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6.xml><?xml version="1.0" encoding="utf-8"?>
<a:theme xmlns:a="http://schemas.openxmlformats.org/drawingml/2006/main" name="8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045C4F113AA1941BB51AFAAEC25B540" ma:contentTypeVersion="10" ma:contentTypeDescription="Create a new document." ma:contentTypeScope="" ma:versionID="96e4c7e3c72213d7a3b5df08b176de01">
  <xsd:schema xmlns:xsd="http://www.w3.org/2001/XMLSchema" xmlns:xs="http://www.w3.org/2001/XMLSchema" xmlns:p="http://schemas.microsoft.com/office/2006/metadata/properties" xmlns:ns3="d7e2413e-e084-43d9-a527-6a6dd0316776" xmlns:ns4="5b0c28f9-3aff-4531-87c0-ad0df1167372" targetNamespace="http://schemas.microsoft.com/office/2006/metadata/properties" ma:root="true" ma:fieldsID="a505ebd2a5255ded2398337855cea785" ns3:_="" ns4:_="">
    <xsd:import namespace="d7e2413e-e084-43d9-a527-6a6dd0316776"/>
    <xsd:import namespace="5b0c28f9-3aff-4531-87c0-ad0df116737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e2413e-e084-43d9-a527-6a6dd03167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0c28f9-3aff-4531-87c0-ad0df116737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4CA203-B70B-42E3-81AD-7377F2C69368}">
  <ds:schemaRefs>
    <ds:schemaRef ds:uri="http://schemas.microsoft.com/sharepoint/v3/contenttype/forms"/>
  </ds:schemaRefs>
</ds:datastoreItem>
</file>

<file path=customXml/itemProps2.xml><?xml version="1.0" encoding="utf-8"?>
<ds:datastoreItem xmlns:ds="http://schemas.openxmlformats.org/officeDocument/2006/customXml" ds:itemID="{CBC9BEDE-37F4-4EAD-85E3-1654EFC864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7e2413e-e084-43d9-a527-6a6dd0316776"/>
    <ds:schemaRef ds:uri="5b0c28f9-3aff-4531-87c0-ad0df11673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D376190-529E-4A79-B97E-D48132CF8B0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680</TotalTime>
  <Words>2448</Words>
  <Application>Microsoft Macintosh PowerPoint</Application>
  <PresentationFormat>Breedbeeld</PresentationFormat>
  <Paragraphs>266</Paragraphs>
  <Slides>20</Slides>
  <Notes>10</Notes>
  <HiddenSlides>0</HiddenSlides>
  <MMClips>0</MMClips>
  <ScaleCrop>false</ScaleCrop>
  <HeadingPairs>
    <vt:vector size="8" baseType="variant">
      <vt:variant>
        <vt:lpstr>Gebruikte lettertypen</vt:lpstr>
      </vt:variant>
      <vt:variant>
        <vt:i4>7</vt:i4>
      </vt:variant>
      <vt:variant>
        <vt:lpstr>Thema</vt:lpstr>
      </vt:variant>
      <vt:variant>
        <vt:i4>6</vt:i4>
      </vt:variant>
      <vt:variant>
        <vt:lpstr>Ingesloten OLE-bronprogramma's</vt:lpstr>
      </vt:variant>
      <vt:variant>
        <vt:i4>1</vt:i4>
      </vt:variant>
      <vt:variant>
        <vt:lpstr>Diatitels</vt:lpstr>
      </vt:variant>
      <vt:variant>
        <vt:i4>20</vt:i4>
      </vt:variant>
    </vt:vector>
  </HeadingPairs>
  <TitlesOfParts>
    <vt:vector size="34" baseType="lpstr">
      <vt:lpstr>Andada</vt:lpstr>
      <vt:lpstr>Arial</vt:lpstr>
      <vt:lpstr>Calibri</vt:lpstr>
      <vt:lpstr>Gill Sans Nova Light</vt:lpstr>
      <vt:lpstr>Gill Sans Nova Medium</vt:lpstr>
      <vt:lpstr>Segoe UI</vt:lpstr>
      <vt:lpstr>Wingdings</vt:lpstr>
      <vt:lpstr>2_NL_AM6546_16x9_CF1</vt:lpstr>
      <vt:lpstr>4_NL_AM6546_16x9_CF1</vt:lpstr>
      <vt:lpstr>5_NL_AM6546_16x9_CF1</vt:lpstr>
      <vt:lpstr>6_NL_AM6546_16x9_CF1</vt:lpstr>
      <vt:lpstr>7_NL_AM6546_16x9_CF1</vt:lpstr>
      <vt:lpstr>8_NL_AM6546_16x9_CF1</vt:lpstr>
      <vt:lpstr>think-cell Slide</vt:lpstr>
      <vt:lpstr>Werksessie [instelling] Borging Goed gesprek</vt:lpstr>
      <vt:lpstr>PowerPoint-presentatie</vt:lpstr>
      <vt:lpstr>PowerPoint-presentatie</vt:lpstr>
      <vt:lpstr>Het Potentieel Pakken Contractuitbreiding in de Zorg traject op één pagina </vt:lpstr>
      <vt:lpstr>Goed Gesprek is meer dan alleen het gesprek voeren: de voorbereiding en opvolging zijn een belangrijk onderdeel</vt:lpstr>
      <vt:lpstr>Wat zijn de ervaringen vanuit de eerste twee testgesprekken?</vt:lpstr>
      <vt:lpstr>Wat zijn onze inzichten tot nu toe? – Vanuit deze werkgroep</vt:lpstr>
      <vt:lpstr>Wat zijn onze inzichten tot nu toe? – Vanuit het Medewerkerspanel</vt:lpstr>
      <vt:lpstr>PowerPoint-presentatie</vt:lpstr>
      <vt:lpstr>Voor het inrichten van het Goede Gesprek dienen een aantal keuzes gemaakt te worden, die leiden tot de passende vorm en opzet Goed Gesprek</vt:lpstr>
      <vt:lpstr>Voor het inrichten van het Goede Gesprek dienen een aantal keuzes gemaakt te worden, die leiden tot de passende vorm en opzet Goed Gesprek</vt:lpstr>
      <vt:lpstr>Mogelijke uitgangspunten voor [instelling]</vt:lpstr>
      <vt:lpstr>PowerPoint-presentatie</vt:lpstr>
      <vt:lpstr>PowerPoint-presentatie</vt:lpstr>
      <vt:lpstr>Vervolgstappen</vt:lpstr>
      <vt:lpstr>Bijlagen</vt:lpstr>
      <vt:lpstr>Aandacht  voor de wet WAB</vt:lpstr>
      <vt:lpstr>Aangescherpte leidraad ter voorbereiding één-op-één testgesprekken (1/2)</vt:lpstr>
      <vt:lpstr>Aangescherpte leidraad ter voorbereiding één-op-één testgesprekken (2/2)</vt:lpstr>
      <vt:lpstr>Het oplossingspakket Goed Gesprek kan op 2 manieren benaderd worden</vt:lpstr>
    </vt:vector>
  </TitlesOfParts>
  <Company>Rabo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loogsessie</dc:title>
  <dc:creator>Hoeve van, SC (Suzanne)</dc:creator>
  <cp:lastModifiedBy>Roxan Stevens</cp:lastModifiedBy>
  <cp:revision>7</cp:revision>
  <dcterms:created xsi:type="dcterms:W3CDTF">2020-02-26T15:29:29Z</dcterms:created>
  <dcterms:modified xsi:type="dcterms:W3CDTF">2021-02-09T16:4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45C4F113AA1941BB51AFAAEC25B540</vt:lpwstr>
  </property>
</Properties>
</file>